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 id="2147483670" r:id="rId5"/>
    <p:sldMasterId id="2147483688" r:id="rId6"/>
    <p:sldMasterId id="2147483699" r:id="rId7"/>
    <p:sldMasterId id="2147483708" r:id="rId8"/>
    <p:sldMasterId id="2147483730" r:id="rId9"/>
    <p:sldMasterId id="2147483744" r:id="rId10"/>
  </p:sldMasterIdLst>
  <p:notesMasterIdLst>
    <p:notesMasterId r:id="rId91"/>
  </p:notesMasterIdLst>
  <p:sldIdLst>
    <p:sldId id="4175" r:id="rId11"/>
    <p:sldId id="4187" r:id="rId12"/>
    <p:sldId id="329" r:id="rId13"/>
    <p:sldId id="952" r:id="rId14"/>
    <p:sldId id="2141411326" r:id="rId15"/>
    <p:sldId id="666" r:id="rId16"/>
    <p:sldId id="673" r:id="rId17"/>
    <p:sldId id="2141411333" r:id="rId18"/>
    <p:sldId id="672" r:id="rId19"/>
    <p:sldId id="674" r:id="rId20"/>
    <p:sldId id="675" r:id="rId21"/>
    <p:sldId id="676" r:id="rId22"/>
    <p:sldId id="677" r:id="rId23"/>
    <p:sldId id="679" r:id="rId24"/>
    <p:sldId id="681" r:id="rId25"/>
    <p:sldId id="682" r:id="rId26"/>
    <p:sldId id="680" r:id="rId27"/>
    <p:sldId id="678" r:id="rId28"/>
    <p:sldId id="686" r:id="rId29"/>
    <p:sldId id="683" r:id="rId30"/>
    <p:sldId id="684" r:id="rId31"/>
    <p:sldId id="685" r:id="rId32"/>
    <p:sldId id="2141411339" r:id="rId33"/>
    <p:sldId id="1008" r:id="rId34"/>
    <p:sldId id="742" r:id="rId35"/>
    <p:sldId id="2141411325" r:id="rId36"/>
    <p:sldId id="4413" r:id="rId37"/>
    <p:sldId id="650" r:id="rId38"/>
    <p:sldId id="4109" r:id="rId39"/>
    <p:sldId id="2141411332" r:id="rId40"/>
    <p:sldId id="4156" r:id="rId41"/>
    <p:sldId id="4161" r:id="rId42"/>
    <p:sldId id="2141411338" r:id="rId43"/>
    <p:sldId id="2141411315" r:id="rId44"/>
    <p:sldId id="2141411316" r:id="rId45"/>
    <p:sldId id="2141411317" r:id="rId46"/>
    <p:sldId id="2141411323" r:id="rId47"/>
    <p:sldId id="2141411318" r:id="rId48"/>
    <p:sldId id="2141411319" r:id="rId49"/>
    <p:sldId id="2141411320" r:id="rId50"/>
    <p:sldId id="2141411321" r:id="rId51"/>
    <p:sldId id="2141411322" r:id="rId52"/>
    <p:sldId id="2141411324" r:id="rId53"/>
    <p:sldId id="258" r:id="rId54"/>
    <p:sldId id="2141411342" r:id="rId55"/>
    <p:sldId id="4542" r:id="rId56"/>
    <p:sldId id="4536" r:id="rId57"/>
    <p:sldId id="2141411309" r:id="rId58"/>
    <p:sldId id="2141411311" r:id="rId59"/>
    <p:sldId id="2141411313" r:id="rId60"/>
    <p:sldId id="2141411340" r:id="rId61"/>
    <p:sldId id="319" r:id="rId62"/>
    <p:sldId id="344" r:id="rId63"/>
    <p:sldId id="2141411314" r:id="rId64"/>
    <p:sldId id="263" r:id="rId65"/>
    <p:sldId id="264" r:id="rId66"/>
    <p:sldId id="271" r:id="rId67"/>
    <p:sldId id="265" r:id="rId68"/>
    <p:sldId id="266" r:id="rId69"/>
    <p:sldId id="267" r:id="rId70"/>
    <p:sldId id="268" r:id="rId71"/>
    <p:sldId id="269" r:id="rId72"/>
    <p:sldId id="270" r:id="rId73"/>
    <p:sldId id="259" r:id="rId74"/>
    <p:sldId id="2141411335" r:id="rId75"/>
    <p:sldId id="4412" r:id="rId76"/>
    <p:sldId id="2141411327" r:id="rId77"/>
    <p:sldId id="4101" r:id="rId78"/>
    <p:sldId id="2141411341" r:id="rId79"/>
    <p:sldId id="951" r:id="rId80"/>
    <p:sldId id="2141411334" r:id="rId81"/>
    <p:sldId id="4216" r:id="rId82"/>
    <p:sldId id="2141411328" r:id="rId83"/>
    <p:sldId id="2141411329" r:id="rId84"/>
    <p:sldId id="4417" r:id="rId85"/>
    <p:sldId id="4416" r:id="rId86"/>
    <p:sldId id="4414" r:id="rId87"/>
    <p:sldId id="2141411330" r:id="rId88"/>
    <p:sldId id="4217" r:id="rId89"/>
    <p:sldId id="4415" r:id="rId90"/>
  </p:sldIdLst>
  <p:sldSz cx="9144000" cy="5143500" type="screen16x9"/>
  <p:notesSz cx="6858000" cy="9240838"/>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8C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313A4F-3B54-4644-8449-69A81B515423}" v="15" dt="2022-02-02T15:33:42.5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0" autoAdjust="0"/>
    <p:restoredTop sz="86410" autoAdjust="0"/>
  </p:normalViewPr>
  <p:slideViewPr>
    <p:cSldViewPr snapToGrid="0" snapToObjects="1" showGuides="1">
      <p:cViewPr varScale="1">
        <p:scale>
          <a:sx n="73" d="100"/>
          <a:sy n="73" d="100"/>
        </p:scale>
        <p:origin x="376" y="68"/>
      </p:cViewPr>
      <p:guideLst>
        <p:guide orient="horz" pos="1620"/>
        <p:guide pos="2880"/>
      </p:guideLst>
    </p:cSldViewPr>
  </p:slideViewPr>
  <p:outlineViewPr>
    <p:cViewPr>
      <p:scale>
        <a:sx n="33" d="100"/>
        <a:sy n="33" d="100"/>
      </p:scale>
      <p:origin x="0" y="-1657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63" d="100"/>
          <a:sy n="63" d="100"/>
        </p:scale>
        <p:origin x="3206" y="77"/>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6" Type="http://schemas.openxmlformats.org/officeDocument/2006/relationships/slide" Target="slides/slide6.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5" Type="http://schemas.openxmlformats.org/officeDocument/2006/relationships/slideMaster" Target="slideMasters/slideMaster2.xml"/><Relationship Id="rId90" Type="http://schemas.openxmlformats.org/officeDocument/2006/relationships/slide" Target="slides/slide80.xml"/><Relationship Id="rId95" Type="http://schemas.openxmlformats.org/officeDocument/2006/relationships/tableStyles" Target="tableStyles.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80" Type="http://schemas.openxmlformats.org/officeDocument/2006/relationships/slide" Target="slides/slide70.xml"/><Relationship Id="rId85" Type="http://schemas.openxmlformats.org/officeDocument/2006/relationships/slide" Target="slides/slide7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notesMaster" Target="notesMasters/notesMaster1.xml"/><Relationship Id="rId9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zanne Fraga" userId="0674509a-ba6b-4c84-89a5-0bacefc3b715" providerId="ADAL" clId="{A7313A4F-3B54-4644-8449-69A81B515423}"/>
    <pc:docChg chg="undo custSel addSld delSld modSld addMainMaster delMainMaster modNotesMaster">
      <pc:chgData name="Suzanne Fraga" userId="0674509a-ba6b-4c84-89a5-0bacefc3b715" providerId="ADAL" clId="{A7313A4F-3B54-4644-8449-69A81B515423}" dt="2022-02-02T15:33:42.661" v="143" actId="27636"/>
      <pc:docMkLst>
        <pc:docMk/>
      </pc:docMkLst>
      <pc:sldChg chg="add del setBg">
        <pc:chgData name="Suzanne Fraga" userId="0674509a-ba6b-4c84-89a5-0bacefc3b715" providerId="ADAL" clId="{A7313A4F-3B54-4644-8449-69A81B515423}" dt="2022-02-02T14:12:52.634" v="16"/>
        <pc:sldMkLst>
          <pc:docMk/>
          <pc:sldMk cId="0" sldId="256"/>
        </pc:sldMkLst>
      </pc:sldChg>
      <pc:sldChg chg="del">
        <pc:chgData name="Suzanne Fraga" userId="0674509a-ba6b-4c84-89a5-0bacefc3b715" providerId="ADAL" clId="{A7313A4F-3B54-4644-8449-69A81B515423}" dt="2022-02-02T14:28:50.460" v="140" actId="47"/>
        <pc:sldMkLst>
          <pc:docMk/>
          <pc:sldMk cId="3985440592" sldId="261"/>
        </pc:sldMkLst>
      </pc:sldChg>
      <pc:sldChg chg="delSp modSp mod">
        <pc:chgData name="Suzanne Fraga" userId="0674509a-ba6b-4c84-89a5-0bacefc3b715" providerId="ADAL" clId="{A7313A4F-3B54-4644-8449-69A81B515423}" dt="2022-02-02T14:13:25.985" v="22" actId="20577"/>
        <pc:sldMkLst>
          <pc:docMk/>
          <pc:sldMk cId="593011319" sldId="4101"/>
        </pc:sldMkLst>
        <pc:spChg chg="mod">
          <ac:chgData name="Suzanne Fraga" userId="0674509a-ba6b-4c84-89a5-0bacefc3b715" providerId="ADAL" clId="{A7313A4F-3B54-4644-8449-69A81B515423}" dt="2022-02-02T14:13:25.985" v="22" actId="20577"/>
          <ac:spMkLst>
            <pc:docMk/>
            <pc:sldMk cId="593011319" sldId="4101"/>
            <ac:spMk id="14" creationId="{6281A1C9-29DF-4BB8-B025-8EE6D76202C2}"/>
          </ac:spMkLst>
        </pc:spChg>
        <pc:picChg chg="del">
          <ac:chgData name="Suzanne Fraga" userId="0674509a-ba6b-4c84-89a5-0bacefc3b715" providerId="ADAL" clId="{A7313A4F-3B54-4644-8449-69A81B515423}" dt="2022-02-02T14:12:16.662" v="10"/>
          <ac:picMkLst>
            <pc:docMk/>
            <pc:sldMk cId="593011319" sldId="4101"/>
            <ac:picMk id="2" creationId="{96AD0E3E-B2DE-49DC-9B23-D4F561CA2D28}"/>
          </ac:picMkLst>
        </pc:picChg>
        <pc:picChg chg="del">
          <ac:chgData name="Suzanne Fraga" userId="0674509a-ba6b-4c84-89a5-0bacefc3b715" providerId="ADAL" clId="{A7313A4F-3B54-4644-8449-69A81B515423}" dt="2022-02-02T14:12:37.952" v="13"/>
          <ac:picMkLst>
            <pc:docMk/>
            <pc:sldMk cId="593011319" sldId="4101"/>
            <ac:picMk id="3" creationId="{5BB47809-2549-4C7E-A6E5-C14FB6A3756C}"/>
          </ac:picMkLst>
        </pc:picChg>
      </pc:sldChg>
      <pc:sldChg chg="del">
        <pc:chgData name="Suzanne Fraga" userId="0674509a-ba6b-4c84-89a5-0bacefc3b715" providerId="ADAL" clId="{A7313A4F-3B54-4644-8449-69A81B515423}" dt="2022-02-02T15:33:40.031" v="141" actId="2696"/>
        <pc:sldMkLst>
          <pc:docMk/>
          <pc:sldMk cId="1556232689" sldId="2141411327"/>
        </pc:sldMkLst>
      </pc:sldChg>
      <pc:sldChg chg="modSp add mod">
        <pc:chgData name="Suzanne Fraga" userId="0674509a-ba6b-4c84-89a5-0bacefc3b715" providerId="ADAL" clId="{A7313A4F-3B54-4644-8449-69A81B515423}" dt="2022-02-02T15:33:42.661" v="143" actId="27636"/>
        <pc:sldMkLst>
          <pc:docMk/>
          <pc:sldMk cId="2511727923" sldId="2141411327"/>
        </pc:sldMkLst>
        <pc:spChg chg="mod">
          <ac:chgData name="Suzanne Fraga" userId="0674509a-ba6b-4c84-89a5-0bacefc3b715" providerId="ADAL" clId="{A7313A4F-3B54-4644-8449-69A81B515423}" dt="2022-02-02T15:33:42.661" v="143" actId="27636"/>
          <ac:spMkLst>
            <pc:docMk/>
            <pc:sldMk cId="2511727923" sldId="2141411327"/>
            <ac:spMk id="3" creationId="{00000000-0000-0000-0000-000000000000}"/>
          </ac:spMkLst>
        </pc:spChg>
      </pc:sldChg>
      <pc:sldChg chg="addSp delSp modSp add del mod setBg modNotesTx">
        <pc:chgData name="Suzanne Fraga" userId="0674509a-ba6b-4c84-89a5-0bacefc3b715" providerId="ADAL" clId="{A7313A4F-3B54-4644-8449-69A81B515423}" dt="2022-02-02T14:13:59.202" v="137" actId="20577"/>
        <pc:sldMkLst>
          <pc:docMk/>
          <pc:sldMk cId="1206913296" sldId="2141411341"/>
        </pc:sldMkLst>
        <pc:spChg chg="add mod">
          <ac:chgData name="Suzanne Fraga" userId="0674509a-ba6b-4c84-89a5-0bacefc3b715" providerId="ADAL" clId="{A7313A4F-3B54-4644-8449-69A81B515423}" dt="2022-02-02T14:13:07.505" v="18" actId="478"/>
          <ac:spMkLst>
            <pc:docMk/>
            <pc:sldMk cId="1206913296" sldId="2141411341"/>
            <ac:spMk id="5" creationId="{AEBFE75B-1787-43BA-BE3A-A3D0C6AA0C5D}"/>
          </ac:spMkLst>
        </pc:spChg>
        <pc:spChg chg="del">
          <ac:chgData name="Suzanne Fraga" userId="0674509a-ba6b-4c84-89a5-0bacefc3b715" providerId="ADAL" clId="{A7313A4F-3B54-4644-8449-69A81B515423}" dt="2022-02-02T14:13:07.505" v="18" actId="478"/>
          <ac:spMkLst>
            <pc:docMk/>
            <pc:sldMk cId="1206913296" sldId="2141411341"/>
            <ac:spMk id="7" creationId="{6C2C93BE-CE3D-4DE4-B069-C376301A6A65}"/>
          </ac:spMkLst>
        </pc:spChg>
        <pc:grpChg chg="del">
          <ac:chgData name="Suzanne Fraga" userId="0674509a-ba6b-4c84-89a5-0bacefc3b715" providerId="ADAL" clId="{A7313A4F-3B54-4644-8449-69A81B515423}" dt="2022-02-02T14:13:10.187" v="19" actId="478"/>
          <ac:grpSpMkLst>
            <pc:docMk/>
            <pc:sldMk cId="1206913296" sldId="2141411341"/>
            <ac:grpSpMk id="9" creationId="{9BE29CBD-EA64-4311-9416-A4509447FFD4}"/>
          </ac:grpSpMkLst>
        </pc:grpChg>
        <pc:grpChg chg="del">
          <ac:chgData name="Suzanne Fraga" userId="0674509a-ba6b-4c84-89a5-0bacefc3b715" providerId="ADAL" clId="{A7313A4F-3B54-4644-8449-69A81B515423}" dt="2022-02-02T14:13:12.485" v="20" actId="478"/>
          <ac:grpSpMkLst>
            <pc:docMk/>
            <pc:sldMk cId="1206913296" sldId="2141411341"/>
            <ac:grpSpMk id="12" creationId="{701AA716-E11B-40F3-8242-9E94BABFBABE}"/>
          </ac:grpSpMkLst>
        </pc:grpChg>
        <pc:picChg chg="del">
          <ac:chgData name="Suzanne Fraga" userId="0674509a-ba6b-4c84-89a5-0bacefc3b715" providerId="ADAL" clId="{A7313A4F-3B54-4644-8449-69A81B515423}" dt="2022-02-02T14:13:02.848" v="17"/>
          <ac:picMkLst>
            <pc:docMk/>
            <pc:sldMk cId="1206913296" sldId="2141411341"/>
            <ac:picMk id="2" creationId="{5C7F369B-A45B-4217-972A-F40080BE0730}"/>
          </ac:picMkLst>
        </pc:picChg>
        <pc:picChg chg="add">
          <ac:chgData name="Suzanne Fraga" userId="0674509a-ba6b-4c84-89a5-0bacefc3b715" providerId="ADAL" clId="{A7313A4F-3B54-4644-8449-69A81B515423}" dt="2022-02-02T14:13:15.816" v="21"/>
          <ac:picMkLst>
            <pc:docMk/>
            <pc:sldMk cId="1206913296" sldId="2141411341"/>
            <ac:picMk id="6" creationId="{DBF9351A-D77F-4FF8-B06B-254C203AC44A}"/>
          </ac:picMkLst>
        </pc:picChg>
      </pc:sldChg>
      <pc:sldChg chg="del">
        <pc:chgData name="Suzanne Fraga" userId="0674509a-ba6b-4c84-89a5-0bacefc3b715" providerId="ADAL" clId="{A7313A4F-3B54-4644-8449-69A81B515423}" dt="2022-02-02T14:27:34.055" v="138" actId="47"/>
        <pc:sldMkLst>
          <pc:docMk/>
          <pc:sldMk cId="1289330719" sldId="2141411342"/>
        </pc:sldMkLst>
      </pc:sldChg>
      <pc:sldChg chg="add">
        <pc:chgData name="Suzanne Fraga" userId="0674509a-ba6b-4c84-89a5-0bacefc3b715" providerId="ADAL" clId="{A7313A4F-3B54-4644-8449-69A81B515423}" dt="2022-02-02T14:28:47.867" v="139"/>
        <pc:sldMkLst>
          <pc:docMk/>
          <pc:sldMk cId="2732414739" sldId="2141411342"/>
        </pc:sldMkLst>
      </pc:sldChg>
      <pc:sldMasterChg chg="add del addSldLayout delSldLayout">
        <pc:chgData name="Suzanne Fraga" userId="0674509a-ba6b-4c84-89a5-0bacefc3b715" providerId="ADAL" clId="{A7313A4F-3B54-4644-8449-69A81B515423}" dt="2022-02-02T14:12:28.260" v="12" actId="47"/>
        <pc:sldMasterMkLst>
          <pc:docMk/>
          <pc:sldMasterMk cId="954604379" sldId="2147483753"/>
        </pc:sldMasterMkLst>
        <pc:sldLayoutChg chg="add del">
          <pc:chgData name="Suzanne Fraga" userId="0674509a-ba6b-4c84-89a5-0bacefc3b715" providerId="ADAL" clId="{A7313A4F-3B54-4644-8449-69A81B515423}" dt="2022-02-02T14:12:28.260" v="12" actId="47"/>
          <pc:sldLayoutMkLst>
            <pc:docMk/>
            <pc:sldMasterMk cId="954604379" sldId="2147483753"/>
            <pc:sldLayoutMk cId="39541529" sldId="2147483754"/>
          </pc:sldLayoutMkLst>
        </pc:sldLayoutChg>
        <pc:sldLayoutChg chg="add del">
          <pc:chgData name="Suzanne Fraga" userId="0674509a-ba6b-4c84-89a5-0bacefc3b715" providerId="ADAL" clId="{A7313A4F-3B54-4644-8449-69A81B515423}" dt="2022-02-02T14:12:28.260" v="12" actId="47"/>
          <pc:sldLayoutMkLst>
            <pc:docMk/>
            <pc:sldMasterMk cId="954604379" sldId="2147483753"/>
            <pc:sldLayoutMk cId="851356944" sldId="2147483755"/>
          </pc:sldLayoutMkLst>
        </pc:sldLayoutChg>
        <pc:sldLayoutChg chg="add del">
          <pc:chgData name="Suzanne Fraga" userId="0674509a-ba6b-4c84-89a5-0bacefc3b715" providerId="ADAL" clId="{A7313A4F-3B54-4644-8449-69A81B515423}" dt="2022-02-02T14:12:28.260" v="12" actId="47"/>
          <pc:sldLayoutMkLst>
            <pc:docMk/>
            <pc:sldMasterMk cId="954604379" sldId="2147483753"/>
            <pc:sldLayoutMk cId="1755241076" sldId="2147483756"/>
          </pc:sldLayoutMkLst>
        </pc:sldLayoutChg>
        <pc:sldLayoutChg chg="add del">
          <pc:chgData name="Suzanne Fraga" userId="0674509a-ba6b-4c84-89a5-0bacefc3b715" providerId="ADAL" clId="{A7313A4F-3B54-4644-8449-69A81B515423}" dt="2022-02-02T14:12:28.260" v="12" actId="47"/>
          <pc:sldLayoutMkLst>
            <pc:docMk/>
            <pc:sldMasterMk cId="954604379" sldId="2147483753"/>
            <pc:sldLayoutMk cId="3189326729" sldId="2147483757"/>
          </pc:sldLayoutMkLst>
        </pc:sldLayoutChg>
        <pc:sldLayoutChg chg="add del">
          <pc:chgData name="Suzanne Fraga" userId="0674509a-ba6b-4c84-89a5-0bacefc3b715" providerId="ADAL" clId="{A7313A4F-3B54-4644-8449-69A81B515423}" dt="2022-02-02T14:12:28.260" v="12" actId="47"/>
          <pc:sldLayoutMkLst>
            <pc:docMk/>
            <pc:sldMasterMk cId="954604379" sldId="2147483753"/>
            <pc:sldLayoutMk cId="1419968012" sldId="2147483758"/>
          </pc:sldLayoutMkLst>
        </pc:sldLayoutChg>
        <pc:sldLayoutChg chg="add del">
          <pc:chgData name="Suzanne Fraga" userId="0674509a-ba6b-4c84-89a5-0bacefc3b715" providerId="ADAL" clId="{A7313A4F-3B54-4644-8449-69A81B515423}" dt="2022-02-02T14:12:28.260" v="12" actId="47"/>
          <pc:sldLayoutMkLst>
            <pc:docMk/>
            <pc:sldMasterMk cId="954604379" sldId="2147483753"/>
            <pc:sldLayoutMk cId="2061206588" sldId="2147483759"/>
          </pc:sldLayoutMkLst>
        </pc:sldLayoutChg>
        <pc:sldLayoutChg chg="add del">
          <pc:chgData name="Suzanne Fraga" userId="0674509a-ba6b-4c84-89a5-0bacefc3b715" providerId="ADAL" clId="{A7313A4F-3B54-4644-8449-69A81B515423}" dt="2022-02-02T14:12:28.260" v="12" actId="47"/>
          <pc:sldLayoutMkLst>
            <pc:docMk/>
            <pc:sldMasterMk cId="954604379" sldId="2147483753"/>
            <pc:sldLayoutMk cId="3186455492" sldId="2147483760"/>
          </pc:sldLayoutMkLst>
        </pc:sldLayoutChg>
        <pc:sldLayoutChg chg="add del">
          <pc:chgData name="Suzanne Fraga" userId="0674509a-ba6b-4c84-89a5-0bacefc3b715" providerId="ADAL" clId="{A7313A4F-3B54-4644-8449-69A81B515423}" dt="2022-02-02T14:12:28.260" v="12" actId="47"/>
          <pc:sldLayoutMkLst>
            <pc:docMk/>
            <pc:sldMasterMk cId="954604379" sldId="2147483753"/>
            <pc:sldLayoutMk cId="3157646804" sldId="2147483761"/>
          </pc:sldLayoutMkLst>
        </pc:sldLayoutChg>
        <pc:sldLayoutChg chg="add del">
          <pc:chgData name="Suzanne Fraga" userId="0674509a-ba6b-4c84-89a5-0bacefc3b715" providerId="ADAL" clId="{A7313A4F-3B54-4644-8449-69A81B515423}" dt="2022-02-02T14:12:28.260" v="12" actId="47"/>
          <pc:sldLayoutMkLst>
            <pc:docMk/>
            <pc:sldMasterMk cId="954604379" sldId="2147483753"/>
            <pc:sldLayoutMk cId="2024590550" sldId="2147483762"/>
          </pc:sldLayoutMkLst>
        </pc:sldLayoutChg>
        <pc:sldLayoutChg chg="add del">
          <pc:chgData name="Suzanne Fraga" userId="0674509a-ba6b-4c84-89a5-0bacefc3b715" providerId="ADAL" clId="{A7313A4F-3B54-4644-8449-69A81B515423}" dt="2022-02-02T14:12:28.260" v="12" actId="47"/>
          <pc:sldLayoutMkLst>
            <pc:docMk/>
            <pc:sldMasterMk cId="954604379" sldId="2147483753"/>
            <pc:sldLayoutMk cId="495977037" sldId="2147483763"/>
          </pc:sldLayoutMkLst>
        </pc:sldLayoutChg>
        <pc:sldLayoutChg chg="add del">
          <pc:chgData name="Suzanne Fraga" userId="0674509a-ba6b-4c84-89a5-0bacefc3b715" providerId="ADAL" clId="{A7313A4F-3B54-4644-8449-69A81B515423}" dt="2022-02-02T14:12:28.260" v="12" actId="47"/>
          <pc:sldLayoutMkLst>
            <pc:docMk/>
            <pc:sldMasterMk cId="954604379" sldId="2147483753"/>
            <pc:sldLayoutMk cId="2976952862" sldId="2147483764"/>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Location</c:v>
                </c:pt>
              </c:strCache>
            </c:strRef>
          </c:tx>
          <c:spPr>
            <a:ln>
              <a:noFill/>
            </a:ln>
          </c:spPr>
          <c:dPt>
            <c:idx val="0"/>
            <c:bubble3D val="0"/>
            <c:spPr>
              <a:solidFill>
                <a:schemeClr val="accent5">
                  <a:alpha val="35000"/>
                </a:schemeClr>
              </a:solidFill>
              <a:ln w="19050">
                <a:noFill/>
              </a:ln>
              <a:effectLst/>
            </c:spPr>
            <c:extLst>
              <c:ext xmlns:c16="http://schemas.microsoft.com/office/drawing/2014/chart" uri="{C3380CC4-5D6E-409C-BE32-E72D297353CC}">
                <c16:uniqueId val="{00000001-C1B5-412E-BAA2-66B8FC9E0FAC}"/>
              </c:ext>
            </c:extLst>
          </c:dPt>
          <c:dPt>
            <c:idx val="1"/>
            <c:bubble3D val="0"/>
            <c:spPr>
              <a:solidFill>
                <a:schemeClr val="accent2">
                  <a:alpha val="29000"/>
                </a:schemeClr>
              </a:solidFill>
              <a:ln w="19050">
                <a:noFill/>
              </a:ln>
              <a:effectLst/>
            </c:spPr>
            <c:extLst>
              <c:ext xmlns:c16="http://schemas.microsoft.com/office/drawing/2014/chart" uri="{C3380CC4-5D6E-409C-BE32-E72D297353CC}">
                <c16:uniqueId val="{00000003-C1B5-412E-BAA2-66B8FC9E0FAC}"/>
              </c:ext>
            </c:extLst>
          </c:dPt>
          <c:dPt>
            <c:idx val="2"/>
            <c:bubble3D val="0"/>
            <c:spPr>
              <a:solidFill>
                <a:schemeClr val="accent6">
                  <a:alpha val="50000"/>
                </a:schemeClr>
              </a:solidFill>
              <a:ln w="19050">
                <a:noFill/>
              </a:ln>
              <a:effectLst/>
            </c:spPr>
            <c:extLst>
              <c:ext xmlns:c16="http://schemas.microsoft.com/office/drawing/2014/chart" uri="{C3380CC4-5D6E-409C-BE32-E72D297353CC}">
                <c16:uniqueId val="{00000005-C1B5-412E-BAA2-66B8FC9E0FAC}"/>
              </c:ext>
            </c:extLst>
          </c:dPt>
          <c:cat>
            <c:strRef>
              <c:f>Sheet1!$A$2:$A$4</c:f>
              <c:strCache>
                <c:ptCount val="3"/>
                <c:pt idx="0">
                  <c:v>Europe</c:v>
                </c:pt>
                <c:pt idx="1">
                  <c:v>North America</c:v>
                </c:pt>
                <c:pt idx="2">
                  <c:v>Asia Pacific</c:v>
                </c:pt>
              </c:strCache>
            </c:strRef>
          </c:cat>
          <c:val>
            <c:numRef>
              <c:f>Sheet1!$B$2:$B$4</c:f>
              <c:numCache>
                <c:formatCode>General</c:formatCode>
                <c:ptCount val="3"/>
                <c:pt idx="0">
                  <c:v>17</c:v>
                </c:pt>
                <c:pt idx="1">
                  <c:v>8</c:v>
                </c:pt>
                <c:pt idx="2">
                  <c:v>4</c:v>
                </c:pt>
              </c:numCache>
            </c:numRef>
          </c:val>
          <c:extLst>
            <c:ext xmlns:c16="http://schemas.microsoft.com/office/drawing/2014/chart" uri="{C3380CC4-5D6E-409C-BE32-E72D297353CC}">
              <c16:uniqueId val="{00000006-C1B5-412E-BAA2-66B8FC9E0FA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PLS published in Adis journals</c:v>
                </c:pt>
              </c:strCache>
            </c:strRef>
          </c:tx>
          <c:spPr>
            <a:ln w="28575" cap="rnd">
              <a:solidFill>
                <a:schemeClr val="accent1"/>
              </a:solidFill>
              <a:round/>
            </a:ln>
            <a:effectLst/>
          </c:spPr>
          <c:marker>
            <c:symbol val="none"/>
          </c:marker>
          <c:cat>
            <c:numRef>
              <c:f>Sheet1!$A$2:$A$6</c:f>
              <c:numCache>
                <c:formatCode>General</c:formatCode>
                <c:ptCount val="5"/>
                <c:pt idx="0">
                  <c:v>2017</c:v>
                </c:pt>
                <c:pt idx="1">
                  <c:v>2018</c:v>
                </c:pt>
                <c:pt idx="2">
                  <c:v>2019</c:v>
                </c:pt>
                <c:pt idx="3">
                  <c:v>2020</c:v>
                </c:pt>
                <c:pt idx="4">
                  <c:v>2021</c:v>
                </c:pt>
              </c:numCache>
            </c:numRef>
          </c:cat>
          <c:val>
            <c:numRef>
              <c:f>Sheet1!$B$2:$B$6</c:f>
              <c:numCache>
                <c:formatCode>General</c:formatCode>
                <c:ptCount val="5"/>
                <c:pt idx="0">
                  <c:v>8</c:v>
                </c:pt>
                <c:pt idx="1">
                  <c:v>48</c:v>
                </c:pt>
                <c:pt idx="2">
                  <c:v>73</c:v>
                </c:pt>
                <c:pt idx="3">
                  <c:v>98</c:v>
                </c:pt>
                <c:pt idx="4">
                  <c:v>151</c:v>
                </c:pt>
              </c:numCache>
            </c:numRef>
          </c:val>
          <c:smooth val="0"/>
          <c:extLst>
            <c:ext xmlns:c16="http://schemas.microsoft.com/office/drawing/2014/chart" uri="{C3380CC4-5D6E-409C-BE32-E72D297353CC}">
              <c16:uniqueId val="{00000000-D669-4502-BE0B-9A975FEA08EF}"/>
            </c:ext>
          </c:extLst>
        </c:ser>
        <c:dLbls>
          <c:showLegendKey val="0"/>
          <c:showVal val="0"/>
          <c:showCatName val="0"/>
          <c:showSerName val="0"/>
          <c:showPercent val="0"/>
          <c:showBubbleSize val="0"/>
        </c:dLbls>
        <c:smooth val="0"/>
        <c:axId val="1836026703"/>
        <c:axId val="1836018383"/>
      </c:lineChart>
      <c:catAx>
        <c:axId val="18360267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36018383"/>
        <c:crosses val="autoZero"/>
        <c:auto val="1"/>
        <c:lblAlgn val="ctr"/>
        <c:lblOffset val="100"/>
        <c:noMultiLvlLbl val="0"/>
      </c:catAx>
      <c:valAx>
        <c:axId val="1836018383"/>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83602670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bg2">
                  <a:lumMod val="50000"/>
                </a:schemeClr>
              </a:solidFill>
              <a:ln>
                <a:noFill/>
              </a:ln>
              <a:effectLst/>
            </c:spPr>
            <c:extLst>
              <c:ext xmlns:c16="http://schemas.microsoft.com/office/drawing/2014/chart" uri="{C3380CC4-5D6E-409C-BE32-E72D297353CC}">
                <c16:uniqueId val="{00000001-2A76-4DAC-98F9-1E3E7CD12DCB}"/>
              </c:ext>
            </c:extLst>
          </c:dPt>
          <c:dPt>
            <c:idx val="1"/>
            <c:invertIfNegative val="0"/>
            <c:bubble3D val="0"/>
            <c:spPr>
              <a:solidFill>
                <a:schemeClr val="bg2">
                  <a:lumMod val="50000"/>
                </a:schemeClr>
              </a:solidFill>
              <a:ln w="12700">
                <a:noFill/>
              </a:ln>
              <a:effectLst/>
            </c:spPr>
            <c:extLst>
              <c:ext xmlns:c16="http://schemas.microsoft.com/office/drawing/2014/chart" uri="{C3380CC4-5D6E-409C-BE32-E72D297353CC}">
                <c16:uniqueId val="{00000003-2A76-4DAC-98F9-1E3E7CD12DCB}"/>
              </c:ext>
            </c:extLst>
          </c:dPt>
          <c:dPt>
            <c:idx val="2"/>
            <c:invertIfNegative val="0"/>
            <c:bubble3D val="0"/>
            <c:spPr>
              <a:solidFill>
                <a:schemeClr val="tx1"/>
              </a:solidFill>
              <a:ln>
                <a:noFill/>
              </a:ln>
              <a:effectLst/>
            </c:spPr>
            <c:extLst>
              <c:ext xmlns:c16="http://schemas.microsoft.com/office/drawing/2014/chart" uri="{C3380CC4-5D6E-409C-BE32-E72D297353CC}">
                <c16:uniqueId val="{00000005-2A76-4DAC-98F9-1E3E7CD12DCB}"/>
              </c:ext>
            </c:extLst>
          </c:dPt>
          <c:dPt>
            <c:idx val="3"/>
            <c:invertIfNegative val="0"/>
            <c:bubble3D val="0"/>
            <c:spPr>
              <a:solidFill>
                <a:schemeClr val="tx1"/>
              </a:solidFill>
              <a:ln>
                <a:noFill/>
              </a:ln>
              <a:effectLst/>
            </c:spPr>
            <c:extLst>
              <c:ext xmlns:c16="http://schemas.microsoft.com/office/drawing/2014/chart" uri="{C3380CC4-5D6E-409C-BE32-E72D297353CC}">
                <c16:uniqueId val="{00000007-2A76-4DAC-98F9-1E3E7CD12DCB}"/>
              </c:ext>
            </c:extLst>
          </c:dPt>
          <c:dPt>
            <c:idx val="4"/>
            <c:invertIfNegative val="0"/>
            <c:bubble3D val="0"/>
            <c:spPr>
              <a:solidFill>
                <a:srgbClr val="7030A0"/>
              </a:solidFill>
              <a:ln>
                <a:noFill/>
              </a:ln>
              <a:effectLst/>
            </c:spPr>
            <c:extLst>
              <c:ext xmlns:c16="http://schemas.microsoft.com/office/drawing/2014/chart" uri="{C3380CC4-5D6E-409C-BE32-E72D297353CC}">
                <c16:uniqueId val="{00000009-2A76-4DAC-98F9-1E3E7CD12DCB}"/>
              </c:ext>
            </c:extLst>
          </c:dPt>
          <c:dPt>
            <c:idx val="5"/>
            <c:invertIfNegative val="0"/>
            <c:bubble3D val="0"/>
            <c:spPr>
              <a:solidFill>
                <a:schemeClr val="accent5"/>
              </a:solidFill>
              <a:ln>
                <a:noFill/>
              </a:ln>
              <a:effectLst/>
            </c:spPr>
            <c:extLst>
              <c:ext xmlns:c16="http://schemas.microsoft.com/office/drawing/2014/chart" uri="{C3380CC4-5D6E-409C-BE32-E72D297353CC}">
                <c16:uniqueId val="{0000000B-2A76-4DAC-98F9-1E3E7CD12DCB}"/>
              </c:ext>
            </c:extLst>
          </c:dPt>
          <c:dPt>
            <c:idx val="6"/>
            <c:invertIfNegative val="0"/>
            <c:bubble3D val="0"/>
            <c:spPr>
              <a:solidFill>
                <a:schemeClr val="bg2">
                  <a:lumMod val="50000"/>
                </a:schemeClr>
              </a:solidFill>
              <a:ln w="12700">
                <a:noFill/>
              </a:ln>
              <a:effectLst/>
            </c:spPr>
            <c:extLst>
              <c:ext xmlns:c16="http://schemas.microsoft.com/office/drawing/2014/chart" uri="{C3380CC4-5D6E-409C-BE32-E72D297353CC}">
                <c16:uniqueId val="{0000000D-2A76-4DAC-98F9-1E3E7CD12DCB}"/>
              </c:ext>
            </c:extLst>
          </c:dPt>
          <c:dPt>
            <c:idx val="7"/>
            <c:invertIfNegative val="0"/>
            <c:bubble3D val="0"/>
            <c:spPr>
              <a:solidFill>
                <a:srgbClr val="7030A0"/>
              </a:solidFill>
              <a:ln>
                <a:noFill/>
              </a:ln>
              <a:effectLst/>
            </c:spPr>
            <c:extLst>
              <c:ext xmlns:c16="http://schemas.microsoft.com/office/drawing/2014/chart" uri="{C3380CC4-5D6E-409C-BE32-E72D297353CC}">
                <c16:uniqueId val="{0000000F-2A76-4DAC-98F9-1E3E7CD12DCB}"/>
              </c:ext>
            </c:extLst>
          </c:dPt>
          <c:dPt>
            <c:idx val="8"/>
            <c:invertIfNegative val="0"/>
            <c:bubble3D val="0"/>
            <c:spPr>
              <a:solidFill>
                <a:schemeClr val="accent5"/>
              </a:solidFill>
              <a:ln>
                <a:noFill/>
              </a:ln>
              <a:effectLst/>
            </c:spPr>
            <c:extLst>
              <c:ext xmlns:c16="http://schemas.microsoft.com/office/drawing/2014/chart" uri="{C3380CC4-5D6E-409C-BE32-E72D297353CC}">
                <c16:uniqueId val="{00000011-2A76-4DAC-98F9-1E3E7CD12DCB}"/>
              </c:ext>
            </c:extLst>
          </c:dPt>
          <c:dPt>
            <c:idx val="9"/>
            <c:invertIfNegative val="0"/>
            <c:bubble3D val="0"/>
            <c:spPr>
              <a:solidFill>
                <a:schemeClr val="tx1"/>
              </a:solidFill>
              <a:ln>
                <a:noFill/>
              </a:ln>
              <a:effectLst/>
            </c:spPr>
            <c:extLst>
              <c:ext xmlns:c16="http://schemas.microsoft.com/office/drawing/2014/chart" uri="{C3380CC4-5D6E-409C-BE32-E72D297353CC}">
                <c16:uniqueId val="{00000013-2A76-4DAC-98F9-1E3E7CD12DCB}"/>
              </c:ext>
            </c:extLst>
          </c:dPt>
          <c:dPt>
            <c:idx val="10"/>
            <c:invertIfNegative val="0"/>
            <c:bubble3D val="0"/>
            <c:spPr>
              <a:solidFill>
                <a:srgbClr val="FF0000"/>
              </a:solidFill>
              <a:ln w="12700">
                <a:noFill/>
              </a:ln>
              <a:effectLst/>
            </c:spPr>
            <c:extLst>
              <c:ext xmlns:c16="http://schemas.microsoft.com/office/drawing/2014/chart" uri="{C3380CC4-5D6E-409C-BE32-E72D297353CC}">
                <c16:uniqueId val="{00000015-2A76-4DAC-98F9-1E3E7CD12DCB}"/>
              </c:ext>
            </c:extLst>
          </c:dPt>
          <c:dPt>
            <c:idx val="11"/>
            <c:invertIfNegative val="0"/>
            <c:bubble3D val="0"/>
            <c:spPr>
              <a:solidFill>
                <a:schemeClr val="bg1">
                  <a:lumMod val="75000"/>
                </a:schemeClr>
              </a:solidFill>
              <a:ln>
                <a:noFill/>
              </a:ln>
              <a:effectLst/>
            </c:spPr>
            <c:extLst>
              <c:ext xmlns:c16="http://schemas.microsoft.com/office/drawing/2014/chart" uri="{C3380CC4-5D6E-409C-BE32-E72D297353CC}">
                <c16:uniqueId val="{00000017-2A76-4DAC-98F9-1E3E7CD12DCB}"/>
              </c:ext>
            </c:extLst>
          </c:dPt>
          <c:dPt>
            <c:idx val="12"/>
            <c:invertIfNegative val="0"/>
            <c:bubble3D val="0"/>
            <c:spPr>
              <a:solidFill>
                <a:srgbClr val="7030A0"/>
              </a:solidFill>
              <a:ln>
                <a:noFill/>
              </a:ln>
              <a:effectLst/>
            </c:spPr>
            <c:extLst>
              <c:ext xmlns:c16="http://schemas.microsoft.com/office/drawing/2014/chart" uri="{C3380CC4-5D6E-409C-BE32-E72D297353CC}">
                <c16:uniqueId val="{00000019-2A76-4DAC-98F9-1E3E7CD12DCB}"/>
              </c:ext>
            </c:extLst>
          </c:dPt>
          <c:dPt>
            <c:idx val="13"/>
            <c:invertIfNegative val="0"/>
            <c:bubble3D val="0"/>
            <c:spPr>
              <a:solidFill>
                <a:schemeClr val="tx1"/>
              </a:solidFill>
              <a:ln>
                <a:noFill/>
              </a:ln>
              <a:effectLst/>
            </c:spPr>
            <c:extLst>
              <c:ext xmlns:c16="http://schemas.microsoft.com/office/drawing/2014/chart" uri="{C3380CC4-5D6E-409C-BE32-E72D297353CC}">
                <c16:uniqueId val="{0000001B-2A76-4DAC-98F9-1E3E7CD12DCB}"/>
              </c:ext>
            </c:extLst>
          </c:dPt>
          <c:dPt>
            <c:idx val="14"/>
            <c:invertIfNegative val="0"/>
            <c:bubble3D val="0"/>
            <c:spPr>
              <a:solidFill>
                <a:srgbClr val="7030A0"/>
              </a:solidFill>
              <a:ln>
                <a:noFill/>
              </a:ln>
              <a:effectLst/>
            </c:spPr>
            <c:extLst>
              <c:ext xmlns:c16="http://schemas.microsoft.com/office/drawing/2014/chart" uri="{C3380CC4-5D6E-409C-BE32-E72D297353CC}">
                <c16:uniqueId val="{0000001D-2A76-4DAC-98F9-1E3E7CD12DCB}"/>
              </c:ext>
            </c:extLst>
          </c:dPt>
          <c:dPt>
            <c:idx val="15"/>
            <c:invertIfNegative val="0"/>
            <c:bubble3D val="0"/>
            <c:spPr>
              <a:solidFill>
                <a:schemeClr val="bg2">
                  <a:lumMod val="50000"/>
                </a:schemeClr>
              </a:solidFill>
              <a:ln>
                <a:noFill/>
              </a:ln>
              <a:effectLst/>
            </c:spPr>
            <c:extLst>
              <c:ext xmlns:c16="http://schemas.microsoft.com/office/drawing/2014/chart" uri="{C3380CC4-5D6E-409C-BE32-E72D297353CC}">
                <c16:uniqueId val="{0000001F-2A76-4DAC-98F9-1E3E7CD12DCB}"/>
              </c:ext>
            </c:extLst>
          </c:dPt>
          <c:dPt>
            <c:idx val="16"/>
            <c:invertIfNegative val="0"/>
            <c:bubble3D val="0"/>
            <c:spPr>
              <a:solidFill>
                <a:schemeClr val="accent5"/>
              </a:solidFill>
              <a:ln>
                <a:noFill/>
              </a:ln>
              <a:effectLst/>
            </c:spPr>
            <c:extLst>
              <c:ext xmlns:c16="http://schemas.microsoft.com/office/drawing/2014/chart" uri="{C3380CC4-5D6E-409C-BE32-E72D297353CC}">
                <c16:uniqueId val="{00000021-2A76-4DAC-98F9-1E3E7CD12DCB}"/>
              </c:ext>
            </c:extLst>
          </c:dPt>
          <c:dPt>
            <c:idx val="17"/>
            <c:invertIfNegative val="0"/>
            <c:bubble3D val="0"/>
            <c:spPr>
              <a:solidFill>
                <a:schemeClr val="bg1">
                  <a:lumMod val="75000"/>
                </a:schemeClr>
              </a:solidFill>
              <a:ln>
                <a:noFill/>
              </a:ln>
              <a:effectLst/>
            </c:spPr>
            <c:extLst>
              <c:ext xmlns:c16="http://schemas.microsoft.com/office/drawing/2014/chart" uri="{C3380CC4-5D6E-409C-BE32-E72D297353CC}">
                <c16:uniqueId val="{00000023-2A76-4DAC-98F9-1E3E7CD12DCB}"/>
              </c:ext>
            </c:extLst>
          </c:dPt>
          <c:dPt>
            <c:idx val="18"/>
            <c:invertIfNegative val="0"/>
            <c:bubble3D val="0"/>
            <c:spPr>
              <a:solidFill>
                <a:srgbClr val="008080"/>
              </a:solidFill>
              <a:ln w="12700">
                <a:noFill/>
              </a:ln>
              <a:effectLst/>
            </c:spPr>
            <c:extLst>
              <c:ext xmlns:c16="http://schemas.microsoft.com/office/drawing/2014/chart" uri="{C3380CC4-5D6E-409C-BE32-E72D297353CC}">
                <c16:uniqueId val="{00000025-2A76-4DAC-98F9-1E3E7CD12DCB}"/>
              </c:ext>
            </c:extLst>
          </c:dPt>
          <c:dPt>
            <c:idx val="19"/>
            <c:invertIfNegative val="0"/>
            <c:bubble3D val="0"/>
            <c:spPr>
              <a:solidFill>
                <a:schemeClr val="bg2">
                  <a:lumMod val="50000"/>
                </a:schemeClr>
              </a:solidFill>
              <a:ln>
                <a:noFill/>
              </a:ln>
              <a:effectLst/>
            </c:spPr>
            <c:extLst>
              <c:ext xmlns:c16="http://schemas.microsoft.com/office/drawing/2014/chart" uri="{C3380CC4-5D6E-409C-BE32-E72D297353CC}">
                <c16:uniqueId val="{00000027-2A76-4DAC-98F9-1E3E7CD12DCB}"/>
              </c:ext>
            </c:extLst>
          </c:dPt>
          <c:dPt>
            <c:idx val="20"/>
            <c:invertIfNegative val="0"/>
            <c:bubble3D val="0"/>
            <c:spPr>
              <a:solidFill>
                <a:srgbClr val="7030A0"/>
              </a:solidFill>
              <a:ln>
                <a:noFill/>
              </a:ln>
              <a:effectLst/>
            </c:spPr>
            <c:extLst>
              <c:ext xmlns:c16="http://schemas.microsoft.com/office/drawing/2014/chart" uri="{C3380CC4-5D6E-409C-BE32-E72D297353CC}">
                <c16:uniqueId val="{00000029-2A76-4DAC-98F9-1E3E7CD12DCB}"/>
              </c:ext>
            </c:extLst>
          </c:dPt>
          <c:dPt>
            <c:idx val="21"/>
            <c:invertIfNegative val="0"/>
            <c:bubble3D val="0"/>
            <c:spPr>
              <a:solidFill>
                <a:schemeClr val="bg1">
                  <a:lumMod val="75000"/>
                </a:schemeClr>
              </a:solidFill>
              <a:ln>
                <a:noFill/>
              </a:ln>
              <a:effectLst/>
            </c:spPr>
            <c:extLst>
              <c:ext xmlns:c16="http://schemas.microsoft.com/office/drawing/2014/chart" uri="{C3380CC4-5D6E-409C-BE32-E72D297353CC}">
                <c16:uniqueId val="{0000002B-2A76-4DAC-98F9-1E3E7CD12DCB}"/>
              </c:ext>
            </c:extLst>
          </c:dPt>
          <c:dPt>
            <c:idx val="22"/>
            <c:invertIfNegative val="0"/>
            <c:bubble3D val="0"/>
            <c:spPr>
              <a:solidFill>
                <a:srgbClr val="7030A0"/>
              </a:solidFill>
              <a:ln>
                <a:noFill/>
              </a:ln>
              <a:effectLst/>
            </c:spPr>
            <c:extLst>
              <c:ext xmlns:c16="http://schemas.microsoft.com/office/drawing/2014/chart" uri="{C3380CC4-5D6E-409C-BE32-E72D297353CC}">
                <c16:uniqueId val="{0000002D-2A76-4DAC-98F9-1E3E7CD12DCB}"/>
              </c:ext>
            </c:extLst>
          </c:dPt>
          <c:dPt>
            <c:idx val="23"/>
            <c:invertIfNegative val="0"/>
            <c:bubble3D val="0"/>
            <c:spPr>
              <a:solidFill>
                <a:schemeClr val="bg2">
                  <a:lumMod val="50000"/>
                </a:schemeClr>
              </a:solidFill>
              <a:ln>
                <a:noFill/>
              </a:ln>
              <a:effectLst/>
            </c:spPr>
            <c:extLst>
              <c:ext xmlns:c16="http://schemas.microsoft.com/office/drawing/2014/chart" uri="{C3380CC4-5D6E-409C-BE32-E72D297353CC}">
                <c16:uniqueId val="{0000002F-2A76-4DAC-98F9-1E3E7CD12DCB}"/>
              </c:ext>
            </c:extLst>
          </c:dPt>
          <c:dPt>
            <c:idx val="24"/>
            <c:invertIfNegative val="0"/>
            <c:bubble3D val="0"/>
            <c:spPr>
              <a:solidFill>
                <a:srgbClr val="7030A0"/>
              </a:solidFill>
              <a:ln>
                <a:noFill/>
              </a:ln>
              <a:effectLst/>
            </c:spPr>
            <c:extLst>
              <c:ext xmlns:c16="http://schemas.microsoft.com/office/drawing/2014/chart" uri="{C3380CC4-5D6E-409C-BE32-E72D297353CC}">
                <c16:uniqueId val="{00000031-2A76-4DAC-98F9-1E3E7CD12DCB}"/>
              </c:ext>
            </c:extLst>
          </c:dPt>
          <c:dPt>
            <c:idx val="25"/>
            <c:invertIfNegative val="0"/>
            <c:bubble3D val="0"/>
            <c:spPr>
              <a:solidFill>
                <a:schemeClr val="bg2">
                  <a:lumMod val="50000"/>
                </a:schemeClr>
              </a:solidFill>
              <a:ln>
                <a:noFill/>
              </a:ln>
              <a:effectLst/>
            </c:spPr>
            <c:extLst>
              <c:ext xmlns:c16="http://schemas.microsoft.com/office/drawing/2014/chart" uri="{C3380CC4-5D6E-409C-BE32-E72D297353CC}">
                <c16:uniqueId val="{00000033-2A76-4DAC-98F9-1E3E7CD12DCB}"/>
              </c:ext>
            </c:extLst>
          </c:dPt>
          <c:dPt>
            <c:idx val="26"/>
            <c:invertIfNegative val="0"/>
            <c:bubble3D val="0"/>
            <c:spPr>
              <a:solidFill>
                <a:srgbClr val="7030A0"/>
              </a:solidFill>
              <a:ln>
                <a:noFill/>
              </a:ln>
              <a:effectLst/>
            </c:spPr>
            <c:extLst>
              <c:ext xmlns:c16="http://schemas.microsoft.com/office/drawing/2014/chart" uri="{C3380CC4-5D6E-409C-BE32-E72D297353CC}">
                <c16:uniqueId val="{00000035-2A76-4DAC-98F9-1E3E7CD12DCB}"/>
              </c:ext>
            </c:extLst>
          </c:dPt>
          <c:dPt>
            <c:idx val="27"/>
            <c:invertIfNegative val="0"/>
            <c:bubble3D val="0"/>
            <c:spPr>
              <a:solidFill>
                <a:schemeClr val="bg2">
                  <a:lumMod val="50000"/>
                </a:schemeClr>
              </a:solidFill>
              <a:ln>
                <a:noFill/>
              </a:ln>
              <a:effectLst/>
            </c:spPr>
            <c:extLst>
              <c:ext xmlns:c16="http://schemas.microsoft.com/office/drawing/2014/chart" uri="{C3380CC4-5D6E-409C-BE32-E72D297353CC}">
                <c16:uniqueId val="{00000037-2A76-4DAC-98F9-1E3E7CD12DCB}"/>
              </c:ext>
            </c:extLst>
          </c:dPt>
          <c:dPt>
            <c:idx val="28"/>
            <c:invertIfNegative val="0"/>
            <c:bubble3D val="0"/>
            <c:spPr>
              <a:solidFill>
                <a:srgbClr val="FF0000"/>
              </a:solidFill>
              <a:ln>
                <a:noFill/>
              </a:ln>
              <a:effectLst/>
            </c:spPr>
            <c:extLst>
              <c:ext xmlns:c16="http://schemas.microsoft.com/office/drawing/2014/chart" uri="{C3380CC4-5D6E-409C-BE32-E72D297353CC}">
                <c16:uniqueId val="{00000039-2A76-4DAC-98F9-1E3E7CD12DCB}"/>
              </c:ext>
            </c:extLst>
          </c:dPt>
          <c:dPt>
            <c:idx val="29"/>
            <c:invertIfNegative val="0"/>
            <c:bubble3D val="0"/>
            <c:spPr>
              <a:solidFill>
                <a:schemeClr val="accent2"/>
              </a:solidFill>
              <a:ln>
                <a:noFill/>
              </a:ln>
              <a:effectLst/>
            </c:spPr>
            <c:extLst>
              <c:ext xmlns:c16="http://schemas.microsoft.com/office/drawing/2014/chart" uri="{C3380CC4-5D6E-409C-BE32-E72D297353CC}">
                <c16:uniqueId val="{0000003B-2A76-4DAC-98F9-1E3E7CD12DCB}"/>
              </c:ext>
            </c:extLst>
          </c:dPt>
          <c:dPt>
            <c:idx val="30"/>
            <c:invertIfNegative val="0"/>
            <c:bubble3D val="0"/>
            <c:spPr>
              <a:solidFill>
                <a:schemeClr val="accent2"/>
              </a:solidFill>
              <a:ln>
                <a:noFill/>
              </a:ln>
              <a:effectLst/>
            </c:spPr>
            <c:extLst>
              <c:ext xmlns:c16="http://schemas.microsoft.com/office/drawing/2014/chart" uri="{C3380CC4-5D6E-409C-BE32-E72D297353CC}">
                <c16:uniqueId val="{0000003D-2A76-4DAC-98F9-1E3E7CD12DCB}"/>
              </c:ext>
            </c:extLst>
          </c:dPt>
          <c:dPt>
            <c:idx val="31"/>
            <c:invertIfNegative val="0"/>
            <c:bubble3D val="0"/>
            <c:spPr>
              <a:solidFill>
                <a:schemeClr val="accent2"/>
              </a:solidFill>
              <a:ln>
                <a:noFill/>
              </a:ln>
              <a:effectLst/>
            </c:spPr>
            <c:extLst>
              <c:ext xmlns:c16="http://schemas.microsoft.com/office/drawing/2014/chart" uri="{C3380CC4-5D6E-409C-BE32-E72D297353CC}">
                <c16:uniqueId val="{0000003F-2A76-4DAC-98F9-1E3E7CD12DCB}"/>
              </c:ext>
            </c:extLst>
          </c:dPt>
          <c:dPt>
            <c:idx val="32"/>
            <c:invertIfNegative val="0"/>
            <c:bubble3D val="0"/>
            <c:spPr>
              <a:solidFill>
                <a:schemeClr val="bg1">
                  <a:lumMod val="75000"/>
                </a:schemeClr>
              </a:solidFill>
              <a:ln>
                <a:noFill/>
              </a:ln>
              <a:effectLst/>
            </c:spPr>
            <c:extLst>
              <c:ext xmlns:c16="http://schemas.microsoft.com/office/drawing/2014/chart" uri="{C3380CC4-5D6E-409C-BE32-E72D297353CC}">
                <c16:uniqueId val="{00000041-2A76-4DAC-98F9-1E3E7CD12DCB}"/>
              </c:ext>
            </c:extLst>
          </c:dPt>
          <c:dPt>
            <c:idx val="33"/>
            <c:invertIfNegative val="0"/>
            <c:bubble3D val="0"/>
            <c:spPr>
              <a:solidFill>
                <a:srgbClr val="7030A0"/>
              </a:solidFill>
              <a:ln>
                <a:noFill/>
              </a:ln>
              <a:effectLst/>
            </c:spPr>
            <c:extLst>
              <c:ext xmlns:c16="http://schemas.microsoft.com/office/drawing/2014/chart" uri="{C3380CC4-5D6E-409C-BE32-E72D297353CC}">
                <c16:uniqueId val="{00000043-2A76-4DAC-98F9-1E3E7CD12DCB}"/>
              </c:ext>
            </c:extLst>
          </c:dPt>
          <c:dPt>
            <c:idx val="34"/>
            <c:invertIfNegative val="0"/>
            <c:bubble3D val="0"/>
            <c:spPr>
              <a:solidFill>
                <a:srgbClr val="7030A0"/>
              </a:solidFill>
              <a:ln w="12700">
                <a:noFill/>
              </a:ln>
              <a:effectLst/>
            </c:spPr>
            <c:extLst>
              <c:ext xmlns:c16="http://schemas.microsoft.com/office/drawing/2014/chart" uri="{C3380CC4-5D6E-409C-BE32-E72D297353CC}">
                <c16:uniqueId val="{00000045-2A76-4DAC-98F9-1E3E7CD12DCB}"/>
              </c:ext>
            </c:extLst>
          </c:dPt>
          <c:dPt>
            <c:idx val="35"/>
            <c:invertIfNegative val="0"/>
            <c:bubble3D val="0"/>
            <c:spPr>
              <a:solidFill>
                <a:schemeClr val="accent5"/>
              </a:solidFill>
              <a:ln>
                <a:noFill/>
              </a:ln>
              <a:effectLst/>
            </c:spPr>
            <c:extLst>
              <c:ext xmlns:c16="http://schemas.microsoft.com/office/drawing/2014/chart" uri="{C3380CC4-5D6E-409C-BE32-E72D297353CC}">
                <c16:uniqueId val="{00000047-2A76-4DAC-98F9-1E3E7CD12DCB}"/>
              </c:ext>
            </c:extLst>
          </c:dPt>
          <c:dPt>
            <c:idx val="36"/>
            <c:invertIfNegative val="0"/>
            <c:bubble3D val="0"/>
            <c:spPr>
              <a:solidFill>
                <a:srgbClr val="FF0000"/>
              </a:solidFill>
              <a:ln>
                <a:noFill/>
              </a:ln>
              <a:effectLst/>
            </c:spPr>
            <c:extLst>
              <c:ext xmlns:c16="http://schemas.microsoft.com/office/drawing/2014/chart" uri="{C3380CC4-5D6E-409C-BE32-E72D297353CC}">
                <c16:uniqueId val="{00000049-2A76-4DAC-98F9-1E3E7CD12DCB}"/>
              </c:ext>
            </c:extLst>
          </c:dPt>
          <c:dPt>
            <c:idx val="37"/>
            <c:invertIfNegative val="0"/>
            <c:bubble3D val="0"/>
            <c:spPr>
              <a:solidFill>
                <a:srgbClr val="7030A0"/>
              </a:solidFill>
              <a:ln>
                <a:noFill/>
              </a:ln>
              <a:effectLst/>
            </c:spPr>
            <c:extLst>
              <c:ext xmlns:c16="http://schemas.microsoft.com/office/drawing/2014/chart" uri="{C3380CC4-5D6E-409C-BE32-E72D297353CC}">
                <c16:uniqueId val="{0000004B-2A76-4DAC-98F9-1E3E7CD12DCB}"/>
              </c:ext>
            </c:extLst>
          </c:dPt>
          <c:dPt>
            <c:idx val="38"/>
            <c:invertIfNegative val="0"/>
            <c:bubble3D val="0"/>
            <c:spPr>
              <a:solidFill>
                <a:schemeClr val="accent2"/>
              </a:solidFill>
              <a:ln>
                <a:noFill/>
              </a:ln>
              <a:effectLst/>
            </c:spPr>
            <c:extLst>
              <c:ext xmlns:c16="http://schemas.microsoft.com/office/drawing/2014/chart" uri="{C3380CC4-5D6E-409C-BE32-E72D297353CC}">
                <c16:uniqueId val="{0000004D-2A76-4DAC-98F9-1E3E7CD12DCB}"/>
              </c:ext>
            </c:extLst>
          </c:dPt>
          <c:dPt>
            <c:idx val="39"/>
            <c:invertIfNegative val="0"/>
            <c:bubble3D val="0"/>
            <c:spPr>
              <a:solidFill>
                <a:schemeClr val="accent2"/>
              </a:solidFill>
              <a:ln>
                <a:noFill/>
              </a:ln>
              <a:effectLst/>
            </c:spPr>
            <c:extLst>
              <c:ext xmlns:c16="http://schemas.microsoft.com/office/drawing/2014/chart" uri="{C3380CC4-5D6E-409C-BE32-E72D297353CC}">
                <c16:uniqueId val="{0000004F-2A76-4DAC-98F9-1E3E7CD12DCB}"/>
              </c:ext>
            </c:extLst>
          </c:dPt>
          <c:dPt>
            <c:idx val="40"/>
            <c:invertIfNegative val="0"/>
            <c:bubble3D val="0"/>
            <c:spPr>
              <a:solidFill>
                <a:srgbClr val="7030A0"/>
              </a:solidFill>
              <a:ln>
                <a:noFill/>
              </a:ln>
              <a:effectLst/>
            </c:spPr>
            <c:extLst>
              <c:ext xmlns:c16="http://schemas.microsoft.com/office/drawing/2014/chart" uri="{C3380CC4-5D6E-409C-BE32-E72D297353CC}">
                <c16:uniqueId val="{00000051-2A76-4DAC-98F9-1E3E7CD12DCB}"/>
              </c:ext>
            </c:extLst>
          </c:dPt>
          <c:dPt>
            <c:idx val="41"/>
            <c:invertIfNegative val="0"/>
            <c:bubble3D val="0"/>
            <c:spPr>
              <a:solidFill>
                <a:srgbClr val="008080"/>
              </a:solidFill>
              <a:ln>
                <a:noFill/>
              </a:ln>
              <a:effectLst/>
            </c:spPr>
            <c:extLst>
              <c:ext xmlns:c16="http://schemas.microsoft.com/office/drawing/2014/chart" uri="{C3380CC4-5D6E-409C-BE32-E72D297353CC}">
                <c16:uniqueId val="{00000053-2A76-4DAC-98F9-1E3E7CD12DCB}"/>
              </c:ext>
            </c:extLst>
          </c:dPt>
          <c:dPt>
            <c:idx val="42"/>
            <c:invertIfNegative val="0"/>
            <c:bubble3D val="0"/>
            <c:spPr>
              <a:solidFill>
                <a:srgbClr val="008080"/>
              </a:solidFill>
              <a:ln>
                <a:noFill/>
              </a:ln>
              <a:effectLst/>
            </c:spPr>
            <c:extLst>
              <c:ext xmlns:c16="http://schemas.microsoft.com/office/drawing/2014/chart" uri="{C3380CC4-5D6E-409C-BE32-E72D297353CC}">
                <c16:uniqueId val="{00000055-2A76-4DAC-98F9-1E3E7CD12DCB}"/>
              </c:ext>
            </c:extLst>
          </c:dPt>
          <c:dPt>
            <c:idx val="43"/>
            <c:invertIfNegative val="0"/>
            <c:bubble3D val="0"/>
            <c:spPr>
              <a:solidFill>
                <a:schemeClr val="tx1"/>
              </a:solidFill>
              <a:ln>
                <a:noFill/>
              </a:ln>
              <a:effectLst/>
            </c:spPr>
            <c:extLst>
              <c:ext xmlns:c16="http://schemas.microsoft.com/office/drawing/2014/chart" uri="{C3380CC4-5D6E-409C-BE32-E72D297353CC}">
                <c16:uniqueId val="{00000057-2A76-4DAC-98F9-1E3E7CD12DCB}"/>
              </c:ext>
            </c:extLst>
          </c:dPt>
          <c:dPt>
            <c:idx val="44"/>
            <c:invertIfNegative val="0"/>
            <c:bubble3D val="0"/>
            <c:spPr>
              <a:solidFill>
                <a:srgbClr val="008080"/>
              </a:solidFill>
              <a:ln w="12700">
                <a:noFill/>
              </a:ln>
              <a:effectLst/>
            </c:spPr>
            <c:extLst>
              <c:ext xmlns:c16="http://schemas.microsoft.com/office/drawing/2014/chart" uri="{C3380CC4-5D6E-409C-BE32-E72D297353CC}">
                <c16:uniqueId val="{00000059-2A76-4DAC-98F9-1E3E7CD12DCB}"/>
              </c:ext>
            </c:extLst>
          </c:dPt>
          <c:dPt>
            <c:idx val="45"/>
            <c:invertIfNegative val="0"/>
            <c:bubble3D val="0"/>
            <c:spPr>
              <a:solidFill>
                <a:schemeClr val="bg2">
                  <a:lumMod val="50000"/>
                </a:schemeClr>
              </a:solidFill>
              <a:ln>
                <a:noFill/>
              </a:ln>
              <a:effectLst/>
            </c:spPr>
            <c:extLst>
              <c:ext xmlns:c16="http://schemas.microsoft.com/office/drawing/2014/chart" uri="{C3380CC4-5D6E-409C-BE32-E72D297353CC}">
                <c16:uniqueId val="{0000005B-2A76-4DAC-98F9-1E3E7CD12DCB}"/>
              </c:ext>
            </c:extLst>
          </c:dPt>
          <c:dPt>
            <c:idx val="46"/>
            <c:invertIfNegative val="0"/>
            <c:bubble3D val="0"/>
            <c:spPr>
              <a:solidFill>
                <a:schemeClr val="bg2">
                  <a:lumMod val="50000"/>
                </a:schemeClr>
              </a:solidFill>
              <a:ln>
                <a:noFill/>
              </a:ln>
              <a:effectLst/>
            </c:spPr>
            <c:extLst>
              <c:ext xmlns:c16="http://schemas.microsoft.com/office/drawing/2014/chart" uri="{C3380CC4-5D6E-409C-BE32-E72D297353CC}">
                <c16:uniqueId val="{0000005D-2A76-4DAC-98F9-1E3E7CD12DC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25%'!$E$2:$E$51</c:f>
              <c:numCache>
                <c:formatCode>0%</c:formatCode>
                <c:ptCount val="50"/>
                <c:pt idx="0">
                  <c:v>4.67</c:v>
                </c:pt>
                <c:pt idx="1">
                  <c:v>-2.96</c:v>
                </c:pt>
                <c:pt idx="2">
                  <c:v>2.91</c:v>
                </c:pt>
                <c:pt idx="3">
                  <c:v>2.5499999999999998</c:v>
                </c:pt>
                <c:pt idx="4">
                  <c:v>2.46</c:v>
                </c:pt>
                <c:pt idx="5">
                  <c:v>2.17</c:v>
                </c:pt>
                <c:pt idx="6">
                  <c:v>-1.91</c:v>
                </c:pt>
                <c:pt idx="7">
                  <c:v>1.64</c:v>
                </c:pt>
                <c:pt idx="8">
                  <c:v>1.63</c:v>
                </c:pt>
                <c:pt idx="9">
                  <c:v>1.28</c:v>
                </c:pt>
                <c:pt idx="10">
                  <c:v>-1.18</c:v>
                </c:pt>
                <c:pt idx="11">
                  <c:v>1.1599999999999999</c:v>
                </c:pt>
                <c:pt idx="12">
                  <c:v>0.85</c:v>
                </c:pt>
                <c:pt idx="13">
                  <c:v>0.85</c:v>
                </c:pt>
                <c:pt idx="14">
                  <c:v>0.73</c:v>
                </c:pt>
                <c:pt idx="15">
                  <c:v>0.71</c:v>
                </c:pt>
                <c:pt idx="16">
                  <c:v>0.68</c:v>
                </c:pt>
                <c:pt idx="17">
                  <c:v>0.67</c:v>
                </c:pt>
                <c:pt idx="18">
                  <c:v>0.62</c:v>
                </c:pt>
                <c:pt idx="19">
                  <c:v>0.52</c:v>
                </c:pt>
                <c:pt idx="20">
                  <c:v>0.52</c:v>
                </c:pt>
                <c:pt idx="21">
                  <c:v>0.5</c:v>
                </c:pt>
                <c:pt idx="22">
                  <c:v>0.5</c:v>
                </c:pt>
                <c:pt idx="23">
                  <c:v>0.49</c:v>
                </c:pt>
                <c:pt idx="24">
                  <c:v>0.47</c:v>
                </c:pt>
                <c:pt idx="25">
                  <c:v>0.42</c:v>
                </c:pt>
                <c:pt idx="26">
                  <c:v>0.41</c:v>
                </c:pt>
                <c:pt idx="27">
                  <c:v>0.41</c:v>
                </c:pt>
                <c:pt idx="28">
                  <c:v>0.36</c:v>
                </c:pt>
                <c:pt idx="29">
                  <c:v>0.35</c:v>
                </c:pt>
                <c:pt idx="30">
                  <c:v>0.34</c:v>
                </c:pt>
                <c:pt idx="31">
                  <c:v>0.31</c:v>
                </c:pt>
                <c:pt idx="32">
                  <c:v>0.28999999999999998</c:v>
                </c:pt>
                <c:pt idx="33">
                  <c:v>0.28000000000000003</c:v>
                </c:pt>
                <c:pt idx="34">
                  <c:v>-0.25</c:v>
                </c:pt>
                <c:pt idx="35">
                  <c:v>0.24</c:v>
                </c:pt>
                <c:pt idx="36">
                  <c:v>0.19</c:v>
                </c:pt>
                <c:pt idx="37">
                  <c:v>-0.18</c:v>
                </c:pt>
                <c:pt idx="38">
                  <c:v>-0.17</c:v>
                </c:pt>
                <c:pt idx="39">
                  <c:v>-0.17</c:v>
                </c:pt>
                <c:pt idx="40">
                  <c:v>-0.15</c:v>
                </c:pt>
                <c:pt idx="41">
                  <c:v>0.13</c:v>
                </c:pt>
                <c:pt idx="42">
                  <c:v>0.12</c:v>
                </c:pt>
                <c:pt idx="43">
                  <c:v>0.11</c:v>
                </c:pt>
                <c:pt idx="44">
                  <c:v>-7.0000000000000007E-2</c:v>
                </c:pt>
                <c:pt idx="45">
                  <c:v>-0.03</c:v>
                </c:pt>
                <c:pt idx="46">
                  <c:v>-0.02</c:v>
                </c:pt>
                <c:pt idx="47">
                  <c:v>0</c:v>
                </c:pt>
                <c:pt idx="48">
                  <c:v>0</c:v>
                </c:pt>
                <c:pt idx="49">
                  <c:v>0</c:v>
                </c:pt>
              </c:numCache>
            </c:numRef>
          </c:val>
          <c:extLst>
            <c:ext xmlns:c16="http://schemas.microsoft.com/office/drawing/2014/chart" uri="{C3380CC4-5D6E-409C-BE32-E72D297353CC}">
              <c16:uniqueId val="{0000005E-2A76-4DAC-98F9-1E3E7CD12DCB}"/>
            </c:ext>
          </c:extLst>
        </c:ser>
        <c:dLbls>
          <c:dLblPos val="outEnd"/>
          <c:showLegendKey val="0"/>
          <c:showVal val="1"/>
          <c:showCatName val="0"/>
          <c:showSerName val="0"/>
          <c:showPercent val="0"/>
          <c:showBubbleSize val="0"/>
        </c:dLbls>
        <c:gapWidth val="50"/>
        <c:axId val="625848671"/>
        <c:axId val="625854079"/>
      </c:barChart>
      <c:catAx>
        <c:axId val="625848671"/>
        <c:scaling>
          <c:orientation val="maxMin"/>
        </c:scaling>
        <c:delete val="0"/>
        <c:axPos val="l"/>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5854079"/>
        <c:crosses val="autoZero"/>
        <c:auto val="1"/>
        <c:lblAlgn val="ctr"/>
        <c:lblOffset val="100"/>
        <c:noMultiLvlLbl val="0"/>
      </c:catAx>
      <c:valAx>
        <c:axId val="625854079"/>
        <c:scaling>
          <c:orientation val="minMax"/>
          <c:max val="5"/>
          <c:min val="-4"/>
        </c:scaling>
        <c:delete val="0"/>
        <c:axPos val="t"/>
        <c:majorGridlines>
          <c:spPr>
            <a:ln w="9525"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25848671"/>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153427-945E-44B0-9D26-20BD19599D83}" type="doc">
      <dgm:prSet loTypeId="urn:microsoft.com/office/officeart/2005/8/layout/chevron1" loCatId="process" qsTypeId="urn:microsoft.com/office/officeart/2005/8/quickstyle/simple1" qsCatId="simple" csTypeId="urn:microsoft.com/office/officeart/2005/8/colors/accent2_2" csCatId="accent2" phldr="1"/>
      <dgm:spPr/>
      <dgm:t>
        <a:bodyPr/>
        <a:lstStyle/>
        <a:p>
          <a:endParaRPr lang="en-US"/>
        </a:p>
      </dgm:t>
    </dgm:pt>
    <dgm:pt modelId="{0DEF2BE3-BC33-486E-BBB3-25D35F6B90CD}">
      <dgm:prSet phldrT="[Text]"/>
      <dgm:spPr/>
      <dgm:t>
        <a:bodyPr/>
        <a:lstStyle/>
        <a:p>
          <a:r>
            <a:rPr lang="en-GB" dirty="0"/>
            <a:t>Sep</a:t>
          </a:r>
          <a:endParaRPr lang="en-US" dirty="0"/>
        </a:p>
      </dgm:t>
    </dgm:pt>
    <dgm:pt modelId="{24991ECA-502E-4FBF-97AA-8A22297F9518}" type="parTrans" cxnId="{A0436055-B81C-4AB3-85A4-9482272F1DE6}">
      <dgm:prSet/>
      <dgm:spPr/>
      <dgm:t>
        <a:bodyPr/>
        <a:lstStyle/>
        <a:p>
          <a:endParaRPr lang="en-US"/>
        </a:p>
      </dgm:t>
    </dgm:pt>
    <dgm:pt modelId="{17A9F5B9-43FB-4248-ADDA-56D144FA1804}" type="sibTrans" cxnId="{A0436055-B81C-4AB3-85A4-9482272F1DE6}">
      <dgm:prSet/>
      <dgm:spPr/>
      <dgm:t>
        <a:bodyPr/>
        <a:lstStyle/>
        <a:p>
          <a:endParaRPr lang="en-US"/>
        </a:p>
      </dgm:t>
    </dgm:pt>
    <dgm:pt modelId="{EBFFAE43-2F44-4F6E-92AA-4F1CA4356128}">
      <dgm:prSet phldrT="[Text]"/>
      <dgm:spPr/>
      <dgm:t>
        <a:bodyPr/>
        <a:lstStyle/>
        <a:p>
          <a:r>
            <a:rPr lang="en-GB" dirty="0"/>
            <a:t>Oct</a:t>
          </a:r>
          <a:endParaRPr lang="en-US" dirty="0"/>
        </a:p>
      </dgm:t>
    </dgm:pt>
    <dgm:pt modelId="{44F55F00-CE10-4E79-ABB1-84A977DEBB2C}" type="parTrans" cxnId="{3F24BABB-A7C2-4E59-8CB5-B75695E3E12B}">
      <dgm:prSet/>
      <dgm:spPr/>
      <dgm:t>
        <a:bodyPr/>
        <a:lstStyle/>
        <a:p>
          <a:endParaRPr lang="en-US"/>
        </a:p>
      </dgm:t>
    </dgm:pt>
    <dgm:pt modelId="{63DCA8BE-EC17-41C9-81D1-0B118E4C3F2C}" type="sibTrans" cxnId="{3F24BABB-A7C2-4E59-8CB5-B75695E3E12B}">
      <dgm:prSet/>
      <dgm:spPr/>
      <dgm:t>
        <a:bodyPr/>
        <a:lstStyle/>
        <a:p>
          <a:endParaRPr lang="en-US"/>
        </a:p>
      </dgm:t>
    </dgm:pt>
    <dgm:pt modelId="{3577270C-1242-46FA-992D-D78BD15150A1}">
      <dgm:prSet phldrT="[Text]"/>
      <dgm:spPr/>
      <dgm:t>
        <a:bodyPr/>
        <a:lstStyle/>
        <a:p>
          <a:r>
            <a:rPr lang="en-GB" dirty="0"/>
            <a:t>Nov</a:t>
          </a:r>
          <a:endParaRPr lang="en-US" dirty="0"/>
        </a:p>
      </dgm:t>
    </dgm:pt>
    <dgm:pt modelId="{7F8EFB3B-3602-430A-B8FA-50CD78EB2E16}" type="parTrans" cxnId="{49A6A7D7-625B-4E90-AAD1-F650DF26022E}">
      <dgm:prSet/>
      <dgm:spPr/>
      <dgm:t>
        <a:bodyPr/>
        <a:lstStyle/>
        <a:p>
          <a:endParaRPr lang="en-US"/>
        </a:p>
      </dgm:t>
    </dgm:pt>
    <dgm:pt modelId="{31C7DF88-63E1-4732-8BAD-21C2B4D9052A}" type="sibTrans" cxnId="{49A6A7D7-625B-4E90-AAD1-F650DF26022E}">
      <dgm:prSet/>
      <dgm:spPr/>
      <dgm:t>
        <a:bodyPr/>
        <a:lstStyle/>
        <a:p>
          <a:endParaRPr lang="en-US"/>
        </a:p>
      </dgm:t>
    </dgm:pt>
    <dgm:pt modelId="{3E17EA54-C97B-4FA0-B8A1-43DF3AFCD609}">
      <dgm:prSet phldrT="[Text]"/>
      <dgm:spPr/>
      <dgm:t>
        <a:bodyPr/>
        <a:lstStyle/>
        <a:p>
          <a:r>
            <a:rPr lang="en-GB" dirty="0"/>
            <a:t>Dec</a:t>
          </a:r>
          <a:endParaRPr lang="en-US" dirty="0"/>
        </a:p>
      </dgm:t>
    </dgm:pt>
    <dgm:pt modelId="{A154B62D-4579-45FB-87F3-B184318F9FE7}" type="parTrans" cxnId="{2CE341FB-ED5A-4674-98B7-546592C062C2}">
      <dgm:prSet/>
      <dgm:spPr/>
      <dgm:t>
        <a:bodyPr/>
        <a:lstStyle/>
        <a:p>
          <a:endParaRPr lang="en-US"/>
        </a:p>
      </dgm:t>
    </dgm:pt>
    <dgm:pt modelId="{0C8582B3-11CE-47EB-B6A5-A7D8C734DDDF}" type="sibTrans" cxnId="{2CE341FB-ED5A-4674-98B7-546592C062C2}">
      <dgm:prSet/>
      <dgm:spPr/>
      <dgm:t>
        <a:bodyPr/>
        <a:lstStyle/>
        <a:p>
          <a:endParaRPr lang="en-US"/>
        </a:p>
      </dgm:t>
    </dgm:pt>
    <dgm:pt modelId="{87AFB062-426E-4322-B1E6-33A1C15BE5EB}">
      <dgm:prSet phldrT="[Text]"/>
      <dgm:spPr/>
      <dgm:t>
        <a:bodyPr/>
        <a:lstStyle/>
        <a:p>
          <a:r>
            <a:rPr lang="en-GB" dirty="0"/>
            <a:t>Jan</a:t>
          </a:r>
          <a:endParaRPr lang="en-US" dirty="0"/>
        </a:p>
      </dgm:t>
    </dgm:pt>
    <dgm:pt modelId="{BE4BC7EC-6D23-4CC4-8528-9F613D0CD982}" type="parTrans" cxnId="{4747564D-1205-4117-89A5-637596FE043E}">
      <dgm:prSet/>
      <dgm:spPr/>
      <dgm:t>
        <a:bodyPr/>
        <a:lstStyle/>
        <a:p>
          <a:endParaRPr lang="en-US"/>
        </a:p>
      </dgm:t>
    </dgm:pt>
    <dgm:pt modelId="{AF24571F-B9C1-4AF2-9F7E-9FFCDAF47067}" type="sibTrans" cxnId="{4747564D-1205-4117-89A5-637596FE043E}">
      <dgm:prSet/>
      <dgm:spPr/>
      <dgm:t>
        <a:bodyPr/>
        <a:lstStyle/>
        <a:p>
          <a:endParaRPr lang="en-US"/>
        </a:p>
      </dgm:t>
    </dgm:pt>
    <dgm:pt modelId="{F5E9B4BE-D1AD-4F77-8B9D-F0612A1C73A7}">
      <dgm:prSet phldrT="[Text]"/>
      <dgm:spPr/>
      <dgm:t>
        <a:bodyPr/>
        <a:lstStyle/>
        <a:p>
          <a:r>
            <a:rPr lang="en-GB" dirty="0"/>
            <a:t>Feb</a:t>
          </a:r>
          <a:endParaRPr lang="en-US" dirty="0"/>
        </a:p>
      </dgm:t>
    </dgm:pt>
    <dgm:pt modelId="{EBF6AB99-F560-41E7-8D00-A0C69285C8CA}" type="parTrans" cxnId="{3D3A6C56-5FF9-4CC3-AC0D-3640A9B9FD03}">
      <dgm:prSet/>
      <dgm:spPr/>
      <dgm:t>
        <a:bodyPr/>
        <a:lstStyle/>
        <a:p>
          <a:endParaRPr lang="en-US"/>
        </a:p>
      </dgm:t>
    </dgm:pt>
    <dgm:pt modelId="{B3F9DC74-2E42-43F4-9305-70270CDD5EF5}" type="sibTrans" cxnId="{3D3A6C56-5FF9-4CC3-AC0D-3640A9B9FD03}">
      <dgm:prSet/>
      <dgm:spPr/>
      <dgm:t>
        <a:bodyPr/>
        <a:lstStyle/>
        <a:p>
          <a:endParaRPr lang="en-US"/>
        </a:p>
      </dgm:t>
    </dgm:pt>
    <dgm:pt modelId="{7A82478B-C93E-434D-903F-94742948C110}">
      <dgm:prSet phldrT="[Text]"/>
      <dgm:spPr/>
      <dgm:t>
        <a:bodyPr/>
        <a:lstStyle/>
        <a:p>
          <a:r>
            <a:rPr lang="en-GB" dirty="0"/>
            <a:t>Mar</a:t>
          </a:r>
          <a:endParaRPr lang="en-US" dirty="0"/>
        </a:p>
      </dgm:t>
    </dgm:pt>
    <dgm:pt modelId="{05FADE65-A256-4AD6-BD5B-21CE471421CB}" type="parTrans" cxnId="{2DB687E5-9267-4E0A-9134-F5B7F0CE4845}">
      <dgm:prSet/>
      <dgm:spPr/>
      <dgm:t>
        <a:bodyPr/>
        <a:lstStyle/>
        <a:p>
          <a:endParaRPr lang="en-US"/>
        </a:p>
      </dgm:t>
    </dgm:pt>
    <dgm:pt modelId="{44224F46-6A60-4FEB-B329-69DE265EF4BE}" type="sibTrans" cxnId="{2DB687E5-9267-4E0A-9134-F5B7F0CE4845}">
      <dgm:prSet/>
      <dgm:spPr/>
      <dgm:t>
        <a:bodyPr/>
        <a:lstStyle/>
        <a:p>
          <a:endParaRPr lang="en-US"/>
        </a:p>
      </dgm:t>
    </dgm:pt>
    <dgm:pt modelId="{E1E9949B-B06A-4AED-9795-33BB8F699762}">
      <dgm:prSet phldrT="[Text]"/>
      <dgm:spPr/>
      <dgm:t>
        <a:bodyPr/>
        <a:lstStyle/>
        <a:p>
          <a:r>
            <a:rPr lang="en-GB" dirty="0"/>
            <a:t>Apr</a:t>
          </a:r>
          <a:endParaRPr lang="en-US" dirty="0"/>
        </a:p>
      </dgm:t>
    </dgm:pt>
    <dgm:pt modelId="{9F18AC02-6D94-4227-8563-4A308DEA43F8}" type="parTrans" cxnId="{D66C27D4-7C9D-49AA-BB21-B2F0C5B7C74B}">
      <dgm:prSet/>
      <dgm:spPr/>
      <dgm:t>
        <a:bodyPr/>
        <a:lstStyle/>
        <a:p>
          <a:endParaRPr lang="en-US"/>
        </a:p>
      </dgm:t>
    </dgm:pt>
    <dgm:pt modelId="{F53372EA-B613-4642-941A-7318DB6ECA9E}" type="sibTrans" cxnId="{D66C27D4-7C9D-49AA-BB21-B2F0C5B7C74B}">
      <dgm:prSet/>
      <dgm:spPr/>
      <dgm:t>
        <a:bodyPr/>
        <a:lstStyle/>
        <a:p>
          <a:endParaRPr lang="en-US"/>
        </a:p>
      </dgm:t>
    </dgm:pt>
    <dgm:pt modelId="{C72B60BF-1371-4F16-BF50-A3B218A1FABF}">
      <dgm:prSet phldrT="[Text]"/>
      <dgm:spPr/>
      <dgm:t>
        <a:bodyPr/>
        <a:lstStyle/>
        <a:p>
          <a:r>
            <a:rPr lang="en-GB" dirty="0"/>
            <a:t>May</a:t>
          </a:r>
          <a:endParaRPr lang="en-US" dirty="0"/>
        </a:p>
      </dgm:t>
    </dgm:pt>
    <dgm:pt modelId="{FF8F2064-270A-4B8A-A3A9-AB5F4A6AE961}" type="parTrans" cxnId="{7F3AD371-E511-441E-8BB4-BDF3F14AD6D2}">
      <dgm:prSet/>
      <dgm:spPr/>
      <dgm:t>
        <a:bodyPr/>
        <a:lstStyle/>
        <a:p>
          <a:endParaRPr lang="en-US"/>
        </a:p>
      </dgm:t>
    </dgm:pt>
    <dgm:pt modelId="{77905D55-B1A7-48C9-ABD8-881BF704CACB}" type="sibTrans" cxnId="{7F3AD371-E511-441E-8BB4-BDF3F14AD6D2}">
      <dgm:prSet/>
      <dgm:spPr/>
      <dgm:t>
        <a:bodyPr/>
        <a:lstStyle/>
        <a:p>
          <a:endParaRPr lang="en-US"/>
        </a:p>
      </dgm:t>
    </dgm:pt>
    <dgm:pt modelId="{0780ACE0-B6EA-4A48-93E0-C3798F59F186}">
      <dgm:prSet phldrT="[Text]"/>
      <dgm:spPr/>
      <dgm:t>
        <a:bodyPr/>
        <a:lstStyle/>
        <a:p>
          <a:r>
            <a:rPr lang="en-GB" dirty="0"/>
            <a:t>Jun</a:t>
          </a:r>
          <a:endParaRPr lang="en-US" dirty="0"/>
        </a:p>
      </dgm:t>
    </dgm:pt>
    <dgm:pt modelId="{E727AA15-A991-455C-899A-E6DC4B2B148E}" type="parTrans" cxnId="{9F9B1CAA-18CE-4A1E-8309-1ADBB5D623AA}">
      <dgm:prSet/>
      <dgm:spPr/>
      <dgm:t>
        <a:bodyPr/>
        <a:lstStyle/>
        <a:p>
          <a:endParaRPr lang="en-US"/>
        </a:p>
      </dgm:t>
    </dgm:pt>
    <dgm:pt modelId="{987FDC9B-C908-4A27-AB18-8D3B5E131632}" type="sibTrans" cxnId="{9F9B1CAA-18CE-4A1E-8309-1ADBB5D623AA}">
      <dgm:prSet/>
      <dgm:spPr/>
      <dgm:t>
        <a:bodyPr/>
        <a:lstStyle/>
        <a:p>
          <a:endParaRPr lang="en-US"/>
        </a:p>
      </dgm:t>
    </dgm:pt>
    <dgm:pt modelId="{A1DC6EDF-AF0F-4C25-894E-49613B42889D}">
      <dgm:prSet phldrT="[Text]"/>
      <dgm:spPr/>
      <dgm:t>
        <a:bodyPr/>
        <a:lstStyle/>
        <a:p>
          <a:r>
            <a:rPr lang="en-GB" dirty="0"/>
            <a:t>Jul</a:t>
          </a:r>
          <a:endParaRPr lang="en-US" dirty="0"/>
        </a:p>
      </dgm:t>
    </dgm:pt>
    <dgm:pt modelId="{0808950C-1CE0-4A46-87F6-843C6666DA4F}" type="parTrans" cxnId="{4A1F759E-7342-4481-870C-AAC37390F44D}">
      <dgm:prSet/>
      <dgm:spPr/>
      <dgm:t>
        <a:bodyPr/>
        <a:lstStyle/>
        <a:p>
          <a:endParaRPr lang="en-US"/>
        </a:p>
      </dgm:t>
    </dgm:pt>
    <dgm:pt modelId="{AFB5C59D-FDA6-4E95-A0C8-F5C4F06B8A86}" type="sibTrans" cxnId="{4A1F759E-7342-4481-870C-AAC37390F44D}">
      <dgm:prSet/>
      <dgm:spPr/>
      <dgm:t>
        <a:bodyPr/>
        <a:lstStyle/>
        <a:p>
          <a:endParaRPr lang="en-US"/>
        </a:p>
      </dgm:t>
    </dgm:pt>
    <dgm:pt modelId="{10D97D4E-DFB9-454D-B07E-ABF8943DE704}">
      <dgm:prSet phldrT="[Text]"/>
      <dgm:spPr/>
      <dgm:t>
        <a:bodyPr/>
        <a:lstStyle/>
        <a:p>
          <a:r>
            <a:rPr lang="en-GB" dirty="0"/>
            <a:t>Aug</a:t>
          </a:r>
          <a:endParaRPr lang="en-US" dirty="0"/>
        </a:p>
      </dgm:t>
    </dgm:pt>
    <dgm:pt modelId="{03BCB303-0614-4FE2-BD63-7728BE4A55BF}" type="parTrans" cxnId="{AF57DCFF-035B-46E7-809B-22956A7E942F}">
      <dgm:prSet/>
      <dgm:spPr/>
      <dgm:t>
        <a:bodyPr/>
        <a:lstStyle/>
        <a:p>
          <a:endParaRPr lang="en-US"/>
        </a:p>
      </dgm:t>
    </dgm:pt>
    <dgm:pt modelId="{1505EF0F-D030-4C14-A584-5F40DDC2C3B7}" type="sibTrans" cxnId="{AF57DCFF-035B-46E7-809B-22956A7E942F}">
      <dgm:prSet/>
      <dgm:spPr/>
      <dgm:t>
        <a:bodyPr/>
        <a:lstStyle/>
        <a:p>
          <a:endParaRPr lang="en-US"/>
        </a:p>
      </dgm:t>
    </dgm:pt>
    <dgm:pt modelId="{37C8FA29-C580-415E-B6D1-0A09548AF897}" type="pres">
      <dgm:prSet presAssocID="{6D153427-945E-44B0-9D26-20BD19599D83}" presName="Name0" presStyleCnt="0">
        <dgm:presLayoutVars>
          <dgm:dir/>
          <dgm:animLvl val="lvl"/>
          <dgm:resizeHandles val="exact"/>
        </dgm:presLayoutVars>
      </dgm:prSet>
      <dgm:spPr/>
    </dgm:pt>
    <dgm:pt modelId="{CD3AD774-67EC-49E9-92C0-B0300EDDB0F4}" type="pres">
      <dgm:prSet presAssocID="{0DEF2BE3-BC33-486E-BBB3-25D35F6B90CD}" presName="parTxOnly" presStyleLbl="node1" presStyleIdx="0" presStyleCnt="12">
        <dgm:presLayoutVars>
          <dgm:chMax val="0"/>
          <dgm:chPref val="0"/>
          <dgm:bulletEnabled val="1"/>
        </dgm:presLayoutVars>
      </dgm:prSet>
      <dgm:spPr/>
    </dgm:pt>
    <dgm:pt modelId="{581B310B-8756-4B4B-AC4F-991091ECC637}" type="pres">
      <dgm:prSet presAssocID="{17A9F5B9-43FB-4248-ADDA-56D144FA1804}" presName="parTxOnlySpace" presStyleCnt="0"/>
      <dgm:spPr/>
    </dgm:pt>
    <dgm:pt modelId="{95E6D771-F3F6-453B-A2F8-F38BFE2BAE4F}" type="pres">
      <dgm:prSet presAssocID="{EBFFAE43-2F44-4F6E-92AA-4F1CA4356128}" presName="parTxOnly" presStyleLbl="node1" presStyleIdx="1" presStyleCnt="12">
        <dgm:presLayoutVars>
          <dgm:chMax val="0"/>
          <dgm:chPref val="0"/>
          <dgm:bulletEnabled val="1"/>
        </dgm:presLayoutVars>
      </dgm:prSet>
      <dgm:spPr/>
    </dgm:pt>
    <dgm:pt modelId="{742681FA-0BA6-4301-85E6-7C164CF5E858}" type="pres">
      <dgm:prSet presAssocID="{63DCA8BE-EC17-41C9-81D1-0B118E4C3F2C}" presName="parTxOnlySpace" presStyleCnt="0"/>
      <dgm:spPr/>
    </dgm:pt>
    <dgm:pt modelId="{D4F8A92A-7CEE-4B86-A304-46195BD686B7}" type="pres">
      <dgm:prSet presAssocID="{3577270C-1242-46FA-992D-D78BD15150A1}" presName="parTxOnly" presStyleLbl="node1" presStyleIdx="2" presStyleCnt="12">
        <dgm:presLayoutVars>
          <dgm:chMax val="0"/>
          <dgm:chPref val="0"/>
          <dgm:bulletEnabled val="1"/>
        </dgm:presLayoutVars>
      </dgm:prSet>
      <dgm:spPr/>
    </dgm:pt>
    <dgm:pt modelId="{24483526-2587-4816-A149-4A2E203B8FF8}" type="pres">
      <dgm:prSet presAssocID="{31C7DF88-63E1-4732-8BAD-21C2B4D9052A}" presName="parTxOnlySpace" presStyleCnt="0"/>
      <dgm:spPr/>
    </dgm:pt>
    <dgm:pt modelId="{39247C8B-1D02-497F-BE4A-B7D5A9882E22}" type="pres">
      <dgm:prSet presAssocID="{3E17EA54-C97B-4FA0-B8A1-43DF3AFCD609}" presName="parTxOnly" presStyleLbl="node1" presStyleIdx="3" presStyleCnt="12">
        <dgm:presLayoutVars>
          <dgm:chMax val="0"/>
          <dgm:chPref val="0"/>
          <dgm:bulletEnabled val="1"/>
        </dgm:presLayoutVars>
      </dgm:prSet>
      <dgm:spPr/>
    </dgm:pt>
    <dgm:pt modelId="{A2658BE1-E42E-418D-8587-753D6C16F57B}" type="pres">
      <dgm:prSet presAssocID="{0C8582B3-11CE-47EB-B6A5-A7D8C734DDDF}" presName="parTxOnlySpace" presStyleCnt="0"/>
      <dgm:spPr/>
    </dgm:pt>
    <dgm:pt modelId="{989E96BD-2EDE-49C5-AE42-1CBDF91C6380}" type="pres">
      <dgm:prSet presAssocID="{87AFB062-426E-4322-B1E6-33A1C15BE5EB}" presName="parTxOnly" presStyleLbl="node1" presStyleIdx="4" presStyleCnt="12">
        <dgm:presLayoutVars>
          <dgm:chMax val="0"/>
          <dgm:chPref val="0"/>
          <dgm:bulletEnabled val="1"/>
        </dgm:presLayoutVars>
      </dgm:prSet>
      <dgm:spPr/>
    </dgm:pt>
    <dgm:pt modelId="{F4B21A1B-DF63-4D55-AD6C-53B50F48ECE2}" type="pres">
      <dgm:prSet presAssocID="{AF24571F-B9C1-4AF2-9F7E-9FFCDAF47067}" presName="parTxOnlySpace" presStyleCnt="0"/>
      <dgm:spPr/>
    </dgm:pt>
    <dgm:pt modelId="{72E5FD1A-6C37-49A3-B7FF-59C5FE6BCC78}" type="pres">
      <dgm:prSet presAssocID="{F5E9B4BE-D1AD-4F77-8B9D-F0612A1C73A7}" presName="parTxOnly" presStyleLbl="node1" presStyleIdx="5" presStyleCnt="12">
        <dgm:presLayoutVars>
          <dgm:chMax val="0"/>
          <dgm:chPref val="0"/>
          <dgm:bulletEnabled val="1"/>
        </dgm:presLayoutVars>
      </dgm:prSet>
      <dgm:spPr/>
    </dgm:pt>
    <dgm:pt modelId="{BD14ACE3-D556-475D-A6A6-F6DEFFF09005}" type="pres">
      <dgm:prSet presAssocID="{B3F9DC74-2E42-43F4-9305-70270CDD5EF5}" presName="parTxOnlySpace" presStyleCnt="0"/>
      <dgm:spPr/>
    </dgm:pt>
    <dgm:pt modelId="{806DEDC0-F7DE-4DD9-83AF-F3203EB86BF6}" type="pres">
      <dgm:prSet presAssocID="{7A82478B-C93E-434D-903F-94742948C110}" presName="parTxOnly" presStyleLbl="node1" presStyleIdx="6" presStyleCnt="12">
        <dgm:presLayoutVars>
          <dgm:chMax val="0"/>
          <dgm:chPref val="0"/>
          <dgm:bulletEnabled val="1"/>
        </dgm:presLayoutVars>
      </dgm:prSet>
      <dgm:spPr/>
    </dgm:pt>
    <dgm:pt modelId="{6E01F7C3-01F3-4908-86BA-1E7155A68DA7}" type="pres">
      <dgm:prSet presAssocID="{44224F46-6A60-4FEB-B329-69DE265EF4BE}" presName="parTxOnlySpace" presStyleCnt="0"/>
      <dgm:spPr/>
    </dgm:pt>
    <dgm:pt modelId="{7266B989-C7CB-4BEF-BB11-FDA7E8B01607}" type="pres">
      <dgm:prSet presAssocID="{E1E9949B-B06A-4AED-9795-33BB8F699762}" presName="parTxOnly" presStyleLbl="node1" presStyleIdx="7" presStyleCnt="12">
        <dgm:presLayoutVars>
          <dgm:chMax val="0"/>
          <dgm:chPref val="0"/>
          <dgm:bulletEnabled val="1"/>
        </dgm:presLayoutVars>
      </dgm:prSet>
      <dgm:spPr/>
    </dgm:pt>
    <dgm:pt modelId="{ED4C81CD-A350-4BD3-A120-17AA747B408D}" type="pres">
      <dgm:prSet presAssocID="{F53372EA-B613-4642-941A-7318DB6ECA9E}" presName="parTxOnlySpace" presStyleCnt="0"/>
      <dgm:spPr/>
    </dgm:pt>
    <dgm:pt modelId="{1EE8F8F1-40E5-481A-A740-24DA625336FE}" type="pres">
      <dgm:prSet presAssocID="{C72B60BF-1371-4F16-BF50-A3B218A1FABF}" presName="parTxOnly" presStyleLbl="node1" presStyleIdx="8" presStyleCnt="12">
        <dgm:presLayoutVars>
          <dgm:chMax val="0"/>
          <dgm:chPref val="0"/>
          <dgm:bulletEnabled val="1"/>
        </dgm:presLayoutVars>
      </dgm:prSet>
      <dgm:spPr/>
    </dgm:pt>
    <dgm:pt modelId="{76947714-AB46-44DE-9C80-A1BBE23D9E61}" type="pres">
      <dgm:prSet presAssocID="{77905D55-B1A7-48C9-ABD8-881BF704CACB}" presName="parTxOnlySpace" presStyleCnt="0"/>
      <dgm:spPr/>
    </dgm:pt>
    <dgm:pt modelId="{44B1D093-2777-447D-8401-CBA9EA5CBCDC}" type="pres">
      <dgm:prSet presAssocID="{0780ACE0-B6EA-4A48-93E0-C3798F59F186}" presName="parTxOnly" presStyleLbl="node1" presStyleIdx="9" presStyleCnt="12">
        <dgm:presLayoutVars>
          <dgm:chMax val="0"/>
          <dgm:chPref val="0"/>
          <dgm:bulletEnabled val="1"/>
        </dgm:presLayoutVars>
      </dgm:prSet>
      <dgm:spPr/>
    </dgm:pt>
    <dgm:pt modelId="{2A1EAD7B-BFDF-4872-9A2D-6A9744A36504}" type="pres">
      <dgm:prSet presAssocID="{987FDC9B-C908-4A27-AB18-8D3B5E131632}" presName="parTxOnlySpace" presStyleCnt="0"/>
      <dgm:spPr/>
    </dgm:pt>
    <dgm:pt modelId="{3C374F6C-86D0-48E2-8B28-69DD3B043815}" type="pres">
      <dgm:prSet presAssocID="{A1DC6EDF-AF0F-4C25-894E-49613B42889D}" presName="parTxOnly" presStyleLbl="node1" presStyleIdx="10" presStyleCnt="12">
        <dgm:presLayoutVars>
          <dgm:chMax val="0"/>
          <dgm:chPref val="0"/>
          <dgm:bulletEnabled val="1"/>
        </dgm:presLayoutVars>
      </dgm:prSet>
      <dgm:spPr/>
    </dgm:pt>
    <dgm:pt modelId="{4F2F2BA0-4437-4798-BF9C-91A37EAD2E6D}" type="pres">
      <dgm:prSet presAssocID="{AFB5C59D-FDA6-4E95-A0C8-F5C4F06B8A86}" presName="parTxOnlySpace" presStyleCnt="0"/>
      <dgm:spPr/>
    </dgm:pt>
    <dgm:pt modelId="{D229DD65-A7C7-42C3-9C70-DA80AB470861}" type="pres">
      <dgm:prSet presAssocID="{10D97D4E-DFB9-454D-B07E-ABF8943DE704}" presName="parTxOnly" presStyleLbl="node1" presStyleIdx="11" presStyleCnt="12">
        <dgm:presLayoutVars>
          <dgm:chMax val="0"/>
          <dgm:chPref val="0"/>
          <dgm:bulletEnabled val="1"/>
        </dgm:presLayoutVars>
      </dgm:prSet>
      <dgm:spPr/>
    </dgm:pt>
  </dgm:ptLst>
  <dgm:cxnLst>
    <dgm:cxn modelId="{8943410A-8862-4C34-8B3C-1493AA797BA2}" type="presOf" srcId="{6D153427-945E-44B0-9D26-20BD19599D83}" destId="{37C8FA29-C580-415E-B6D1-0A09548AF897}" srcOrd="0" destOrd="0" presId="urn:microsoft.com/office/officeart/2005/8/layout/chevron1"/>
    <dgm:cxn modelId="{1387EA1E-428C-4988-BDA0-80F5D432EED9}" type="presOf" srcId="{3577270C-1242-46FA-992D-D78BD15150A1}" destId="{D4F8A92A-7CEE-4B86-A304-46195BD686B7}" srcOrd="0" destOrd="0" presId="urn:microsoft.com/office/officeart/2005/8/layout/chevron1"/>
    <dgm:cxn modelId="{28D8642A-6B4B-4CE1-8808-BD2B15ED6283}" type="presOf" srcId="{C72B60BF-1371-4F16-BF50-A3B218A1FABF}" destId="{1EE8F8F1-40E5-481A-A740-24DA625336FE}" srcOrd="0" destOrd="0" presId="urn:microsoft.com/office/officeart/2005/8/layout/chevron1"/>
    <dgm:cxn modelId="{0A678A48-265C-4D9E-BA65-50881EED21DC}" type="presOf" srcId="{F5E9B4BE-D1AD-4F77-8B9D-F0612A1C73A7}" destId="{72E5FD1A-6C37-49A3-B7FF-59C5FE6BCC78}" srcOrd="0" destOrd="0" presId="urn:microsoft.com/office/officeart/2005/8/layout/chevron1"/>
    <dgm:cxn modelId="{E50D774B-CEF3-4E07-9DF5-D4705A63FEB4}" type="presOf" srcId="{3E17EA54-C97B-4FA0-B8A1-43DF3AFCD609}" destId="{39247C8B-1D02-497F-BE4A-B7D5A9882E22}" srcOrd="0" destOrd="0" presId="urn:microsoft.com/office/officeart/2005/8/layout/chevron1"/>
    <dgm:cxn modelId="{FD446C6D-F8B5-47BE-B1C9-4C5C142E8D66}" type="presOf" srcId="{10D97D4E-DFB9-454D-B07E-ABF8943DE704}" destId="{D229DD65-A7C7-42C3-9C70-DA80AB470861}" srcOrd="0" destOrd="0" presId="urn:microsoft.com/office/officeart/2005/8/layout/chevron1"/>
    <dgm:cxn modelId="{4747564D-1205-4117-89A5-637596FE043E}" srcId="{6D153427-945E-44B0-9D26-20BD19599D83}" destId="{87AFB062-426E-4322-B1E6-33A1C15BE5EB}" srcOrd="4" destOrd="0" parTransId="{BE4BC7EC-6D23-4CC4-8528-9F613D0CD982}" sibTransId="{AF24571F-B9C1-4AF2-9F7E-9FFCDAF47067}"/>
    <dgm:cxn modelId="{BB829C4E-48B3-463B-8E39-FEF76842F360}" type="presOf" srcId="{7A82478B-C93E-434D-903F-94742948C110}" destId="{806DEDC0-F7DE-4DD9-83AF-F3203EB86BF6}" srcOrd="0" destOrd="0" presId="urn:microsoft.com/office/officeart/2005/8/layout/chevron1"/>
    <dgm:cxn modelId="{7F3AD371-E511-441E-8BB4-BDF3F14AD6D2}" srcId="{6D153427-945E-44B0-9D26-20BD19599D83}" destId="{C72B60BF-1371-4F16-BF50-A3B218A1FABF}" srcOrd="8" destOrd="0" parTransId="{FF8F2064-270A-4B8A-A3A9-AB5F4A6AE961}" sibTransId="{77905D55-B1A7-48C9-ABD8-881BF704CACB}"/>
    <dgm:cxn modelId="{A0436055-B81C-4AB3-85A4-9482272F1DE6}" srcId="{6D153427-945E-44B0-9D26-20BD19599D83}" destId="{0DEF2BE3-BC33-486E-BBB3-25D35F6B90CD}" srcOrd="0" destOrd="0" parTransId="{24991ECA-502E-4FBF-97AA-8A22297F9518}" sibTransId="{17A9F5B9-43FB-4248-ADDA-56D144FA1804}"/>
    <dgm:cxn modelId="{3D3A6C56-5FF9-4CC3-AC0D-3640A9B9FD03}" srcId="{6D153427-945E-44B0-9D26-20BD19599D83}" destId="{F5E9B4BE-D1AD-4F77-8B9D-F0612A1C73A7}" srcOrd="5" destOrd="0" parTransId="{EBF6AB99-F560-41E7-8D00-A0C69285C8CA}" sibTransId="{B3F9DC74-2E42-43F4-9305-70270CDD5EF5}"/>
    <dgm:cxn modelId="{1955EF77-2096-49F6-9AA2-88C7F7E53190}" type="presOf" srcId="{87AFB062-426E-4322-B1E6-33A1C15BE5EB}" destId="{989E96BD-2EDE-49C5-AE42-1CBDF91C6380}" srcOrd="0" destOrd="0" presId="urn:microsoft.com/office/officeart/2005/8/layout/chevron1"/>
    <dgm:cxn modelId="{AF184185-F48F-4B34-A02D-76CFD32B40BF}" type="presOf" srcId="{EBFFAE43-2F44-4F6E-92AA-4F1CA4356128}" destId="{95E6D771-F3F6-453B-A2F8-F38BFE2BAE4F}" srcOrd="0" destOrd="0" presId="urn:microsoft.com/office/officeart/2005/8/layout/chevron1"/>
    <dgm:cxn modelId="{4A1F759E-7342-4481-870C-AAC37390F44D}" srcId="{6D153427-945E-44B0-9D26-20BD19599D83}" destId="{A1DC6EDF-AF0F-4C25-894E-49613B42889D}" srcOrd="10" destOrd="0" parTransId="{0808950C-1CE0-4A46-87F6-843C6666DA4F}" sibTransId="{AFB5C59D-FDA6-4E95-A0C8-F5C4F06B8A86}"/>
    <dgm:cxn modelId="{9F9B1CAA-18CE-4A1E-8309-1ADBB5D623AA}" srcId="{6D153427-945E-44B0-9D26-20BD19599D83}" destId="{0780ACE0-B6EA-4A48-93E0-C3798F59F186}" srcOrd="9" destOrd="0" parTransId="{E727AA15-A991-455C-899A-E6DC4B2B148E}" sibTransId="{987FDC9B-C908-4A27-AB18-8D3B5E131632}"/>
    <dgm:cxn modelId="{3F24BABB-A7C2-4E59-8CB5-B75695E3E12B}" srcId="{6D153427-945E-44B0-9D26-20BD19599D83}" destId="{EBFFAE43-2F44-4F6E-92AA-4F1CA4356128}" srcOrd="1" destOrd="0" parTransId="{44F55F00-CE10-4E79-ABB1-84A977DEBB2C}" sibTransId="{63DCA8BE-EC17-41C9-81D1-0B118E4C3F2C}"/>
    <dgm:cxn modelId="{6E532EC3-23DF-4DEA-AE9D-E75119AA6DE3}" type="presOf" srcId="{0780ACE0-B6EA-4A48-93E0-C3798F59F186}" destId="{44B1D093-2777-447D-8401-CBA9EA5CBCDC}" srcOrd="0" destOrd="0" presId="urn:microsoft.com/office/officeart/2005/8/layout/chevron1"/>
    <dgm:cxn modelId="{2D7759D3-813A-48FC-8983-2BAF3300D9FB}" type="presOf" srcId="{E1E9949B-B06A-4AED-9795-33BB8F699762}" destId="{7266B989-C7CB-4BEF-BB11-FDA7E8B01607}" srcOrd="0" destOrd="0" presId="urn:microsoft.com/office/officeart/2005/8/layout/chevron1"/>
    <dgm:cxn modelId="{D66C27D4-7C9D-49AA-BB21-B2F0C5B7C74B}" srcId="{6D153427-945E-44B0-9D26-20BD19599D83}" destId="{E1E9949B-B06A-4AED-9795-33BB8F699762}" srcOrd="7" destOrd="0" parTransId="{9F18AC02-6D94-4227-8563-4A308DEA43F8}" sibTransId="{F53372EA-B613-4642-941A-7318DB6ECA9E}"/>
    <dgm:cxn modelId="{49A6A7D7-625B-4E90-AAD1-F650DF26022E}" srcId="{6D153427-945E-44B0-9D26-20BD19599D83}" destId="{3577270C-1242-46FA-992D-D78BD15150A1}" srcOrd="2" destOrd="0" parTransId="{7F8EFB3B-3602-430A-B8FA-50CD78EB2E16}" sibTransId="{31C7DF88-63E1-4732-8BAD-21C2B4D9052A}"/>
    <dgm:cxn modelId="{9E244CE3-8C74-4BFD-B6F7-B19745F08CC3}" type="presOf" srcId="{A1DC6EDF-AF0F-4C25-894E-49613B42889D}" destId="{3C374F6C-86D0-48E2-8B28-69DD3B043815}" srcOrd="0" destOrd="0" presId="urn:microsoft.com/office/officeart/2005/8/layout/chevron1"/>
    <dgm:cxn modelId="{2DB687E5-9267-4E0A-9134-F5B7F0CE4845}" srcId="{6D153427-945E-44B0-9D26-20BD19599D83}" destId="{7A82478B-C93E-434D-903F-94742948C110}" srcOrd="6" destOrd="0" parTransId="{05FADE65-A256-4AD6-BD5B-21CE471421CB}" sibTransId="{44224F46-6A60-4FEB-B329-69DE265EF4BE}"/>
    <dgm:cxn modelId="{42220DF6-A4B6-4C21-9157-6606698061EB}" type="presOf" srcId="{0DEF2BE3-BC33-486E-BBB3-25D35F6B90CD}" destId="{CD3AD774-67EC-49E9-92C0-B0300EDDB0F4}" srcOrd="0" destOrd="0" presId="urn:microsoft.com/office/officeart/2005/8/layout/chevron1"/>
    <dgm:cxn modelId="{2CE341FB-ED5A-4674-98B7-546592C062C2}" srcId="{6D153427-945E-44B0-9D26-20BD19599D83}" destId="{3E17EA54-C97B-4FA0-B8A1-43DF3AFCD609}" srcOrd="3" destOrd="0" parTransId="{A154B62D-4579-45FB-87F3-B184318F9FE7}" sibTransId="{0C8582B3-11CE-47EB-B6A5-A7D8C734DDDF}"/>
    <dgm:cxn modelId="{AF57DCFF-035B-46E7-809B-22956A7E942F}" srcId="{6D153427-945E-44B0-9D26-20BD19599D83}" destId="{10D97D4E-DFB9-454D-B07E-ABF8943DE704}" srcOrd="11" destOrd="0" parTransId="{03BCB303-0614-4FE2-BD63-7728BE4A55BF}" sibTransId="{1505EF0F-D030-4C14-A584-5F40DDC2C3B7}"/>
    <dgm:cxn modelId="{2B9A45BF-563C-4835-A3BF-331D9F325C0E}" type="presParOf" srcId="{37C8FA29-C580-415E-B6D1-0A09548AF897}" destId="{CD3AD774-67EC-49E9-92C0-B0300EDDB0F4}" srcOrd="0" destOrd="0" presId="urn:microsoft.com/office/officeart/2005/8/layout/chevron1"/>
    <dgm:cxn modelId="{000771A1-D831-402A-AA8E-5903781E58A6}" type="presParOf" srcId="{37C8FA29-C580-415E-B6D1-0A09548AF897}" destId="{581B310B-8756-4B4B-AC4F-991091ECC637}" srcOrd="1" destOrd="0" presId="urn:microsoft.com/office/officeart/2005/8/layout/chevron1"/>
    <dgm:cxn modelId="{467E8D94-963C-4D09-AB08-021616C20278}" type="presParOf" srcId="{37C8FA29-C580-415E-B6D1-0A09548AF897}" destId="{95E6D771-F3F6-453B-A2F8-F38BFE2BAE4F}" srcOrd="2" destOrd="0" presId="urn:microsoft.com/office/officeart/2005/8/layout/chevron1"/>
    <dgm:cxn modelId="{9BD8E8DE-AE64-418F-BCBC-5144474CB917}" type="presParOf" srcId="{37C8FA29-C580-415E-B6D1-0A09548AF897}" destId="{742681FA-0BA6-4301-85E6-7C164CF5E858}" srcOrd="3" destOrd="0" presId="urn:microsoft.com/office/officeart/2005/8/layout/chevron1"/>
    <dgm:cxn modelId="{24AFE3D3-CEEA-42BC-868D-A749125F457E}" type="presParOf" srcId="{37C8FA29-C580-415E-B6D1-0A09548AF897}" destId="{D4F8A92A-7CEE-4B86-A304-46195BD686B7}" srcOrd="4" destOrd="0" presId="urn:microsoft.com/office/officeart/2005/8/layout/chevron1"/>
    <dgm:cxn modelId="{AF9F5E9A-A70A-4EFF-9FA6-0C24078E96DB}" type="presParOf" srcId="{37C8FA29-C580-415E-B6D1-0A09548AF897}" destId="{24483526-2587-4816-A149-4A2E203B8FF8}" srcOrd="5" destOrd="0" presId="urn:microsoft.com/office/officeart/2005/8/layout/chevron1"/>
    <dgm:cxn modelId="{B0D0988B-BEF0-4F9E-9579-169E7BFF0E72}" type="presParOf" srcId="{37C8FA29-C580-415E-B6D1-0A09548AF897}" destId="{39247C8B-1D02-497F-BE4A-B7D5A9882E22}" srcOrd="6" destOrd="0" presId="urn:microsoft.com/office/officeart/2005/8/layout/chevron1"/>
    <dgm:cxn modelId="{20ED2C56-B05B-4008-BD2A-E22572117C5E}" type="presParOf" srcId="{37C8FA29-C580-415E-B6D1-0A09548AF897}" destId="{A2658BE1-E42E-418D-8587-753D6C16F57B}" srcOrd="7" destOrd="0" presId="urn:microsoft.com/office/officeart/2005/8/layout/chevron1"/>
    <dgm:cxn modelId="{D338D4C0-57F9-42BA-8E2B-C758D723B4B0}" type="presParOf" srcId="{37C8FA29-C580-415E-B6D1-0A09548AF897}" destId="{989E96BD-2EDE-49C5-AE42-1CBDF91C6380}" srcOrd="8" destOrd="0" presId="urn:microsoft.com/office/officeart/2005/8/layout/chevron1"/>
    <dgm:cxn modelId="{245F10C7-9F1D-475F-A770-DFD1F868EFED}" type="presParOf" srcId="{37C8FA29-C580-415E-B6D1-0A09548AF897}" destId="{F4B21A1B-DF63-4D55-AD6C-53B50F48ECE2}" srcOrd="9" destOrd="0" presId="urn:microsoft.com/office/officeart/2005/8/layout/chevron1"/>
    <dgm:cxn modelId="{489D0B9D-DB4C-4BA9-A85B-E26C38504F52}" type="presParOf" srcId="{37C8FA29-C580-415E-B6D1-0A09548AF897}" destId="{72E5FD1A-6C37-49A3-B7FF-59C5FE6BCC78}" srcOrd="10" destOrd="0" presId="urn:microsoft.com/office/officeart/2005/8/layout/chevron1"/>
    <dgm:cxn modelId="{8BAB1924-B6C4-4622-8310-3C259D5A1C00}" type="presParOf" srcId="{37C8FA29-C580-415E-B6D1-0A09548AF897}" destId="{BD14ACE3-D556-475D-A6A6-F6DEFFF09005}" srcOrd="11" destOrd="0" presId="urn:microsoft.com/office/officeart/2005/8/layout/chevron1"/>
    <dgm:cxn modelId="{F570E108-AA53-4CC3-8860-607BD22B7EA3}" type="presParOf" srcId="{37C8FA29-C580-415E-B6D1-0A09548AF897}" destId="{806DEDC0-F7DE-4DD9-83AF-F3203EB86BF6}" srcOrd="12" destOrd="0" presId="urn:microsoft.com/office/officeart/2005/8/layout/chevron1"/>
    <dgm:cxn modelId="{372E2EC4-464B-4D3A-A6E6-BFD32D926832}" type="presParOf" srcId="{37C8FA29-C580-415E-B6D1-0A09548AF897}" destId="{6E01F7C3-01F3-4908-86BA-1E7155A68DA7}" srcOrd="13" destOrd="0" presId="urn:microsoft.com/office/officeart/2005/8/layout/chevron1"/>
    <dgm:cxn modelId="{2746C716-1072-4B20-A8A3-24B53AC9F5D7}" type="presParOf" srcId="{37C8FA29-C580-415E-B6D1-0A09548AF897}" destId="{7266B989-C7CB-4BEF-BB11-FDA7E8B01607}" srcOrd="14" destOrd="0" presId="urn:microsoft.com/office/officeart/2005/8/layout/chevron1"/>
    <dgm:cxn modelId="{496EC31C-DF10-4909-A31D-73B56E7EBAEB}" type="presParOf" srcId="{37C8FA29-C580-415E-B6D1-0A09548AF897}" destId="{ED4C81CD-A350-4BD3-A120-17AA747B408D}" srcOrd="15" destOrd="0" presId="urn:microsoft.com/office/officeart/2005/8/layout/chevron1"/>
    <dgm:cxn modelId="{AE18C88F-F19D-44FC-88CD-AF5596E74FA1}" type="presParOf" srcId="{37C8FA29-C580-415E-B6D1-0A09548AF897}" destId="{1EE8F8F1-40E5-481A-A740-24DA625336FE}" srcOrd="16" destOrd="0" presId="urn:microsoft.com/office/officeart/2005/8/layout/chevron1"/>
    <dgm:cxn modelId="{72A5272A-FDFE-484F-8C7C-A3271324730A}" type="presParOf" srcId="{37C8FA29-C580-415E-B6D1-0A09548AF897}" destId="{76947714-AB46-44DE-9C80-A1BBE23D9E61}" srcOrd="17" destOrd="0" presId="urn:microsoft.com/office/officeart/2005/8/layout/chevron1"/>
    <dgm:cxn modelId="{3B5B46D6-7849-41E4-9742-DA8828A2D490}" type="presParOf" srcId="{37C8FA29-C580-415E-B6D1-0A09548AF897}" destId="{44B1D093-2777-447D-8401-CBA9EA5CBCDC}" srcOrd="18" destOrd="0" presId="urn:microsoft.com/office/officeart/2005/8/layout/chevron1"/>
    <dgm:cxn modelId="{8122880A-FA43-40A8-87E8-2F360B88F71E}" type="presParOf" srcId="{37C8FA29-C580-415E-B6D1-0A09548AF897}" destId="{2A1EAD7B-BFDF-4872-9A2D-6A9744A36504}" srcOrd="19" destOrd="0" presId="urn:microsoft.com/office/officeart/2005/8/layout/chevron1"/>
    <dgm:cxn modelId="{7F85B3D4-DA75-4BBB-BA7F-E415ECE711BA}" type="presParOf" srcId="{37C8FA29-C580-415E-B6D1-0A09548AF897}" destId="{3C374F6C-86D0-48E2-8B28-69DD3B043815}" srcOrd="20" destOrd="0" presId="urn:microsoft.com/office/officeart/2005/8/layout/chevron1"/>
    <dgm:cxn modelId="{C7E66C53-330B-4217-ACEA-7C5701D9CF23}" type="presParOf" srcId="{37C8FA29-C580-415E-B6D1-0A09548AF897}" destId="{4F2F2BA0-4437-4798-BF9C-91A37EAD2E6D}" srcOrd="21" destOrd="0" presId="urn:microsoft.com/office/officeart/2005/8/layout/chevron1"/>
    <dgm:cxn modelId="{B828D9A2-D1FD-40FC-B160-DAFB8BD7C013}" type="presParOf" srcId="{37C8FA29-C580-415E-B6D1-0A09548AF897}" destId="{D229DD65-A7C7-42C3-9C70-DA80AB470861}" srcOrd="22"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6252F68-AC8E-45D8-9081-5F6AE7BA2A96}"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en-US"/>
        </a:p>
      </dgm:t>
    </dgm:pt>
    <dgm:pt modelId="{FA8A5F82-D5D0-4122-9A61-E7785D52B75C}">
      <dgm:prSet phldrT="[Text]"/>
      <dgm:spPr/>
      <dgm:t>
        <a:bodyPr/>
        <a:lstStyle/>
        <a:p>
          <a:r>
            <a:rPr lang="en-US" dirty="0"/>
            <a:t>Step 1</a:t>
          </a:r>
        </a:p>
      </dgm:t>
    </dgm:pt>
    <dgm:pt modelId="{30805F2B-87F0-4EB6-9DE1-57935045FC31}" type="parTrans" cxnId="{C09C3292-BEA4-46DF-8FCA-5EF22D3CAD91}">
      <dgm:prSet/>
      <dgm:spPr/>
      <dgm:t>
        <a:bodyPr/>
        <a:lstStyle/>
        <a:p>
          <a:endParaRPr lang="en-US"/>
        </a:p>
      </dgm:t>
    </dgm:pt>
    <dgm:pt modelId="{00D5BC1D-FF4E-4D6B-A261-BE49424AE3F6}" type="sibTrans" cxnId="{C09C3292-BEA4-46DF-8FCA-5EF22D3CAD91}">
      <dgm:prSet/>
      <dgm:spPr/>
      <dgm:t>
        <a:bodyPr/>
        <a:lstStyle/>
        <a:p>
          <a:endParaRPr lang="en-US"/>
        </a:p>
      </dgm:t>
    </dgm:pt>
    <dgm:pt modelId="{D9A37323-29DF-48BB-9A4D-388067C18DDF}">
      <dgm:prSet phldrT="[Text]"/>
      <dgm:spPr/>
      <dgm:t>
        <a:bodyPr/>
        <a:lstStyle/>
        <a:p>
          <a:r>
            <a:rPr lang="en-GB" dirty="0">
              <a:solidFill>
                <a:schemeClr val="tx2"/>
              </a:solidFill>
            </a:rPr>
            <a:t>Identified open-access articles with an accompanying PLS published in Adis journals between January 2018 and March 2021 (n=50)</a:t>
          </a:r>
          <a:endParaRPr lang="en-US" dirty="0"/>
        </a:p>
      </dgm:t>
    </dgm:pt>
    <dgm:pt modelId="{9C579809-6539-4CD7-BECF-F8FD6F7619FB}" type="parTrans" cxnId="{7F11AB39-3205-4F43-8FB6-A4673A2C7D5F}">
      <dgm:prSet/>
      <dgm:spPr/>
      <dgm:t>
        <a:bodyPr/>
        <a:lstStyle/>
        <a:p>
          <a:endParaRPr lang="en-US"/>
        </a:p>
      </dgm:t>
    </dgm:pt>
    <dgm:pt modelId="{BCE14FF9-655E-4B4A-A988-FA4053608222}" type="sibTrans" cxnId="{7F11AB39-3205-4F43-8FB6-A4673A2C7D5F}">
      <dgm:prSet/>
      <dgm:spPr/>
      <dgm:t>
        <a:bodyPr/>
        <a:lstStyle/>
        <a:p>
          <a:endParaRPr lang="en-US"/>
        </a:p>
      </dgm:t>
    </dgm:pt>
    <dgm:pt modelId="{B9AFD281-D2F5-48D5-A706-AE9D647D6A15}">
      <dgm:prSet phldrT="[Text]"/>
      <dgm:spPr/>
      <dgm:t>
        <a:bodyPr/>
        <a:lstStyle/>
        <a:p>
          <a:r>
            <a:rPr lang="en-US" dirty="0"/>
            <a:t>Step 2</a:t>
          </a:r>
        </a:p>
      </dgm:t>
    </dgm:pt>
    <dgm:pt modelId="{43AC52B4-E0A3-491D-9FD8-A8BAB136C154}" type="parTrans" cxnId="{85DE1E95-967D-4FB7-8A02-7281230E4294}">
      <dgm:prSet/>
      <dgm:spPr/>
      <dgm:t>
        <a:bodyPr/>
        <a:lstStyle/>
        <a:p>
          <a:endParaRPr lang="en-US"/>
        </a:p>
      </dgm:t>
    </dgm:pt>
    <dgm:pt modelId="{85AEAA54-BA6E-49B0-A29F-FE825C934C48}" type="sibTrans" cxnId="{85DE1E95-967D-4FB7-8A02-7281230E4294}">
      <dgm:prSet/>
      <dgm:spPr/>
      <dgm:t>
        <a:bodyPr/>
        <a:lstStyle/>
        <a:p>
          <a:endParaRPr lang="en-US"/>
        </a:p>
      </dgm:t>
    </dgm:pt>
    <dgm:pt modelId="{56641008-EAF2-4EB8-8173-8C348EC18A44}">
      <dgm:prSet phldrT="[Text]"/>
      <dgm:spPr/>
      <dgm:t>
        <a:bodyPr/>
        <a:lstStyle/>
        <a:p>
          <a:r>
            <a:rPr lang="en-GB" dirty="0">
              <a:solidFill>
                <a:schemeClr val="tx2"/>
              </a:solidFill>
            </a:rPr>
            <a:t>Compared each with a similar open-access article published </a:t>
          </a:r>
          <a:r>
            <a:rPr lang="en-GB" i="1" dirty="0">
              <a:solidFill>
                <a:schemeClr val="tx2"/>
              </a:solidFill>
            </a:rPr>
            <a:t>without</a:t>
          </a:r>
          <a:r>
            <a:rPr lang="en-GB" dirty="0">
              <a:solidFill>
                <a:schemeClr val="tx2"/>
              </a:solidFill>
            </a:rPr>
            <a:t> PLS </a:t>
          </a:r>
          <a:endParaRPr lang="en-US" dirty="0"/>
        </a:p>
      </dgm:t>
    </dgm:pt>
    <dgm:pt modelId="{9103F842-FCFC-4CCF-84E3-EB8EE77D33F2}" type="parTrans" cxnId="{50492B47-AD9F-4867-B0CD-41175DCE9747}">
      <dgm:prSet/>
      <dgm:spPr/>
      <dgm:t>
        <a:bodyPr/>
        <a:lstStyle/>
        <a:p>
          <a:endParaRPr lang="en-US"/>
        </a:p>
      </dgm:t>
    </dgm:pt>
    <dgm:pt modelId="{E61B6ABD-FF65-4F17-974B-9E9C04510B17}" type="sibTrans" cxnId="{50492B47-AD9F-4867-B0CD-41175DCE9747}">
      <dgm:prSet/>
      <dgm:spPr/>
      <dgm:t>
        <a:bodyPr/>
        <a:lstStyle/>
        <a:p>
          <a:endParaRPr lang="en-US"/>
        </a:p>
      </dgm:t>
    </dgm:pt>
    <dgm:pt modelId="{74BEBB65-BA49-438B-882A-87C6C78D5B39}">
      <dgm:prSet phldrT="[Text]"/>
      <dgm:spPr/>
      <dgm:t>
        <a:bodyPr/>
        <a:lstStyle/>
        <a:p>
          <a:r>
            <a:rPr lang="en-US" dirty="0"/>
            <a:t>Step 3</a:t>
          </a:r>
        </a:p>
      </dgm:t>
    </dgm:pt>
    <dgm:pt modelId="{D6019931-D15B-4EA1-A067-A08517ED58C8}" type="parTrans" cxnId="{3711E79C-698A-48EA-9817-3C9316409AA1}">
      <dgm:prSet/>
      <dgm:spPr/>
      <dgm:t>
        <a:bodyPr/>
        <a:lstStyle/>
        <a:p>
          <a:endParaRPr lang="en-US"/>
        </a:p>
      </dgm:t>
    </dgm:pt>
    <dgm:pt modelId="{9E4481FE-2B6C-4703-A179-56B1EB726AF0}" type="sibTrans" cxnId="{3711E79C-698A-48EA-9817-3C9316409AA1}">
      <dgm:prSet/>
      <dgm:spPr/>
      <dgm:t>
        <a:bodyPr/>
        <a:lstStyle/>
        <a:p>
          <a:endParaRPr lang="en-US"/>
        </a:p>
      </dgm:t>
    </dgm:pt>
    <dgm:pt modelId="{4352125D-6DFE-4A4F-98A7-07274941D080}">
      <dgm:prSet phldrT="[Text]"/>
      <dgm:spPr/>
      <dgm:t>
        <a:bodyPr/>
        <a:lstStyle/>
        <a:p>
          <a:r>
            <a:rPr lang="en-GB" dirty="0">
              <a:solidFill>
                <a:schemeClr val="tx2"/>
              </a:solidFill>
            </a:rPr>
            <a:t>Calculated average number of accesses per month for each article, and arbitrarily defined a significant difference as having 25% more (or fewer) accesses, on average, per month</a:t>
          </a:r>
          <a:endParaRPr lang="en-US" dirty="0"/>
        </a:p>
      </dgm:t>
    </dgm:pt>
    <dgm:pt modelId="{3AFF870F-C93D-4B27-91FC-7F76F5431F6F}" type="parTrans" cxnId="{D5251E6E-99C1-435E-94A0-8CCF728AB00D}">
      <dgm:prSet/>
      <dgm:spPr/>
      <dgm:t>
        <a:bodyPr/>
        <a:lstStyle/>
        <a:p>
          <a:endParaRPr lang="en-US"/>
        </a:p>
      </dgm:t>
    </dgm:pt>
    <dgm:pt modelId="{4F5AFC3B-A82F-4872-AA1D-16E91EECDE07}" type="sibTrans" cxnId="{D5251E6E-99C1-435E-94A0-8CCF728AB00D}">
      <dgm:prSet/>
      <dgm:spPr/>
      <dgm:t>
        <a:bodyPr/>
        <a:lstStyle/>
        <a:p>
          <a:endParaRPr lang="en-US"/>
        </a:p>
      </dgm:t>
    </dgm:pt>
    <dgm:pt modelId="{E9C9F9EF-E6D9-439E-8FE5-127B90A6CDD4}" type="pres">
      <dgm:prSet presAssocID="{F6252F68-AC8E-45D8-9081-5F6AE7BA2A96}" presName="linearFlow" presStyleCnt="0">
        <dgm:presLayoutVars>
          <dgm:dir/>
          <dgm:animLvl val="lvl"/>
          <dgm:resizeHandles val="exact"/>
        </dgm:presLayoutVars>
      </dgm:prSet>
      <dgm:spPr/>
    </dgm:pt>
    <dgm:pt modelId="{E6CAA942-3768-4357-9702-33BF9415FE30}" type="pres">
      <dgm:prSet presAssocID="{FA8A5F82-D5D0-4122-9A61-E7785D52B75C}" presName="composite" presStyleCnt="0"/>
      <dgm:spPr/>
    </dgm:pt>
    <dgm:pt modelId="{EFF1CCA7-5E29-4B42-BC0E-E02799ADB662}" type="pres">
      <dgm:prSet presAssocID="{FA8A5F82-D5D0-4122-9A61-E7785D52B75C}" presName="parentText" presStyleLbl="alignNode1" presStyleIdx="0" presStyleCnt="3">
        <dgm:presLayoutVars>
          <dgm:chMax val="1"/>
          <dgm:bulletEnabled val="1"/>
        </dgm:presLayoutVars>
      </dgm:prSet>
      <dgm:spPr/>
    </dgm:pt>
    <dgm:pt modelId="{5AFE53B8-3E7B-4967-8C1B-2D5C43CF25FD}" type="pres">
      <dgm:prSet presAssocID="{FA8A5F82-D5D0-4122-9A61-E7785D52B75C}" presName="descendantText" presStyleLbl="alignAcc1" presStyleIdx="0" presStyleCnt="3">
        <dgm:presLayoutVars>
          <dgm:bulletEnabled val="1"/>
        </dgm:presLayoutVars>
      </dgm:prSet>
      <dgm:spPr/>
    </dgm:pt>
    <dgm:pt modelId="{C649F393-B292-438D-927E-E7C7A6AF754C}" type="pres">
      <dgm:prSet presAssocID="{00D5BC1D-FF4E-4D6B-A261-BE49424AE3F6}" presName="sp" presStyleCnt="0"/>
      <dgm:spPr/>
    </dgm:pt>
    <dgm:pt modelId="{185A7554-6DBD-4D08-B47C-59801BF54596}" type="pres">
      <dgm:prSet presAssocID="{B9AFD281-D2F5-48D5-A706-AE9D647D6A15}" presName="composite" presStyleCnt="0"/>
      <dgm:spPr/>
    </dgm:pt>
    <dgm:pt modelId="{C4CA0B08-A66A-49F9-B524-6E37D4B93416}" type="pres">
      <dgm:prSet presAssocID="{B9AFD281-D2F5-48D5-A706-AE9D647D6A15}" presName="parentText" presStyleLbl="alignNode1" presStyleIdx="1" presStyleCnt="3">
        <dgm:presLayoutVars>
          <dgm:chMax val="1"/>
          <dgm:bulletEnabled val="1"/>
        </dgm:presLayoutVars>
      </dgm:prSet>
      <dgm:spPr/>
    </dgm:pt>
    <dgm:pt modelId="{DF7B6A68-7FFE-4F8C-AD78-D903CC6C9824}" type="pres">
      <dgm:prSet presAssocID="{B9AFD281-D2F5-48D5-A706-AE9D647D6A15}" presName="descendantText" presStyleLbl="alignAcc1" presStyleIdx="1" presStyleCnt="3">
        <dgm:presLayoutVars>
          <dgm:bulletEnabled val="1"/>
        </dgm:presLayoutVars>
      </dgm:prSet>
      <dgm:spPr/>
    </dgm:pt>
    <dgm:pt modelId="{EF673847-AA64-4577-BC60-C35BD0242278}" type="pres">
      <dgm:prSet presAssocID="{85AEAA54-BA6E-49B0-A29F-FE825C934C48}" presName="sp" presStyleCnt="0"/>
      <dgm:spPr/>
    </dgm:pt>
    <dgm:pt modelId="{99FA156A-789C-4C6B-B079-A17261902849}" type="pres">
      <dgm:prSet presAssocID="{74BEBB65-BA49-438B-882A-87C6C78D5B39}" presName="composite" presStyleCnt="0"/>
      <dgm:spPr/>
    </dgm:pt>
    <dgm:pt modelId="{555F7869-C264-4A09-A92A-75CFE39818A9}" type="pres">
      <dgm:prSet presAssocID="{74BEBB65-BA49-438B-882A-87C6C78D5B39}" presName="parentText" presStyleLbl="alignNode1" presStyleIdx="2" presStyleCnt="3">
        <dgm:presLayoutVars>
          <dgm:chMax val="1"/>
          <dgm:bulletEnabled val="1"/>
        </dgm:presLayoutVars>
      </dgm:prSet>
      <dgm:spPr/>
    </dgm:pt>
    <dgm:pt modelId="{1B798225-27CA-4449-B622-8093346B8A64}" type="pres">
      <dgm:prSet presAssocID="{74BEBB65-BA49-438B-882A-87C6C78D5B39}" presName="descendantText" presStyleLbl="alignAcc1" presStyleIdx="2" presStyleCnt="3">
        <dgm:presLayoutVars>
          <dgm:bulletEnabled val="1"/>
        </dgm:presLayoutVars>
      </dgm:prSet>
      <dgm:spPr/>
    </dgm:pt>
  </dgm:ptLst>
  <dgm:cxnLst>
    <dgm:cxn modelId="{4EB69707-2CA6-4E76-911F-9809A46654FA}" type="presOf" srcId="{D9A37323-29DF-48BB-9A4D-388067C18DDF}" destId="{5AFE53B8-3E7B-4967-8C1B-2D5C43CF25FD}" srcOrd="0" destOrd="0" presId="urn:microsoft.com/office/officeart/2005/8/layout/chevron2"/>
    <dgm:cxn modelId="{E6DB3230-BEB4-4B1E-9C5A-9E5C901C3235}" type="presOf" srcId="{B9AFD281-D2F5-48D5-A706-AE9D647D6A15}" destId="{C4CA0B08-A66A-49F9-B524-6E37D4B93416}" srcOrd="0" destOrd="0" presId="urn:microsoft.com/office/officeart/2005/8/layout/chevron2"/>
    <dgm:cxn modelId="{7F11AB39-3205-4F43-8FB6-A4673A2C7D5F}" srcId="{FA8A5F82-D5D0-4122-9A61-E7785D52B75C}" destId="{D9A37323-29DF-48BB-9A4D-388067C18DDF}" srcOrd="0" destOrd="0" parTransId="{9C579809-6539-4CD7-BECF-F8FD6F7619FB}" sibTransId="{BCE14FF9-655E-4B4A-A988-FA4053608222}"/>
    <dgm:cxn modelId="{50492B47-AD9F-4867-B0CD-41175DCE9747}" srcId="{B9AFD281-D2F5-48D5-A706-AE9D647D6A15}" destId="{56641008-EAF2-4EB8-8173-8C348EC18A44}" srcOrd="0" destOrd="0" parTransId="{9103F842-FCFC-4CCF-84E3-EB8EE77D33F2}" sibTransId="{E61B6ABD-FF65-4F17-974B-9E9C04510B17}"/>
    <dgm:cxn modelId="{D5251E6E-99C1-435E-94A0-8CCF728AB00D}" srcId="{74BEBB65-BA49-438B-882A-87C6C78D5B39}" destId="{4352125D-6DFE-4A4F-98A7-07274941D080}" srcOrd="0" destOrd="0" parTransId="{3AFF870F-C93D-4B27-91FC-7F76F5431F6F}" sibTransId="{4F5AFC3B-A82F-4872-AA1D-16E91EECDE07}"/>
    <dgm:cxn modelId="{98203770-B304-462F-9966-9368FF96032E}" type="presOf" srcId="{56641008-EAF2-4EB8-8173-8C348EC18A44}" destId="{DF7B6A68-7FFE-4F8C-AD78-D903CC6C9824}" srcOrd="0" destOrd="0" presId="urn:microsoft.com/office/officeart/2005/8/layout/chevron2"/>
    <dgm:cxn modelId="{D8FEFA89-03B0-4047-9D51-68673C55E35C}" type="presOf" srcId="{F6252F68-AC8E-45D8-9081-5F6AE7BA2A96}" destId="{E9C9F9EF-E6D9-439E-8FE5-127B90A6CDD4}" srcOrd="0" destOrd="0" presId="urn:microsoft.com/office/officeart/2005/8/layout/chevron2"/>
    <dgm:cxn modelId="{C09C3292-BEA4-46DF-8FCA-5EF22D3CAD91}" srcId="{F6252F68-AC8E-45D8-9081-5F6AE7BA2A96}" destId="{FA8A5F82-D5D0-4122-9A61-E7785D52B75C}" srcOrd="0" destOrd="0" parTransId="{30805F2B-87F0-4EB6-9DE1-57935045FC31}" sibTransId="{00D5BC1D-FF4E-4D6B-A261-BE49424AE3F6}"/>
    <dgm:cxn modelId="{85DE1E95-967D-4FB7-8A02-7281230E4294}" srcId="{F6252F68-AC8E-45D8-9081-5F6AE7BA2A96}" destId="{B9AFD281-D2F5-48D5-A706-AE9D647D6A15}" srcOrd="1" destOrd="0" parTransId="{43AC52B4-E0A3-491D-9FD8-A8BAB136C154}" sibTransId="{85AEAA54-BA6E-49B0-A29F-FE825C934C48}"/>
    <dgm:cxn modelId="{3711E79C-698A-48EA-9817-3C9316409AA1}" srcId="{F6252F68-AC8E-45D8-9081-5F6AE7BA2A96}" destId="{74BEBB65-BA49-438B-882A-87C6C78D5B39}" srcOrd="2" destOrd="0" parTransId="{D6019931-D15B-4EA1-A067-A08517ED58C8}" sibTransId="{9E4481FE-2B6C-4703-A179-56B1EB726AF0}"/>
    <dgm:cxn modelId="{C508479F-56F9-4D04-AFD7-9C5F9EE39025}" type="presOf" srcId="{74BEBB65-BA49-438B-882A-87C6C78D5B39}" destId="{555F7869-C264-4A09-A92A-75CFE39818A9}" srcOrd="0" destOrd="0" presId="urn:microsoft.com/office/officeart/2005/8/layout/chevron2"/>
    <dgm:cxn modelId="{70B822C2-C021-4ECB-AF21-FE86BAFD3B5F}" type="presOf" srcId="{4352125D-6DFE-4A4F-98A7-07274941D080}" destId="{1B798225-27CA-4449-B622-8093346B8A64}" srcOrd="0" destOrd="0" presId="urn:microsoft.com/office/officeart/2005/8/layout/chevron2"/>
    <dgm:cxn modelId="{6C01ECFD-6DF5-4AF0-A450-6CAE2D22A007}" type="presOf" srcId="{FA8A5F82-D5D0-4122-9A61-E7785D52B75C}" destId="{EFF1CCA7-5E29-4B42-BC0E-E02799ADB662}" srcOrd="0" destOrd="0" presId="urn:microsoft.com/office/officeart/2005/8/layout/chevron2"/>
    <dgm:cxn modelId="{D85F74C7-8B70-43B0-9710-97C73CB73EA8}" type="presParOf" srcId="{E9C9F9EF-E6D9-439E-8FE5-127B90A6CDD4}" destId="{E6CAA942-3768-4357-9702-33BF9415FE30}" srcOrd="0" destOrd="0" presId="urn:microsoft.com/office/officeart/2005/8/layout/chevron2"/>
    <dgm:cxn modelId="{912C9F20-BBA2-4424-97DA-514658E8CE7F}" type="presParOf" srcId="{E6CAA942-3768-4357-9702-33BF9415FE30}" destId="{EFF1CCA7-5E29-4B42-BC0E-E02799ADB662}" srcOrd="0" destOrd="0" presId="urn:microsoft.com/office/officeart/2005/8/layout/chevron2"/>
    <dgm:cxn modelId="{1A42C9D8-C42A-4C24-80B1-2DFF2CAA0E8E}" type="presParOf" srcId="{E6CAA942-3768-4357-9702-33BF9415FE30}" destId="{5AFE53B8-3E7B-4967-8C1B-2D5C43CF25FD}" srcOrd="1" destOrd="0" presId="urn:microsoft.com/office/officeart/2005/8/layout/chevron2"/>
    <dgm:cxn modelId="{20C8F395-0F89-4149-ABA2-24B8591A6ED1}" type="presParOf" srcId="{E9C9F9EF-E6D9-439E-8FE5-127B90A6CDD4}" destId="{C649F393-B292-438D-927E-E7C7A6AF754C}" srcOrd="1" destOrd="0" presId="urn:microsoft.com/office/officeart/2005/8/layout/chevron2"/>
    <dgm:cxn modelId="{3FE17D26-F940-4BAD-9766-B428971C7FD5}" type="presParOf" srcId="{E9C9F9EF-E6D9-439E-8FE5-127B90A6CDD4}" destId="{185A7554-6DBD-4D08-B47C-59801BF54596}" srcOrd="2" destOrd="0" presId="urn:microsoft.com/office/officeart/2005/8/layout/chevron2"/>
    <dgm:cxn modelId="{38FCBB5D-0602-4D69-8EFA-6D49E0C58A7F}" type="presParOf" srcId="{185A7554-6DBD-4D08-B47C-59801BF54596}" destId="{C4CA0B08-A66A-49F9-B524-6E37D4B93416}" srcOrd="0" destOrd="0" presId="urn:microsoft.com/office/officeart/2005/8/layout/chevron2"/>
    <dgm:cxn modelId="{AA3A096C-E049-46D3-B4D6-CDE4A83E2471}" type="presParOf" srcId="{185A7554-6DBD-4D08-B47C-59801BF54596}" destId="{DF7B6A68-7FFE-4F8C-AD78-D903CC6C9824}" srcOrd="1" destOrd="0" presId="urn:microsoft.com/office/officeart/2005/8/layout/chevron2"/>
    <dgm:cxn modelId="{337FA65C-AFC7-4615-8CBA-202F65329415}" type="presParOf" srcId="{E9C9F9EF-E6D9-439E-8FE5-127B90A6CDD4}" destId="{EF673847-AA64-4577-BC60-C35BD0242278}" srcOrd="3" destOrd="0" presId="urn:microsoft.com/office/officeart/2005/8/layout/chevron2"/>
    <dgm:cxn modelId="{F32E1986-93F4-4F01-AC30-EEC4343A2F00}" type="presParOf" srcId="{E9C9F9EF-E6D9-439E-8FE5-127B90A6CDD4}" destId="{99FA156A-789C-4C6B-B079-A17261902849}" srcOrd="4" destOrd="0" presId="urn:microsoft.com/office/officeart/2005/8/layout/chevron2"/>
    <dgm:cxn modelId="{CE165765-9160-46EE-B9CB-0DBB87E93DE6}" type="presParOf" srcId="{99FA156A-789C-4C6B-B079-A17261902849}" destId="{555F7869-C264-4A09-A92A-75CFE39818A9}" srcOrd="0" destOrd="0" presId="urn:microsoft.com/office/officeart/2005/8/layout/chevron2"/>
    <dgm:cxn modelId="{245418D0-B6DA-4853-9992-AF81EBFD30F6}" type="presParOf" srcId="{99FA156A-789C-4C6B-B079-A17261902849}" destId="{1B798225-27CA-4449-B622-8093346B8A64}"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C5C92CE-9F56-4D3F-BAAB-27E0BF481B0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9608FEB4-8485-48E3-A029-8163051BD68E}">
      <dgm:prSet phldrT="[Text]"/>
      <dgm:spPr/>
      <dgm:t>
        <a:bodyPr/>
        <a:lstStyle/>
        <a:p>
          <a:r>
            <a:rPr lang="en-US" dirty="0"/>
            <a:t>Format</a:t>
          </a:r>
        </a:p>
      </dgm:t>
    </dgm:pt>
    <dgm:pt modelId="{B9AD46F7-BC97-4E76-9DA1-764548D3A48C}" type="parTrans" cxnId="{09773C11-4905-4200-9CA8-9EFFED427314}">
      <dgm:prSet/>
      <dgm:spPr/>
      <dgm:t>
        <a:bodyPr/>
        <a:lstStyle/>
        <a:p>
          <a:endParaRPr lang="en-US"/>
        </a:p>
      </dgm:t>
    </dgm:pt>
    <dgm:pt modelId="{010D1A86-2D4D-4C64-954E-EAE4FB01E849}" type="sibTrans" cxnId="{09773C11-4905-4200-9CA8-9EFFED427314}">
      <dgm:prSet/>
      <dgm:spPr/>
      <dgm:t>
        <a:bodyPr/>
        <a:lstStyle/>
        <a:p>
          <a:endParaRPr lang="en-US"/>
        </a:p>
      </dgm:t>
    </dgm:pt>
    <dgm:pt modelId="{5F25F1A2-7029-4F25-9EC6-2F6ED647396D}">
      <dgm:prSet phldrT="[Text]"/>
      <dgm:spPr/>
      <dgm:t>
        <a:bodyPr/>
        <a:lstStyle/>
        <a:p>
          <a:r>
            <a:rPr lang="en-US" dirty="0"/>
            <a:t>Text</a:t>
          </a:r>
        </a:p>
      </dgm:t>
    </dgm:pt>
    <dgm:pt modelId="{172D4442-A9A2-452A-AEDE-B77C5325BC5F}" type="parTrans" cxnId="{F092655D-D1A6-44D0-A2B1-73554B8CCCFC}">
      <dgm:prSet/>
      <dgm:spPr/>
      <dgm:t>
        <a:bodyPr/>
        <a:lstStyle/>
        <a:p>
          <a:endParaRPr lang="en-US"/>
        </a:p>
      </dgm:t>
    </dgm:pt>
    <dgm:pt modelId="{B5333DAC-1ED7-46A6-BBFC-A22CF8F127BB}" type="sibTrans" cxnId="{F092655D-D1A6-44D0-A2B1-73554B8CCCFC}">
      <dgm:prSet/>
      <dgm:spPr/>
      <dgm:t>
        <a:bodyPr/>
        <a:lstStyle/>
        <a:p>
          <a:endParaRPr lang="en-US"/>
        </a:p>
      </dgm:t>
    </dgm:pt>
    <dgm:pt modelId="{26657A47-8492-435E-B341-3F4DD27FCD81}">
      <dgm:prSet phldrT="[Text]"/>
      <dgm:spPr/>
      <dgm:t>
        <a:bodyPr/>
        <a:lstStyle/>
        <a:p>
          <a:r>
            <a:rPr lang="en-US" dirty="0"/>
            <a:t>Graphical</a:t>
          </a:r>
        </a:p>
      </dgm:t>
    </dgm:pt>
    <dgm:pt modelId="{23A2F1ED-4C81-4608-8195-3220B5CE86C8}" type="parTrans" cxnId="{1D291720-23C2-4C66-BD83-7C9D5D3E987A}">
      <dgm:prSet/>
      <dgm:spPr/>
      <dgm:t>
        <a:bodyPr/>
        <a:lstStyle/>
        <a:p>
          <a:endParaRPr lang="en-US"/>
        </a:p>
      </dgm:t>
    </dgm:pt>
    <dgm:pt modelId="{5EA640D1-D93E-4860-AA84-5F4494B103B1}" type="sibTrans" cxnId="{1D291720-23C2-4C66-BD83-7C9D5D3E987A}">
      <dgm:prSet/>
      <dgm:spPr/>
      <dgm:t>
        <a:bodyPr/>
        <a:lstStyle/>
        <a:p>
          <a:endParaRPr lang="en-US"/>
        </a:p>
      </dgm:t>
    </dgm:pt>
    <dgm:pt modelId="{5CB47840-9F8A-4AF0-9E32-68A6273A883A}">
      <dgm:prSet phldrT="[Text]"/>
      <dgm:spPr/>
      <dgm:t>
        <a:bodyPr/>
        <a:lstStyle/>
        <a:p>
          <a:r>
            <a:rPr lang="en-US" dirty="0"/>
            <a:t>Audience</a:t>
          </a:r>
        </a:p>
      </dgm:t>
    </dgm:pt>
    <dgm:pt modelId="{6C03DF6B-F01D-40B4-8F5C-E190E6BC92C5}" type="parTrans" cxnId="{945A199E-4D27-437A-8624-5C5DA8AEAD65}">
      <dgm:prSet/>
      <dgm:spPr/>
      <dgm:t>
        <a:bodyPr/>
        <a:lstStyle/>
        <a:p>
          <a:endParaRPr lang="en-US"/>
        </a:p>
      </dgm:t>
    </dgm:pt>
    <dgm:pt modelId="{E3367A5C-77CC-48C3-93C6-CBCD23B2AE83}" type="sibTrans" cxnId="{945A199E-4D27-437A-8624-5C5DA8AEAD65}">
      <dgm:prSet/>
      <dgm:spPr/>
      <dgm:t>
        <a:bodyPr/>
        <a:lstStyle/>
        <a:p>
          <a:endParaRPr lang="en-US"/>
        </a:p>
      </dgm:t>
    </dgm:pt>
    <dgm:pt modelId="{88E53BF0-D4AA-4426-AF1A-FF554FE9493E}">
      <dgm:prSet phldrT="[Text]"/>
      <dgm:spPr/>
      <dgm:t>
        <a:bodyPr/>
        <a:lstStyle/>
        <a:p>
          <a:r>
            <a:rPr lang="en-US" dirty="0"/>
            <a:t>Patients</a:t>
          </a:r>
        </a:p>
      </dgm:t>
    </dgm:pt>
    <dgm:pt modelId="{784518D2-4709-479D-8CC4-35524FA041F2}" type="parTrans" cxnId="{B4BD96FB-6E1E-4D40-A0FF-A86748C4B5F2}">
      <dgm:prSet/>
      <dgm:spPr/>
      <dgm:t>
        <a:bodyPr/>
        <a:lstStyle/>
        <a:p>
          <a:endParaRPr lang="en-US"/>
        </a:p>
      </dgm:t>
    </dgm:pt>
    <dgm:pt modelId="{EEE9B67D-6AC2-46FE-9309-E872306E310E}" type="sibTrans" cxnId="{B4BD96FB-6E1E-4D40-A0FF-A86748C4B5F2}">
      <dgm:prSet/>
      <dgm:spPr/>
      <dgm:t>
        <a:bodyPr/>
        <a:lstStyle/>
        <a:p>
          <a:endParaRPr lang="en-US"/>
        </a:p>
      </dgm:t>
    </dgm:pt>
    <dgm:pt modelId="{4089BDFB-B5A9-4731-B25E-396839D7BF4E}">
      <dgm:prSet phldrT="[Text]"/>
      <dgm:spPr/>
      <dgm:t>
        <a:bodyPr/>
        <a:lstStyle/>
        <a:p>
          <a:r>
            <a:rPr lang="en-US" dirty="0"/>
            <a:t>The public</a:t>
          </a:r>
        </a:p>
      </dgm:t>
    </dgm:pt>
    <dgm:pt modelId="{0087DF8E-9871-43CC-B720-BF1855914258}" type="parTrans" cxnId="{FD989C1B-9376-49CD-A440-2484A0019997}">
      <dgm:prSet/>
      <dgm:spPr/>
      <dgm:t>
        <a:bodyPr/>
        <a:lstStyle/>
        <a:p>
          <a:endParaRPr lang="en-US"/>
        </a:p>
      </dgm:t>
    </dgm:pt>
    <dgm:pt modelId="{642E3563-116C-4394-8B69-8C18CE725E10}" type="sibTrans" cxnId="{FD989C1B-9376-49CD-A440-2484A0019997}">
      <dgm:prSet/>
      <dgm:spPr/>
      <dgm:t>
        <a:bodyPr/>
        <a:lstStyle/>
        <a:p>
          <a:endParaRPr lang="en-US"/>
        </a:p>
      </dgm:t>
    </dgm:pt>
    <dgm:pt modelId="{0F17462A-33B9-4CD3-9732-5209603E89EA}">
      <dgm:prSet phldrT="[Text]"/>
      <dgm:spPr/>
      <dgm:t>
        <a:bodyPr/>
        <a:lstStyle/>
        <a:p>
          <a:r>
            <a:rPr lang="en-US" dirty="0"/>
            <a:t>Hosting</a:t>
          </a:r>
        </a:p>
      </dgm:t>
    </dgm:pt>
    <dgm:pt modelId="{F00CE067-782F-448D-819D-953D8C2772CA}" type="parTrans" cxnId="{3BDBB80E-9F72-407D-82F2-A4C3F0F171FA}">
      <dgm:prSet/>
      <dgm:spPr/>
      <dgm:t>
        <a:bodyPr/>
        <a:lstStyle/>
        <a:p>
          <a:endParaRPr lang="en-US"/>
        </a:p>
      </dgm:t>
    </dgm:pt>
    <dgm:pt modelId="{30098938-90B1-4BAF-A75F-DAF2B0100E14}" type="sibTrans" cxnId="{3BDBB80E-9F72-407D-82F2-A4C3F0F171FA}">
      <dgm:prSet/>
      <dgm:spPr/>
      <dgm:t>
        <a:bodyPr/>
        <a:lstStyle/>
        <a:p>
          <a:endParaRPr lang="en-US"/>
        </a:p>
      </dgm:t>
    </dgm:pt>
    <dgm:pt modelId="{FB9C07DD-619A-4106-8860-D9D6B782C997}">
      <dgm:prSet phldrT="[Text]"/>
      <dgm:spPr/>
      <dgm:t>
        <a:bodyPr/>
        <a:lstStyle/>
        <a:p>
          <a:r>
            <a:rPr lang="en-US" dirty="0"/>
            <a:t>Journal</a:t>
          </a:r>
        </a:p>
      </dgm:t>
    </dgm:pt>
    <dgm:pt modelId="{CBDF1F68-5D24-412A-BD52-900B6B649137}" type="parTrans" cxnId="{48216611-9EFA-4BCE-A294-4CE5CAD69A91}">
      <dgm:prSet/>
      <dgm:spPr/>
      <dgm:t>
        <a:bodyPr/>
        <a:lstStyle/>
        <a:p>
          <a:endParaRPr lang="en-US"/>
        </a:p>
      </dgm:t>
    </dgm:pt>
    <dgm:pt modelId="{D939BE4B-058C-4142-A94F-1C9786243632}" type="sibTrans" cxnId="{48216611-9EFA-4BCE-A294-4CE5CAD69A91}">
      <dgm:prSet/>
      <dgm:spPr/>
      <dgm:t>
        <a:bodyPr/>
        <a:lstStyle/>
        <a:p>
          <a:endParaRPr lang="en-US"/>
        </a:p>
      </dgm:t>
    </dgm:pt>
    <dgm:pt modelId="{5199DEB9-A604-44D2-88CC-FEC353B2BE3D}">
      <dgm:prSet phldrT="[Text]"/>
      <dgm:spPr/>
      <dgm:t>
        <a:bodyPr/>
        <a:lstStyle/>
        <a:p>
          <a:r>
            <a:rPr lang="en-US" dirty="0"/>
            <a:t>Separate platform</a:t>
          </a:r>
        </a:p>
      </dgm:t>
    </dgm:pt>
    <dgm:pt modelId="{C7667464-E3CA-47A1-8A34-42A10B68AA00}" type="parTrans" cxnId="{B0F7A32A-E76C-4096-9BA5-E7936A0B8063}">
      <dgm:prSet/>
      <dgm:spPr/>
      <dgm:t>
        <a:bodyPr/>
        <a:lstStyle/>
        <a:p>
          <a:endParaRPr lang="en-US"/>
        </a:p>
      </dgm:t>
    </dgm:pt>
    <dgm:pt modelId="{3C2A416E-796D-49AF-A778-1B57FAB92329}" type="sibTrans" cxnId="{B0F7A32A-E76C-4096-9BA5-E7936A0B8063}">
      <dgm:prSet/>
      <dgm:spPr/>
      <dgm:t>
        <a:bodyPr/>
        <a:lstStyle/>
        <a:p>
          <a:endParaRPr lang="en-US"/>
        </a:p>
      </dgm:t>
    </dgm:pt>
    <dgm:pt modelId="{C9C06BD9-40CA-41EF-B672-E3C016E90B3F}">
      <dgm:prSet phldrT="[Text]"/>
      <dgm:spPr/>
      <dgm:t>
        <a:bodyPr/>
        <a:lstStyle/>
        <a:p>
          <a:r>
            <a:rPr lang="en-US" dirty="0"/>
            <a:t>Audio</a:t>
          </a:r>
        </a:p>
      </dgm:t>
    </dgm:pt>
    <dgm:pt modelId="{C87EFCD1-E5B5-4D2F-A1F4-24C5555B0862}" type="parTrans" cxnId="{439C6401-2C0C-4764-916E-5E06079B23CF}">
      <dgm:prSet/>
      <dgm:spPr/>
      <dgm:t>
        <a:bodyPr/>
        <a:lstStyle/>
        <a:p>
          <a:endParaRPr lang="en-US"/>
        </a:p>
      </dgm:t>
    </dgm:pt>
    <dgm:pt modelId="{7B397E06-8D32-48DF-AD70-C0D79D7BE436}" type="sibTrans" cxnId="{439C6401-2C0C-4764-916E-5E06079B23CF}">
      <dgm:prSet/>
      <dgm:spPr/>
      <dgm:t>
        <a:bodyPr/>
        <a:lstStyle/>
        <a:p>
          <a:endParaRPr lang="en-US"/>
        </a:p>
      </dgm:t>
    </dgm:pt>
    <dgm:pt modelId="{95B8EC39-96A5-4B23-A3A7-F66503539660}">
      <dgm:prSet phldrT="[Text]"/>
      <dgm:spPr/>
      <dgm:t>
        <a:bodyPr/>
        <a:lstStyle/>
        <a:p>
          <a:r>
            <a:rPr lang="en-US" dirty="0"/>
            <a:t>Multiple</a:t>
          </a:r>
        </a:p>
      </dgm:t>
    </dgm:pt>
    <dgm:pt modelId="{B2FF8931-E740-490D-A5DB-28BF7CC6275A}" type="parTrans" cxnId="{78D49B71-9C99-470F-9305-AE54A42C49F2}">
      <dgm:prSet/>
      <dgm:spPr/>
      <dgm:t>
        <a:bodyPr/>
        <a:lstStyle/>
        <a:p>
          <a:endParaRPr lang="en-US"/>
        </a:p>
      </dgm:t>
    </dgm:pt>
    <dgm:pt modelId="{BDFE3ECB-6A63-485E-9F1C-3932F659AD02}" type="sibTrans" cxnId="{78D49B71-9C99-470F-9305-AE54A42C49F2}">
      <dgm:prSet/>
      <dgm:spPr/>
      <dgm:t>
        <a:bodyPr/>
        <a:lstStyle/>
        <a:p>
          <a:endParaRPr lang="en-US"/>
        </a:p>
      </dgm:t>
    </dgm:pt>
    <dgm:pt modelId="{86E0B380-34D5-432E-AEB0-E84154C01F07}">
      <dgm:prSet phldrT="[Text]"/>
      <dgm:spPr/>
      <dgm:t>
        <a:bodyPr/>
        <a:lstStyle/>
        <a:p>
          <a:r>
            <a:rPr lang="en-US" dirty="0"/>
            <a:t>Multiple</a:t>
          </a:r>
        </a:p>
      </dgm:t>
    </dgm:pt>
    <dgm:pt modelId="{933684C4-8FDC-4DCC-89FD-B6EB5BA81013}" type="parTrans" cxnId="{CDA0791C-958C-4183-A0E6-0577969231F1}">
      <dgm:prSet/>
      <dgm:spPr/>
      <dgm:t>
        <a:bodyPr/>
        <a:lstStyle/>
        <a:p>
          <a:endParaRPr lang="en-US"/>
        </a:p>
      </dgm:t>
    </dgm:pt>
    <dgm:pt modelId="{CF233AFF-A46C-4ED3-8867-30388A530668}" type="sibTrans" cxnId="{CDA0791C-958C-4183-A0E6-0577969231F1}">
      <dgm:prSet/>
      <dgm:spPr/>
      <dgm:t>
        <a:bodyPr/>
        <a:lstStyle/>
        <a:p>
          <a:endParaRPr lang="en-US"/>
        </a:p>
      </dgm:t>
    </dgm:pt>
    <dgm:pt modelId="{7015385A-666A-4954-9667-884DDF52AF98}">
      <dgm:prSet phldrT="[Text]"/>
      <dgm:spPr/>
      <dgm:t>
        <a:bodyPr/>
        <a:lstStyle/>
        <a:p>
          <a:r>
            <a:rPr lang="en-US" dirty="0"/>
            <a:t>Article type</a:t>
          </a:r>
        </a:p>
      </dgm:t>
    </dgm:pt>
    <dgm:pt modelId="{1AF9763A-B1F2-46BB-A809-A21A8D7DB046}" type="parTrans" cxnId="{F9CABD92-3773-460E-9DE9-287BAD8711B0}">
      <dgm:prSet/>
      <dgm:spPr/>
      <dgm:t>
        <a:bodyPr/>
        <a:lstStyle/>
        <a:p>
          <a:endParaRPr lang="en-US"/>
        </a:p>
      </dgm:t>
    </dgm:pt>
    <dgm:pt modelId="{D4A47758-F2D1-4698-8063-1A8C480C8C67}" type="sibTrans" cxnId="{F9CABD92-3773-460E-9DE9-287BAD8711B0}">
      <dgm:prSet/>
      <dgm:spPr/>
      <dgm:t>
        <a:bodyPr/>
        <a:lstStyle/>
        <a:p>
          <a:endParaRPr lang="en-US"/>
        </a:p>
      </dgm:t>
    </dgm:pt>
    <dgm:pt modelId="{93151FFB-CE48-47C5-AB39-1ED7BDBD11F3}">
      <dgm:prSet phldrT="[Text]"/>
      <dgm:spPr/>
      <dgm:t>
        <a:bodyPr/>
        <a:lstStyle/>
        <a:p>
          <a:endParaRPr lang="en-US" dirty="0"/>
        </a:p>
      </dgm:t>
    </dgm:pt>
    <dgm:pt modelId="{9E3E99F2-5927-4673-AD4D-AD3DF657AE67}" type="parTrans" cxnId="{6E4B5AD2-C294-4A5D-AC15-052D13E7AC95}">
      <dgm:prSet/>
      <dgm:spPr/>
      <dgm:t>
        <a:bodyPr/>
        <a:lstStyle/>
        <a:p>
          <a:endParaRPr lang="en-US"/>
        </a:p>
      </dgm:t>
    </dgm:pt>
    <dgm:pt modelId="{4A4E3AE3-4116-42FD-9755-69B757B3B5F4}" type="sibTrans" cxnId="{6E4B5AD2-C294-4A5D-AC15-052D13E7AC95}">
      <dgm:prSet/>
      <dgm:spPr/>
      <dgm:t>
        <a:bodyPr/>
        <a:lstStyle/>
        <a:p>
          <a:endParaRPr lang="en-US"/>
        </a:p>
      </dgm:t>
    </dgm:pt>
    <dgm:pt modelId="{5A8AF1AF-EE5B-44FA-8845-05C840FAB00A}">
      <dgm:prSet phldrT="[Text]"/>
      <dgm:spPr/>
      <dgm:t>
        <a:bodyPr/>
        <a:lstStyle/>
        <a:p>
          <a:r>
            <a:rPr lang="en-US" dirty="0"/>
            <a:t>Reviews</a:t>
          </a:r>
        </a:p>
      </dgm:t>
    </dgm:pt>
    <dgm:pt modelId="{349BF3F0-1F18-479B-BD82-A1491B7B0F66}" type="parTrans" cxnId="{7103F4B4-F53D-41F5-BFD5-D487BD36A158}">
      <dgm:prSet/>
      <dgm:spPr/>
      <dgm:t>
        <a:bodyPr/>
        <a:lstStyle/>
        <a:p>
          <a:endParaRPr lang="en-US"/>
        </a:p>
      </dgm:t>
    </dgm:pt>
    <dgm:pt modelId="{E8908655-9475-4261-BCAF-44993EC2DE39}" type="sibTrans" cxnId="{7103F4B4-F53D-41F5-BFD5-D487BD36A158}">
      <dgm:prSet/>
      <dgm:spPr/>
      <dgm:t>
        <a:bodyPr/>
        <a:lstStyle/>
        <a:p>
          <a:endParaRPr lang="en-US"/>
        </a:p>
      </dgm:t>
    </dgm:pt>
    <dgm:pt modelId="{E146DD7B-4AD2-496F-A995-E09878066B0B}">
      <dgm:prSet phldrT="[Text]"/>
      <dgm:spPr/>
      <dgm:t>
        <a:bodyPr/>
        <a:lstStyle/>
        <a:p>
          <a:r>
            <a:rPr lang="en-US" dirty="0"/>
            <a:t>Research</a:t>
          </a:r>
        </a:p>
      </dgm:t>
    </dgm:pt>
    <dgm:pt modelId="{B5532854-531E-4289-AA3D-2EB4B98D0F1D}" type="parTrans" cxnId="{C767F357-B613-4F4A-AA1A-BC96032EDDD7}">
      <dgm:prSet/>
      <dgm:spPr/>
      <dgm:t>
        <a:bodyPr/>
        <a:lstStyle/>
        <a:p>
          <a:endParaRPr lang="en-US"/>
        </a:p>
      </dgm:t>
    </dgm:pt>
    <dgm:pt modelId="{B34A4592-3FF4-4D8E-A9B0-D6616CA002CB}" type="sibTrans" cxnId="{C767F357-B613-4F4A-AA1A-BC96032EDDD7}">
      <dgm:prSet/>
      <dgm:spPr/>
      <dgm:t>
        <a:bodyPr/>
        <a:lstStyle/>
        <a:p>
          <a:endParaRPr lang="en-US"/>
        </a:p>
      </dgm:t>
    </dgm:pt>
    <dgm:pt modelId="{AB291D6B-8175-4182-9C27-5DD00DE1BDB2}">
      <dgm:prSet phldrT="[Text]"/>
      <dgm:spPr/>
      <dgm:t>
        <a:bodyPr/>
        <a:lstStyle/>
        <a:p>
          <a:r>
            <a:rPr lang="en-US" dirty="0"/>
            <a:t>Commentary</a:t>
          </a:r>
        </a:p>
      </dgm:t>
    </dgm:pt>
    <dgm:pt modelId="{DA55F05D-36BE-4F83-8EBF-93B0092EC2B8}" type="parTrans" cxnId="{33EA2226-4A90-448F-8442-BEB3DF34119A}">
      <dgm:prSet/>
      <dgm:spPr/>
      <dgm:t>
        <a:bodyPr/>
        <a:lstStyle/>
        <a:p>
          <a:endParaRPr lang="en-US"/>
        </a:p>
      </dgm:t>
    </dgm:pt>
    <dgm:pt modelId="{4554948D-7FBB-4BE4-B775-4AAE87230634}" type="sibTrans" cxnId="{33EA2226-4A90-448F-8442-BEB3DF34119A}">
      <dgm:prSet/>
      <dgm:spPr/>
      <dgm:t>
        <a:bodyPr/>
        <a:lstStyle/>
        <a:p>
          <a:endParaRPr lang="en-US"/>
        </a:p>
      </dgm:t>
    </dgm:pt>
    <dgm:pt modelId="{9E6DD47D-98F5-4E42-B4B1-1996F748CD00}">
      <dgm:prSet phldrT="[Text]"/>
      <dgm:spPr/>
      <dgm:t>
        <a:bodyPr/>
        <a:lstStyle/>
        <a:p>
          <a:r>
            <a:rPr lang="en-US" dirty="0"/>
            <a:t>Generalist HCPs</a:t>
          </a:r>
        </a:p>
      </dgm:t>
    </dgm:pt>
    <dgm:pt modelId="{94BFF0F8-5CD5-4C5E-BCCF-849A4C57A606}" type="parTrans" cxnId="{80DBA85B-F214-4C82-8E66-0CF4C9EF366C}">
      <dgm:prSet/>
      <dgm:spPr/>
      <dgm:t>
        <a:bodyPr/>
        <a:lstStyle/>
        <a:p>
          <a:endParaRPr lang="en-US"/>
        </a:p>
      </dgm:t>
    </dgm:pt>
    <dgm:pt modelId="{54A391E5-D148-422F-A0CF-3476E14612BF}" type="sibTrans" cxnId="{80DBA85B-F214-4C82-8E66-0CF4C9EF366C}">
      <dgm:prSet/>
      <dgm:spPr/>
      <dgm:t>
        <a:bodyPr/>
        <a:lstStyle/>
        <a:p>
          <a:endParaRPr lang="en-US"/>
        </a:p>
      </dgm:t>
    </dgm:pt>
    <dgm:pt modelId="{459677D5-D307-4C89-8DC9-C1E04E76EE47}">
      <dgm:prSet phldrT="[Text]"/>
      <dgm:spPr/>
      <dgm:t>
        <a:bodyPr/>
        <a:lstStyle/>
        <a:p>
          <a:r>
            <a:rPr lang="en-US" dirty="0"/>
            <a:t>PubMed</a:t>
          </a:r>
        </a:p>
      </dgm:t>
    </dgm:pt>
    <dgm:pt modelId="{57F991A2-D4E9-457C-8C04-FDDB7BFDD042}" type="parTrans" cxnId="{130A287A-5C48-44D9-B957-5D7CD3200A62}">
      <dgm:prSet/>
      <dgm:spPr/>
      <dgm:t>
        <a:bodyPr/>
        <a:lstStyle/>
        <a:p>
          <a:endParaRPr lang="en-US"/>
        </a:p>
      </dgm:t>
    </dgm:pt>
    <dgm:pt modelId="{194C36ED-3C6A-4DF2-A555-2AA779CD71B2}" type="sibTrans" cxnId="{130A287A-5C48-44D9-B957-5D7CD3200A62}">
      <dgm:prSet/>
      <dgm:spPr/>
      <dgm:t>
        <a:bodyPr/>
        <a:lstStyle/>
        <a:p>
          <a:endParaRPr lang="en-US"/>
        </a:p>
      </dgm:t>
    </dgm:pt>
    <dgm:pt modelId="{FCCCAD4D-9FCE-466E-B3B3-DCA3F75D7252}">
      <dgm:prSet phldrT="[Text]"/>
      <dgm:spPr/>
      <dgm:t>
        <a:bodyPr/>
        <a:lstStyle/>
        <a:p>
          <a:r>
            <a:rPr lang="en-US" dirty="0"/>
            <a:t>Slides</a:t>
          </a:r>
        </a:p>
      </dgm:t>
    </dgm:pt>
    <dgm:pt modelId="{F82EE878-59A6-43B1-868D-6436DD589914}" type="parTrans" cxnId="{C38134BD-32B2-406B-BD84-677016203487}">
      <dgm:prSet/>
      <dgm:spPr/>
      <dgm:t>
        <a:bodyPr/>
        <a:lstStyle/>
        <a:p>
          <a:endParaRPr lang="en-US"/>
        </a:p>
      </dgm:t>
    </dgm:pt>
    <dgm:pt modelId="{4AC9D86E-93EA-469B-97B7-6825949E41FA}" type="sibTrans" cxnId="{C38134BD-32B2-406B-BD84-677016203487}">
      <dgm:prSet/>
      <dgm:spPr/>
      <dgm:t>
        <a:bodyPr/>
        <a:lstStyle/>
        <a:p>
          <a:endParaRPr lang="en-US"/>
        </a:p>
      </dgm:t>
    </dgm:pt>
    <dgm:pt modelId="{1E524A48-F2C3-4B63-9B05-96130F21E49D}">
      <dgm:prSet phldrT="[Text]"/>
      <dgm:spPr/>
      <dgm:t>
        <a:bodyPr/>
        <a:lstStyle/>
        <a:p>
          <a:r>
            <a:rPr lang="en-US" dirty="0"/>
            <a:t>Brief reports</a:t>
          </a:r>
        </a:p>
      </dgm:t>
    </dgm:pt>
    <dgm:pt modelId="{06B05324-8833-46C5-B240-F9934E98E091}" type="parTrans" cxnId="{29BDC60E-2A38-4D7E-94F3-B47B8C4A0599}">
      <dgm:prSet/>
      <dgm:spPr/>
      <dgm:t>
        <a:bodyPr/>
        <a:lstStyle/>
        <a:p>
          <a:endParaRPr lang="en-US"/>
        </a:p>
      </dgm:t>
    </dgm:pt>
    <dgm:pt modelId="{A13EE2A0-3C36-490D-900C-65C19A42233E}" type="sibTrans" cxnId="{29BDC60E-2A38-4D7E-94F3-B47B8C4A0599}">
      <dgm:prSet/>
      <dgm:spPr/>
      <dgm:t>
        <a:bodyPr/>
        <a:lstStyle/>
        <a:p>
          <a:endParaRPr lang="en-US"/>
        </a:p>
      </dgm:t>
    </dgm:pt>
    <dgm:pt modelId="{7334917F-55CA-4451-837A-9505784826BA}" type="pres">
      <dgm:prSet presAssocID="{2C5C92CE-9F56-4D3F-BAAB-27E0BF481B0D}" presName="Name0" presStyleCnt="0">
        <dgm:presLayoutVars>
          <dgm:dir/>
          <dgm:animLvl val="lvl"/>
          <dgm:resizeHandles val="exact"/>
        </dgm:presLayoutVars>
      </dgm:prSet>
      <dgm:spPr/>
    </dgm:pt>
    <dgm:pt modelId="{7B4C2725-C195-4CD1-A0BC-02689EE66D32}" type="pres">
      <dgm:prSet presAssocID="{9608FEB4-8485-48E3-A029-8163051BD68E}" presName="composite" presStyleCnt="0"/>
      <dgm:spPr/>
    </dgm:pt>
    <dgm:pt modelId="{4BF03912-E905-49F2-9C23-5DC66A64CB6C}" type="pres">
      <dgm:prSet presAssocID="{9608FEB4-8485-48E3-A029-8163051BD68E}" presName="parTx" presStyleLbl="alignNode1" presStyleIdx="0" presStyleCnt="4">
        <dgm:presLayoutVars>
          <dgm:chMax val="0"/>
          <dgm:chPref val="0"/>
          <dgm:bulletEnabled val="1"/>
        </dgm:presLayoutVars>
      </dgm:prSet>
      <dgm:spPr/>
    </dgm:pt>
    <dgm:pt modelId="{F89E7942-348E-4721-9124-99DEB7761C11}" type="pres">
      <dgm:prSet presAssocID="{9608FEB4-8485-48E3-A029-8163051BD68E}" presName="desTx" presStyleLbl="alignAccFollowNode1" presStyleIdx="0" presStyleCnt="4">
        <dgm:presLayoutVars>
          <dgm:bulletEnabled val="1"/>
        </dgm:presLayoutVars>
      </dgm:prSet>
      <dgm:spPr/>
    </dgm:pt>
    <dgm:pt modelId="{E8128B90-5905-434D-AEFF-7466A2659FF3}" type="pres">
      <dgm:prSet presAssocID="{010D1A86-2D4D-4C64-954E-EAE4FB01E849}" presName="space" presStyleCnt="0"/>
      <dgm:spPr/>
    </dgm:pt>
    <dgm:pt modelId="{905C0860-75C9-4E2F-8882-8A0FA556CE53}" type="pres">
      <dgm:prSet presAssocID="{5CB47840-9F8A-4AF0-9E32-68A6273A883A}" presName="composite" presStyleCnt="0"/>
      <dgm:spPr/>
    </dgm:pt>
    <dgm:pt modelId="{60E3B2EE-B7F6-49A6-B030-487F37D9E050}" type="pres">
      <dgm:prSet presAssocID="{5CB47840-9F8A-4AF0-9E32-68A6273A883A}" presName="parTx" presStyleLbl="alignNode1" presStyleIdx="1" presStyleCnt="4">
        <dgm:presLayoutVars>
          <dgm:chMax val="0"/>
          <dgm:chPref val="0"/>
          <dgm:bulletEnabled val="1"/>
        </dgm:presLayoutVars>
      </dgm:prSet>
      <dgm:spPr/>
    </dgm:pt>
    <dgm:pt modelId="{94BCE50B-78B8-4B85-A72E-402D4F1BC65A}" type="pres">
      <dgm:prSet presAssocID="{5CB47840-9F8A-4AF0-9E32-68A6273A883A}" presName="desTx" presStyleLbl="alignAccFollowNode1" presStyleIdx="1" presStyleCnt="4">
        <dgm:presLayoutVars>
          <dgm:bulletEnabled val="1"/>
        </dgm:presLayoutVars>
      </dgm:prSet>
      <dgm:spPr/>
    </dgm:pt>
    <dgm:pt modelId="{77D019DB-58F2-4561-B4C3-351FA77CC6F1}" type="pres">
      <dgm:prSet presAssocID="{E3367A5C-77CC-48C3-93C6-CBCD23B2AE83}" presName="space" presStyleCnt="0"/>
      <dgm:spPr/>
    </dgm:pt>
    <dgm:pt modelId="{4BAA2D02-3956-4921-B8EE-262A3CC7E508}" type="pres">
      <dgm:prSet presAssocID="{0F17462A-33B9-4CD3-9732-5209603E89EA}" presName="composite" presStyleCnt="0"/>
      <dgm:spPr/>
    </dgm:pt>
    <dgm:pt modelId="{8683C8B2-2B92-43D8-814C-81C1329D14FD}" type="pres">
      <dgm:prSet presAssocID="{0F17462A-33B9-4CD3-9732-5209603E89EA}" presName="parTx" presStyleLbl="alignNode1" presStyleIdx="2" presStyleCnt="4">
        <dgm:presLayoutVars>
          <dgm:chMax val="0"/>
          <dgm:chPref val="0"/>
          <dgm:bulletEnabled val="1"/>
        </dgm:presLayoutVars>
      </dgm:prSet>
      <dgm:spPr/>
    </dgm:pt>
    <dgm:pt modelId="{E08FB995-D1AF-41FC-A8AE-C54A0B5B4C15}" type="pres">
      <dgm:prSet presAssocID="{0F17462A-33B9-4CD3-9732-5209603E89EA}" presName="desTx" presStyleLbl="alignAccFollowNode1" presStyleIdx="2" presStyleCnt="4">
        <dgm:presLayoutVars>
          <dgm:bulletEnabled val="1"/>
        </dgm:presLayoutVars>
      </dgm:prSet>
      <dgm:spPr/>
    </dgm:pt>
    <dgm:pt modelId="{91055653-4B78-46D2-A548-E9C14071E778}" type="pres">
      <dgm:prSet presAssocID="{30098938-90B1-4BAF-A75F-DAF2B0100E14}" presName="space" presStyleCnt="0"/>
      <dgm:spPr/>
    </dgm:pt>
    <dgm:pt modelId="{3DF74455-DDE7-4E25-8EB9-732038F1E49A}" type="pres">
      <dgm:prSet presAssocID="{7015385A-666A-4954-9667-884DDF52AF98}" presName="composite" presStyleCnt="0"/>
      <dgm:spPr/>
    </dgm:pt>
    <dgm:pt modelId="{2C5F74B1-A1F5-42E1-BE06-F78F26311B91}" type="pres">
      <dgm:prSet presAssocID="{7015385A-666A-4954-9667-884DDF52AF98}" presName="parTx" presStyleLbl="alignNode1" presStyleIdx="3" presStyleCnt="4">
        <dgm:presLayoutVars>
          <dgm:chMax val="0"/>
          <dgm:chPref val="0"/>
          <dgm:bulletEnabled val="1"/>
        </dgm:presLayoutVars>
      </dgm:prSet>
      <dgm:spPr/>
    </dgm:pt>
    <dgm:pt modelId="{D402B69A-6938-441C-BAA9-BE378D2E7EEA}" type="pres">
      <dgm:prSet presAssocID="{7015385A-666A-4954-9667-884DDF52AF98}" presName="desTx" presStyleLbl="alignAccFollowNode1" presStyleIdx="3" presStyleCnt="4">
        <dgm:presLayoutVars>
          <dgm:bulletEnabled val="1"/>
        </dgm:presLayoutVars>
      </dgm:prSet>
      <dgm:spPr/>
    </dgm:pt>
  </dgm:ptLst>
  <dgm:cxnLst>
    <dgm:cxn modelId="{439C6401-2C0C-4764-916E-5E06079B23CF}" srcId="{9608FEB4-8485-48E3-A029-8163051BD68E}" destId="{C9C06BD9-40CA-41EF-B672-E3C016E90B3F}" srcOrd="2" destOrd="0" parTransId="{C87EFCD1-E5B5-4D2F-A1F4-24C5555B0862}" sibTransId="{7B397E06-8D32-48DF-AD70-C0D79D7BE436}"/>
    <dgm:cxn modelId="{75976A01-1C41-4DDE-BC62-402683544E1E}" type="presOf" srcId="{5CB47840-9F8A-4AF0-9E32-68A6273A883A}" destId="{60E3B2EE-B7F6-49A6-B030-487F37D9E050}" srcOrd="0" destOrd="0" presId="urn:microsoft.com/office/officeart/2005/8/layout/hList1"/>
    <dgm:cxn modelId="{6CBC7902-6F06-41BF-9A15-196F4A36EFEB}" type="presOf" srcId="{459677D5-D307-4C89-8DC9-C1E04E76EE47}" destId="{E08FB995-D1AF-41FC-A8AE-C54A0B5B4C15}" srcOrd="0" destOrd="1" presId="urn:microsoft.com/office/officeart/2005/8/layout/hList1"/>
    <dgm:cxn modelId="{3BDBB80E-9F72-407D-82F2-A4C3F0F171FA}" srcId="{2C5C92CE-9F56-4D3F-BAAB-27E0BF481B0D}" destId="{0F17462A-33B9-4CD3-9732-5209603E89EA}" srcOrd="2" destOrd="0" parTransId="{F00CE067-782F-448D-819D-953D8C2772CA}" sibTransId="{30098938-90B1-4BAF-A75F-DAF2B0100E14}"/>
    <dgm:cxn modelId="{29BDC60E-2A38-4D7E-94F3-B47B8C4A0599}" srcId="{7015385A-666A-4954-9667-884DDF52AF98}" destId="{1E524A48-F2C3-4B63-9B05-96130F21E49D}" srcOrd="3" destOrd="0" parTransId="{06B05324-8833-46C5-B240-F9934E98E091}" sibTransId="{A13EE2A0-3C36-490D-900C-65C19A42233E}"/>
    <dgm:cxn modelId="{47C83A0F-D4A5-4D91-BDB1-B15942489AAF}" type="presOf" srcId="{FB9C07DD-619A-4106-8860-D9D6B782C997}" destId="{E08FB995-D1AF-41FC-A8AE-C54A0B5B4C15}" srcOrd="0" destOrd="0" presId="urn:microsoft.com/office/officeart/2005/8/layout/hList1"/>
    <dgm:cxn modelId="{09773C11-4905-4200-9CA8-9EFFED427314}" srcId="{2C5C92CE-9F56-4D3F-BAAB-27E0BF481B0D}" destId="{9608FEB4-8485-48E3-A029-8163051BD68E}" srcOrd="0" destOrd="0" parTransId="{B9AD46F7-BC97-4E76-9DA1-764548D3A48C}" sibTransId="{010D1A86-2D4D-4C64-954E-EAE4FB01E849}"/>
    <dgm:cxn modelId="{48216611-9EFA-4BCE-A294-4CE5CAD69A91}" srcId="{0F17462A-33B9-4CD3-9732-5209603E89EA}" destId="{FB9C07DD-619A-4106-8860-D9D6B782C997}" srcOrd="0" destOrd="0" parTransId="{CBDF1F68-5D24-412A-BD52-900B6B649137}" sibTransId="{D939BE4B-058C-4142-A94F-1C9786243632}"/>
    <dgm:cxn modelId="{FD989C1B-9376-49CD-A440-2484A0019997}" srcId="{5CB47840-9F8A-4AF0-9E32-68A6273A883A}" destId="{4089BDFB-B5A9-4731-B25E-396839D7BF4E}" srcOrd="2" destOrd="0" parTransId="{0087DF8E-9871-43CC-B720-BF1855914258}" sibTransId="{642E3563-116C-4394-8B69-8C18CE725E10}"/>
    <dgm:cxn modelId="{CDA0791C-958C-4183-A0E6-0577969231F1}" srcId="{0F17462A-33B9-4CD3-9732-5209603E89EA}" destId="{86E0B380-34D5-432E-AEB0-E84154C01F07}" srcOrd="3" destOrd="0" parTransId="{933684C4-8FDC-4DCC-89FD-B6EB5BA81013}" sibTransId="{CF233AFF-A46C-4ED3-8867-30388A530668}"/>
    <dgm:cxn modelId="{1D291720-23C2-4C66-BD83-7C9D5D3E987A}" srcId="{9608FEB4-8485-48E3-A029-8163051BD68E}" destId="{26657A47-8492-435E-B341-3F4DD27FCD81}" srcOrd="1" destOrd="0" parTransId="{23A2F1ED-4C81-4608-8195-3220B5CE86C8}" sibTransId="{5EA640D1-D93E-4860-AA84-5F4494B103B1}"/>
    <dgm:cxn modelId="{33EA2226-4A90-448F-8442-BEB3DF34119A}" srcId="{7015385A-666A-4954-9667-884DDF52AF98}" destId="{AB291D6B-8175-4182-9C27-5DD00DE1BDB2}" srcOrd="2" destOrd="0" parTransId="{DA55F05D-36BE-4F83-8EBF-93B0092EC2B8}" sibTransId="{4554948D-7FBB-4BE4-B775-4AAE87230634}"/>
    <dgm:cxn modelId="{B0F7A32A-E76C-4096-9BA5-E7936A0B8063}" srcId="{0F17462A-33B9-4CD3-9732-5209603E89EA}" destId="{5199DEB9-A604-44D2-88CC-FEC353B2BE3D}" srcOrd="2" destOrd="0" parTransId="{C7667464-E3CA-47A1-8A34-42A10B68AA00}" sibTransId="{3C2A416E-796D-49AF-A778-1B57FAB92329}"/>
    <dgm:cxn modelId="{14AEFB2A-8CFD-4157-A424-5C73B7251299}" type="presOf" srcId="{1E524A48-F2C3-4B63-9B05-96130F21E49D}" destId="{D402B69A-6938-441C-BAA9-BE378D2E7EEA}" srcOrd="0" destOrd="3" presId="urn:microsoft.com/office/officeart/2005/8/layout/hList1"/>
    <dgm:cxn modelId="{2EC3573B-CCBE-4FDA-BCA5-DEF8DCB1A711}" type="presOf" srcId="{88E53BF0-D4AA-4426-AF1A-FF554FE9493E}" destId="{94BCE50B-78B8-4B85-A72E-402D4F1BC65A}" srcOrd="0" destOrd="0" presId="urn:microsoft.com/office/officeart/2005/8/layout/hList1"/>
    <dgm:cxn modelId="{80DBA85B-F214-4C82-8E66-0CF4C9EF366C}" srcId="{5CB47840-9F8A-4AF0-9E32-68A6273A883A}" destId="{9E6DD47D-98F5-4E42-B4B1-1996F748CD00}" srcOrd="1" destOrd="0" parTransId="{94BFF0F8-5CD5-4C5E-BCCF-849A4C57A606}" sibTransId="{54A391E5-D148-422F-A0CF-3476E14612BF}"/>
    <dgm:cxn modelId="{F092655D-D1A6-44D0-A2B1-73554B8CCCFC}" srcId="{9608FEB4-8485-48E3-A029-8163051BD68E}" destId="{5F25F1A2-7029-4F25-9EC6-2F6ED647396D}" srcOrd="0" destOrd="0" parTransId="{172D4442-A9A2-452A-AEDE-B77C5325BC5F}" sibTransId="{B5333DAC-1ED7-46A6-BBFC-A22CF8F127BB}"/>
    <dgm:cxn modelId="{46737C45-CB95-4C67-B5A1-E8E715A4FCAE}" type="presOf" srcId="{7015385A-666A-4954-9667-884DDF52AF98}" destId="{2C5F74B1-A1F5-42E1-BE06-F78F26311B91}" srcOrd="0" destOrd="0" presId="urn:microsoft.com/office/officeart/2005/8/layout/hList1"/>
    <dgm:cxn modelId="{4572DD4C-2F9A-4DCC-8648-DC45020BE450}" type="presOf" srcId="{FCCCAD4D-9FCE-466E-B3B3-DCA3F75D7252}" destId="{F89E7942-348E-4721-9124-99DEB7761C11}" srcOrd="0" destOrd="3" presId="urn:microsoft.com/office/officeart/2005/8/layout/hList1"/>
    <dgm:cxn modelId="{7C251850-1D0D-42B4-9007-AB2023E57D61}" type="presOf" srcId="{5199DEB9-A604-44D2-88CC-FEC353B2BE3D}" destId="{E08FB995-D1AF-41FC-A8AE-C54A0B5B4C15}" srcOrd="0" destOrd="2" presId="urn:microsoft.com/office/officeart/2005/8/layout/hList1"/>
    <dgm:cxn modelId="{7C55B770-E4B7-4918-B632-98ECD41BF0AA}" type="presOf" srcId="{5F25F1A2-7029-4F25-9EC6-2F6ED647396D}" destId="{F89E7942-348E-4721-9124-99DEB7761C11}" srcOrd="0" destOrd="0" presId="urn:microsoft.com/office/officeart/2005/8/layout/hList1"/>
    <dgm:cxn modelId="{78D49B71-9C99-470F-9305-AE54A42C49F2}" srcId="{9608FEB4-8485-48E3-A029-8163051BD68E}" destId="{95B8EC39-96A5-4B23-A3A7-F66503539660}" srcOrd="4" destOrd="0" parTransId="{B2FF8931-E740-490D-A5DB-28BF7CC6275A}" sibTransId="{BDFE3ECB-6A63-485E-9F1C-3932F659AD02}"/>
    <dgm:cxn modelId="{A7DC8C73-47B0-470C-947D-D778B6724F15}" type="presOf" srcId="{26657A47-8492-435E-B341-3F4DD27FCD81}" destId="{F89E7942-348E-4721-9124-99DEB7761C11}" srcOrd="0" destOrd="1" presId="urn:microsoft.com/office/officeart/2005/8/layout/hList1"/>
    <dgm:cxn modelId="{C767F357-B613-4F4A-AA1A-BC96032EDDD7}" srcId="{7015385A-666A-4954-9667-884DDF52AF98}" destId="{E146DD7B-4AD2-496F-A995-E09878066B0B}" srcOrd="1" destOrd="0" parTransId="{B5532854-531E-4289-AA3D-2EB4B98D0F1D}" sibTransId="{B34A4592-3FF4-4D8E-A9B0-D6616CA002CB}"/>
    <dgm:cxn modelId="{130A287A-5C48-44D9-B957-5D7CD3200A62}" srcId="{0F17462A-33B9-4CD3-9732-5209603E89EA}" destId="{459677D5-D307-4C89-8DC9-C1E04E76EE47}" srcOrd="1" destOrd="0" parTransId="{57F991A2-D4E9-457C-8C04-FDDB7BFDD042}" sibTransId="{194C36ED-3C6A-4DF2-A555-2AA779CD71B2}"/>
    <dgm:cxn modelId="{49471F85-B77D-48F1-937D-898DCF9CFB85}" type="presOf" srcId="{9E6DD47D-98F5-4E42-B4B1-1996F748CD00}" destId="{94BCE50B-78B8-4B85-A72E-402D4F1BC65A}" srcOrd="0" destOrd="1" presId="urn:microsoft.com/office/officeart/2005/8/layout/hList1"/>
    <dgm:cxn modelId="{2FF0828D-D36F-4E8F-A785-6FFFB21770DE}" type="presOf" srcId="{95B8EC39-96A5-4B23-A3A7-F66503539660}" destId="{F89E7942-348E-4721-9124-99DEB7761C11}" srcOrd="0" destOrd="4" presId="urn:microsoft.com/office/officeart/2005/8/layout/hList1"/>
    <dgm:cxn modelId="{F9CABD92-3773-460E-9DE9-287BAD8711B0}" srcId="{2C5C92CE-9F56-4D3F-BAAB-27E0BF481B0D}" destId="{7015385A-666A-4954-9667-884DDF52AF98}" srcOrd="3" destOrd="0" parTransId="{1AF9763A-B1F2-46BB-A809-A21A8D7DB046}" sibTransId="{D4A47758-F2D1-4698-8063-1A8C480C8C67}"/>
    <dgm:cxn modelId="{65D2EA96-E6DC-48BF-9E28-A61D0352A5DF}" type="presOf" srcId="{5A8AF1AF-EE5B-44FA-8845-05C840FAB00A}" destId="{D402B69A-6938-441C-BAA9-BE378D2E7EEA}" srcOrd="0" destOrd="0" presId="urn:microsoft.com/office/officeart/2005/8/layout/hList1"/>
    <dgm:cxn modelId="{945A199E-4D27-437A-8624-5C5DA8AEAD65}" srcId="{2C5C92CE-9F56-4D3F-BAAB-27E0BF481B0D}" destId="{5CB47840-9F8A-4AF0-9E32-68A6273A883A}" srcOrd="1" destOrd="0" parTransId="{6C03DF6B-F01D-40B4-8F5C-E190E6BC92C5}" sibTransId="{E3367A5C-77CC-48C3-93C6-CBCD23B2AE83}"/>
    <dgm:cxn modelId="{E83212AC-DA56-43A1-9BC3-54189D9586D6}" type="presOf" srcId="{4089BDFB-B5A9-4731-B25E-396839D7BF4E}" destId="{94BCE50B-78B8-4B85-A72E-402D4F1BC65A}" srcOrd="0" destOrd="2" presId="urn:microsoft.com/office/officeart/2005/8/layout/hList1"/>
    <dgm:cxn modelId="{A5DDEBAC-2921-4E1C-B637-070DD15484A1}" type="presOf" srcId="{E146DD7B-4AD2-496F-A995-E09878066B0B}" destId="{D402B69A-6938-441C-BAA9-BE378D2E7EEA}" srcOrd="0" destOrd="1" presId="urn:microsoft.com/office/officeart/2005/8/layout/hList1"/>
    <dgm:cxn modelId="{6A4092B0-B1CF-41A3-B1CB-8C1D4932D8DB}" type="presOf" srcId="{9608FEB4-8485-48E3-A029-8163051BD68E}" destId="{4BF03912-E905-49F2-9C23-5DC66A64CB6C}" srcOrd="0" destOrd="0" presId="urn:microsoft.com/office/officeart/2005/8/layout/hList1"/>
    <dgm:cxn modelId="{7103F4B4-F53D-41F5-BFD5-D487BD36A158}" srcId="{7015385A-666A-4954-9667-884DDF52AF98}" destId="{5A8AF1AF-EE5B-44FA-8845-05C840FAB00A}" srcOrd="0" destOrd="0" parTransId="{349BF3F0-1F18-479B-BD82-A1491B7B0F66}" sibTransId="{E8908655-9475-4261-BCAF-44993EC2DE39}"/>
    <dgm:cxn modelId="{4C21B2B9-4CD5-465B-A0D7-9759225B8BC3}" type="presOf" srcId="{93151FFB-CE48-47C5-AB39-1ED7BDBD11F3}" destId="{E08FB995-D1AF-41FC-A8AE-C54A0B5B4C15}" srcOrd="0" destOrd="4" presId="urn:microsoft.com/office/officeart/2005/8/layout/hList1"/>
    <dgm:cxn modelId="{C38134BD-32B2-406B-BD84-677016203487}" srcId="{9608FEB4-8485-48E3-A029-8163051BD68E}" destId="{FCCCAD4D-9FCE-466E-B3B3-DCA3F75D7252}" srcOrd="3" destOrd="0" parTransId="{F82EE878-59A6-43B1-868D-6436DD589914}" sibTransId="{4AC9D86E-93EA-469B-97B7-6825949E41FA}"/>
    <dgm:cxn modelId="{962C1CBE-D2A4-433E-97DD-92665BEE389A}" type="presOf" srcId="{2C5C92CE-9F56-4D3F-BAAB-27E0BF481B0D}" destId="{7334917F-55CA-4451-837A-9505784826BA}" srcOrd="0" destOrd="0" presId="urn:microsoft.com/office/officeart/2005/8/layout/hList1"/>
    <dgm:cxn modelId="{E2FE8CC1-0300-494E-954B-B1AF61040A38}" type="presOf" srcId="{86E0B380-34D5-432E-AEB0-E84154C01F07}" destId="{E08FB995-D1AF-41FC-A8AE-C54A0B5B4C15}" srcOrd="0" destOrd="3" presId="urn:microsoft.com/office/officeart/2005/8/layout/hList1"/>
    <dgm:cxn modelId="{6E4B5AD2-C294-4A5D-AC15-052D13E7AC95}" srcId="{0F17462A-33B9-4CD3-9732-5209603E89EA}" destId="{93151FFB-CE48-47C5-AB39-1ED7BDBD11F3}" srcOrd="4" destOrd="0" parTransId="{9E3E99F2-5927-4673-AD4D-AD3DF657AE67}" sibTransId="{4A4E3AE3-4116-42FD-9755-69B757B3B5F4}"/>
    <dgm:cxn modelId="{39F621E3-37DA-4F9B-A799-013EF178F02C}" type="presOf" srcId="{C9C06BD9-40CA-41EF-B672-E3C016E90B3F}" destId="{F89E7942-348E-4721-9124-99DEB7761C11}" srcOrd="0" destOrd="2" presId="urn:microsoft.com/office/officeart/2005/8/layout/hList1"/>
    <dgm:cxn modelId="{BDC71BEA-B850-49C2-9164-4CFBB7A3A046}" type="presOf" srcId="{0F17462A-33B9-4CD3-9732-5209603E89EA}" destId="{8683C8B2-2B92-43D8-814C-81C1329D14FD}" srcOrd="0" destOrd="0" presId="urn:microsoft.com/office/officeart/2005/8/layout/hList1"/>
    <dgm:cxn modelId="{56E377F6-C501-4050-BE4E-70C51E135EDC}" type="presOf" srcId="{AB291D6B-8175-4182-9C27-5DD00DE1BDB2}" destId="{D402B69A-6938-441C-BAA9-BE378D2E7EEA}" srcOrd="0" destOrd="2" presId="urn:microsoft.com/office/officeart/2005/8/layout/hList1"/>
    <dgm:cxn modelId="{B4BD96FB-6E1E-4D40-A0FF-A86748C4B5F2}" srcId="{5CB47840-9F8A-4AF0-9E32-68A6273A883A}" destId="{88E53BF0-D4AA-4426-AF1A-FF554FE9493E}" srcOrd="0" destOrd="0" parTransId="{784518D2-4709-479D-8CC4-35524FA041F2}" sibTransId="{EEE9B67D-6AC2-46FE-9309-E872306E310E}"/>
    <dgm:cxn modelId="{F0196D75-4C94-447D-A310-0CB3ACB92AA6}" type="presParOf" srcId="{7334917F-55CA-4451-837A-9505784826BA}" destId="{7B4C2725-C195-4CD1-A0BC-02689EE66D32}" srcOrd="0" destOrd="0" presId="urn:microsoft.com/office/officeart/2005/8/layout/hList1"/>
    <dgm:cxn modelId="{68221E16-7BB0-4153-A401-35CBB6F71501}" type="presParOf" srcId="{7B4C2725-C195-4CD1-A0BC-02689EE66D32}" destId="{4BF03912-E905-49F2-9C23-5DC66A64CB6C}" srcOrd="0" destOrd="0" presId="urn:microsoft.com/office/officeart/2005/8/layout/hList1"/>
    <dgm:cxn modelId="{29FAE1C4-2CAB-4FAE-8201-F23DA05C88E6}" type="presParOf" srcId="{7B4C2725-C195-4CD1-A0BC-02689EE66D32}" destId="{F89E7942-348E-4721-9124-99DEB7761C11}" srcOrd="1" destOrd="0" presId="urn:microsoft.com/office/officeart/2005/8/layout/hList1"/>
    <dgm:cxn modelId="{6D48C6E3-ABA5-43BC-8C8A-DC40335EDBB2}" type="presParOf" srcId="{7334917F-55CA-4451-837A-9505784826BA}" destId="{E8128B90-5905-434D-AEFF-7466A2659FF3}" srcOrd="1" destOrd="0" presId="urn:microsoft.com/office/officeart/2005/8/layout/hList1"/>
    <dgm:cxn modelId="{69D42E87-F06E-42AF-8A66-A366D6846452}" type="presParOf" srcId="{7334917F-55CA-4451-837A-9505784826BA}" destId="{905C0860-75C9-4E2F-8882-8A0FA556CE53}" srcOrd="2" destOrd="0" presId="urn:microsoft.com/office/officeart/2005/8/layout/hList1"/>
    <dgm:cxn modelId="{05CE39FF-6049-43F4-9976-7BF18B944797}" type="presParOf" srcId="{905C0860-75C9-4E2F-8882-8A0FA556CE53}" destId="{60E3B2EE-B7F6-49A6-B030-487F37D9E050}" srcOrd="0" destOrd="0" presId="urn:microsoft.com/office/officeart/2005/8/layout/hList1"/>
    <dgm:cxn modelId="{DD591447-9315-436B-83A2-A751E0E35A9B}" type="presParOf" srcId="{905C0860-75C9-4E2F-8882-8A0FA556CE53}" destId="{94BCE50B-78B8-4B85-A72E-402D4F1BC65A}" srcOrd="1" destOrd="0" presId="urn:microsoft.com/office/officeart/2005/8/layout/hList1"/>
    <dgm:cxn modelId="{DEFFDCBF-686D-4C18-A4CE-8867E74CC50E}" type="presParOf" srcId="{7334917F-55CA-4451-837A-9505784826BA}" destId="{77D019DB-58F2-4561-B4C3-351FA77CC6F1}" srcOrd="3" destOrd="0" presId="urn:microsoft.com/office/officeart/2005/8/layout/hList1"/>
    <dgm:cxn modelId="{2723AFCD-D871-4699-A0E6-98AC459DD32E}" type="presParOf" srcId="{7334917F-55CA-4451-837A-9505784826BA}" destId="{4BAA2D02-3956-4921-B8EE-262A3CC7E508}" srcOrd="4" destOrd="0" presId="urn:microsoft.com/office/officeart/2005/8/layout/hList1"/>
    <dgm:cxn modelId="{396636A3-CF9E-4C07-BB15-F5F1CBDA5307}" type="presParOf" srcId="{4BAA2D02-3956-4921-B8EE-262A3CC7E508}" destId="{8683C8B2-2B92-43D8-814C-81C1329D14FD}" srcOrd="0" destOrd="0" presId="urn:microsoft.com/office/officeart/2005/8/layout/hList1"/>
    <dgm:cxn modelId="{6C9113A0-4532-4586-840B-DE8E9BC6137F}" type="presParOf" srcId="{4BAA2D02-3956-4921-B8EE-262A3CC7E508}" destId="{E08FB995-D1AF-41FC-A8AE-C54A0B5B4C15}" srcOrd="1" destOrd="0" presId="urn:microsoft.com/office/officeart/2005/8/layout/hList1"/>
    <dgm:cxn modelId="{14D42B67-F5D8-4A2E-9B9A-DEEA60DA5580}" type="presParOf" srcId="{7334917F-55CA-4451-837A-9505784826BA}" destId="{91055653-4B78-46D2-A548-E9C14071E778}" srcOrd="5" destOrd="0" presId="urn:microsoft.com/office/officeart/2005/8/layout/hList1"/>
    <dgm:cxn modelId="{EAEC54E8-DE31-4C1E-AA4D-502AB7DC0334}" type="presParOf" srcId="{7334917F-55CA-4451-837A-9505784826BA}" destId="{3DF74455-DDE7-4E25-8EB9-732038F1E49A}" srcOrd="6" destOrd="0" presId="urn:microsoft.com/office/officeart/2005/8/layout/hList1"/>
    <dgm:cxn modelId="{CFAC39D7-626D-4184-A19E-302881EB96BC}" type="presParOf" srcId="{3DF74455-DDE7-4E25-8EB9-732038F1E49A}" destId="{2C5F74B1-A1F5-42E1-BE06-F78F26311B91}" srcOrd="0" destOrd="0" presId="urn:microsoft.com/office/officeart/2005/8/layout/hList1"/>
    <dgm:cxn modelId="{1D5E06AB-20CB-487A-B8C5-53246B5A70F9}" type="presParOf" srcId="{3DF74455-DDE7-4E25-8EB9-732038F1E49A}" destId="{D402B69A-6938-441C-BAA9-BE378D2E7EE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3AD774-67EC-49E9-92C0-B0300EDDB0F4}">
      <dsp:nvSpPr>
        <dsp:cNvPr id="0" name=""/>
        <dsp:cNvSpPr/>
      </dsp:nvSpPr>
      <dsp:spPr>
        <a:xfrm>
          <a:off x="2918" y="1735242"/>
          <a:ext cx="718610" cy="28744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Sep</a:t>
          </a:r>
          <a:endParaRPr lang="en-US" sz="1500" kern="1200" dirty="0"/>
        </a:p>
      </dsp:txBody>
      <dsp:txXfrm>
        <a:off x="146640" y="1735242"/>
        <a:ext cx="431166" cy="287444"/>
      </dsp:txXfrm>
    </dsp:sp>
    <dsp:sp modelId="{95E6D771-F3F6-453B-A2F8-F38BFE2BAE4F}">
      <dsp:nvSpPr>
        <dsp:cNvPr id="0" name=""/>
        <dsp:cNvSpPr/>
      </dsp:nvSpPr>
      <dsp:spPr>
        <a:xfrm>
          <a:off x="649668" y="1735242"/>
          <a:ext cx="718610" cy="28744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Oct</a:t>
          </a:r>
          <a:endParaRPr lang="en-US" sz="1500" kern="1200" dirty="0"/>
        </a:p>
      </dsp:txBody>
      <dsp:txXfrm>
        <a:off x="793390" y="1735242"/>
        <a:ext cx="431166" cy="287444"/>
      </dsp:txXfrm>
    </dsp:sp>
    <dsp:sp modelId="{D4F8A92A-7CEE-4B86-A304-46195BD686B7}">
      <dsp:nvSpPr>
        <dsp:cNvPr id="0" name=""/>
        <dsp:cNvSpPr/>
      </dsp:nvSpPr>
      <dsp:spPr>
        <a:xfrm>
          <a:off x="1296417" y="1735242"/>
          <a:ext cx="718610" cy="28744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Nov</a:t>
          </a:r>
          <a:endParaRPr lang="en-US" sz="1500" kern="1200" dirty="0"/>
        </a:p>
      </dsp:txBody>
      <dsp:txXfrm>
        <a:off x="1440139" y="1735242"/>
        <a:ext cx="431166" cy="287444"/>
      </dsp:txXfrm>
    </dsp:sp>
    <dsp:sp modelId="{39247C8B-1D02-497F-BE4A-B7D5A9882E22}">
      <dsp:nvSpPr>
        <dsp:cNvPr id="0" name=""/>
        <dsp:cNvSpPr/>
      </dsp:nvSpPr>
      <dsp:spPr>
        <a:xfrm>
          <a:off x="1943167" y="1735242"/>
          <a:ext cx="718610" cy="28744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Dec</a:t>
          </a:r>
          <a:endParaRPr lang="en-US" sz="1500" kern="1200" dirty="0"/>
        </a:p>
      </dsp:txBody>
      <dsp:txXfrm>
        <a:off x="2086889" y="1735242"/>
        <a:ext cx="431166" cy="287444"/>
      </dsp:txXfrm>
    </dsp:sp>
    <dsp:sp modelId="{989E96BD-2EDE-49C5-AE42-1CBDF91C6380}">
      <dsp:nvSpPr>
        <dsp:cNvPr id="0" name=""/>
        <dsp:cNvSpPr/>
      </dsp:nvSpPr>
      <dsp:spPr>
        <a:xfrm>
          <a:off x="2589917" y="1735242"/>
          <a:ext cx="718610" cy="28744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Jan</a:t>
          </a:r>
          <a:endParaRPr lang="en-US" sz="1500" kern="1200" dirty="0"/>
        </a:p>
      </dsp:txBody>
      <dsp:txXfrm>
        <a:off x="2733639" y="1735242"/>
        <a:ext cx="431166" cy="287444"/>
      </dsp:txXfrm>
    </dsp:sp>
    <dsp:sp modelId="{72E5FD1A-6C37-49A3-B7FF-59C5FE6BCC78}">
      <dsp:nvSpPr>
        <dsp:cNvPr id="0" name=""/>
        <dsp:cNvSpPr/>
      </dsp:nvSpPr>
      <dsp:spPr>
        <a:xfrm>
          <a:off x="3236666" y="1735242"/>
          <a:ext cx="718610" cy="28744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Feb</a:t>
          </a:r>
          <a:endParaRPr lang="en-US" sz="1500" kern="1200" dirty="0"/>
        </a:p>
      </dsp:txBody>
      <dsp:txXfrm>
        <a:off x="3380388" y="1735242"/>
        <a:ext cx="431166" cy="287444"/>
      </dsp:txXfrm>
    </dsp:sp>
    <dsp:sp modelId="{806DEDC0-F7DE-4DD9-83AF-F3203EB86BF6}">
      <dsp:nvSpPr>
        <dsp:cNvPr id="0" name=""/>
        <dsp:cNvSpPr/>
      </dsp:nvSpPr>
      <dsp:spPr>
        <a:xfrm>
          <a:off x="3883416" y="1735242"/>
          <a:ext cx="718610" cy="28744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Mar</a:t>
          </a:r>
          <a:endParaRPr lang="en-US" sz="1500" kern="1200" dirty="0"/>
        </a:p>
      </dsp:txBody>
      <dsp:txXfrm>
        <a:off x="4027138" y="1735242"/>
        <a:ext cx="431166" cy="287444"/>
      </dsp:txXfrm>
    </dsp:sp>
    <dsp:sp modelId="{7266B989-C7CB-4BEF-BB11-FDA7E8B01607}">
      <dsp:nvSpPr>
        <dsp:cNvPr id="0" name=""/>
        <dsp:cNvSpPr/>
      </dsp:nvSpPr>
      <dsp:spPr>
        <a:xfrm>
          <a:off x="4530166" y="1735242"/>
          <a:ext cx="718610" cy="28744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Apr</a:t>
          </a:r>
          <a:endParaRPr lang="en-US" sz="1500" kern="1200" dirty="0"/>
        </a:p>
      </dsp:txBody>
      <dsp:txXfrm>
        <a:off x="4673888" y="1735242"/>
        <a:ext cx="431166" cy="287444"/>
      </dsp:txXfrm>
    </dsp:sp>
    <dsp:sp modelId="{1EE8F8F1-40E5-481A-A740-24DA625336FE}">
      <dsp:nvSpPr>
        <dsp:cNvPr id="0" name=""/>
        <dsp:cNvSpPr/>
      </dsp:nvSpPr>
      <dsp:spPr>
        <a:xfrm>
          <a:off x="5176915" y="1735242"/>
          <a:ext cx="718610" cy="28744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May</a:t>
          </a:r>
          <a:endParaRPr lang="en-US" sz="1500" kern="1200" dirty="0"/>
        </a:p>
      </dsp:txBody>
      <dsp:txXfrm>
        <a:off x="5320637" y="1735242"/>
        <a:ext cx="431166" cy="287444"/>
      </dsp:txXfrm>
    </dsp:sp>
    <dsp:sp modelId="{44B1D093-2777-447D-8401-CBA9EA5CBCDC}">
      <dsp:nvSpPr>
        <dsp:cNvPr id="0" name=""/>
        <dsp:cNvSpPr/>
      </dsp:nvSpPr>
      <dsp:spPr>
        <a:xfrm>
          <a:off x="5823665" y="1735242"/>
          <a:ext cx="718610" cy="28744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Jun</a:t>
          </a:r>
          <a:endParaRPr lang="en-US" sz="1500" kern="1200" dirty="0"/>
        </a:p>
      </dsp:txBody>
      <dsp:txXfrm>
        <a:off x="5967387" y="1735242"/>
        <a:ext cx="431166" cy="287444"/>
      </dsp:txXfrm>
    </dsp:sp>
    <dsp:sp modelId="{3C374F6C-86D0-48E2-8B28-69DD3B043815}">
      <dsp:nvSpPr>
        <dsp:cNvPr id="0" name=""/>
        <dsp:cNvSpPr/>
      </dsp:nvSpPr>
      <dsp:spPr>
        <a:xfrm>
          <a:off x="6470415" y="1735242"/>
          <a:ext cx="718610" cy="28744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Jul</a:t>
          </a:r>
          <a:endParaRPr lang="en-US" sz="1500" kern="1200" dirty="0"/>
        </a:p>
      </dsp:txBody>
      <dsp:txXfrm>
        <a:off x="6614137" y="1735242"/>
        <a:ext cx="431166" cy="287444"/>
      </dsp:txXfrm>
    </dsp:sp>
    <dsp:sp modelId="{D229DD65-A7C7-42C3-9C70-DA80AB470861}">
      <dsp:nvSpPr>
        <dsp:cNvPr id="0" name=""/>
        <dsp:cNvSpPr/>
      </dsp:nvSpPr>
      <dsp:spPr>
        <a:xfrm>
          <a:off x="7117164" y="1735242"/>
          <a:ext cx="718610" cy="287444"/>
        </a:xfrm>
        <a:prstGeom prst="chevr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Aug</a:t>
          </a:r>
          <a:endParaRPr lang="en-US" sz="1500" kern="1200" dirty="0"/>
        </a:p>
      </dsp:txBody>
      <dsp:txXfrm>
        <a:off x="7260886" y="1735242"/>
        <a:ext cx="431166" cy="2874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F1CCA7-5E29-4B42-BC0E-E02799ADB662}">
      <dsp:nvSpPr>
        <dsp:cNvPr id="0" name=""/>
        <dsp:cNvSpPr/>
      </dsp:nvSpPr>
      <dsp:spPr>
        <a:xfrm rot="5400000">
          <a:off x="-193920" y="195385"/>
          <a:ext cx="1292804" cy="904963"/>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Step 1</a:t>
          </a:r>
        </a:p>
      </dsp:txBody>
      <dsp:txXfrm rot="-5400000">
        <a:off x="1" y="453947"/>
        <a:ext cx="904963" cy="387841"/>
      </dsp:txXfrm>
    </dsp:sp>
    <dsp:sp modelId="{5AFE53B8-3E7B-4967-8C1B-2D5C43CF25FD}">
      <dsp:nvSpPr>
        <dsp:cNvPr id="0" name=""/>
        <dsp:cNvSpPr/>
      </dsp:nvSpPr>
      <dsp:spPr>
        <a:xfrm rot="5400000">
          <a:off x="4291781" y="-3385353"/>
          <a:ext cx="840323" cy="76139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GB" sz="1800" kern="1200" dirty="0">
              <a:solidFill>
                <a:schemeClr val="tx2"/>
              </a:solidFill>
            </a:rPr>
            <a:t>Identified open-access articles with an accompanying PLS published in Adis journals between January 2018 and March 2021 (n=50)</a:t>
          </a:r>
          <a:endParaRPr lang="en-US" sz="1800" kern="1200" dirty="0"/>
        </a:p>
      </dsp:txBody>
      <dsp:txXfrm rot="-5400000">
        <a:off x="904964" y="42485"/>
        <a:ext cx="7572937" cy="758281"/>
      </dsp:txXfrm>
    </dsp:sp>
    <dsp:sp modelId="{C4CA0B08-A66A-49F9-B524-6E37D4B93416}">
      <dsp:nvSpPr>
        <dsp:cNvPr id="0" name=""/>
        <dsp:cNvSpPr/>
      </dsp:nvSpPr>
      <dsp:spPr>
        <a:xfrm rot="5400000">
          <a:off x="-193920" y="1289402"/>
          <a:ext cx="1292804" cy="904963"/>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Step 2</a:t>
          </a:r>
        </a:p>
      </dsp:txBody>
      <dsp:txXfrm rot="-5400000">
        <a:off x="1" y="1547964"/>
        <a:ext cx="904963" cy="387841"/>
      </dsp:txXfrm>
    </dsp:sp>
    <dsp:sp modelId="{DF7B6A68-7FFE-4F8C-AD78-D903CC6C9824}">
      <dsp:nvSpPr>
        <dsp:cNvPr id="0" name=""/>
        <dsp:cNvSpPr/>
      </dsp:nvSpPr>
      <dsp:spPr>
        <a:xfrm rot="5400000">
          <a:off x="4291781" y="-2291335"/>
          <a:ext cx="840323" cy="76139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GB" sz="1800" kern="1200" dirty="0">
              <a:solidFill>
                <a:schemeClr val="tx2"/>
              </a:solidFill>
            </a:rPr>
            <a:t>Compared each with a similar open-access article published </a:t>
          </a:r>
          <a:r>
            <a:rPr lang="en-GB" sz="1800" i="1" kern="1200" dirty="0">
              <a:solidFill>
                <a:schemeClr val="tx2"/>
              </a:solidFill>
            </a:rPr>
            <a:t>without</a:t>
          </a:r>
          <a:r>
            <a:rPr lang="en-GB" sz="1800" kern="1200" dirty="0">
              <a:solidFill>
                <a:schemeClr val="tx2"/>
              </a:solidFill>
            </a:rPr>
            <a:t> PLS </a:t>
          </a:r>
          <a:endParaRPr lang="en-US" sz="1800" kern="1200" dirty="0"/>
        </a:p>
      </dsp:txBody>
      <dsp:txXfrm rot="-5400000">
        <a:off x="904964" y="1136503"/>
        <a:ext cx="7572937" cy="758281"/>
      </dsp:txXfrm>
    </dsp:sp>
    <dsp:sp modelId="{555F7869-C264-4A09-A92A-75CFE39818A9}">
      <dsp:nvSpPr>
        <dsp:cNvPr id="0" name=""/>
        <dsp:cNvSpPr/>
      </dsp:nvSpPr>
      <dsp:spPr>
        <a:xfrm rot="5400000">
          <a:off x="-193920" y="2383420"/>
          <a:ext cx="1292804" cy="904963"/>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Step 3</a:t>
          </a:r>
        </a:p>
      </dsp:txBody>
      <dsp:txXfrm rot="-5400000">
        <a:off x="1" y="2641982"/>
        <a:ext cx="904963" cy="387841"/>
      </dsp:txXfrm>
    </dsp:sp>
    <dsp:sp modelId="{1B798225-27CA-4449-B622-8093346B8A64}">
      <dsp:nvSpPr>
        <dsp:cNvPr id="0" name=""/>
        <dsp:cNvSpPr/>
      </dsp:nvSpPr>
      <dsp:spPr>
        <a:xfrm rot="5400000">
          <a:off x="4291781" y="-1197318"/>
          <a:ext cx="840323" cy="7613958"/>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en-GB" sz="1800" kern="1200" dirty="0">
              <a:solidFill>
                <a:schemeClr val="tx2"/>
              </a:solidFill>
            </a:rPr>
            <a:t>Calculated average number of accesses per month for each article, and arbitrarily defined a significant difference as having 25% more (or fewer) accesses, on average, per month</a:t>
          </a:r>
          <a:endParaRPr lang="en-US" sz="1800" kern="1200" dirty="0"/>
        </a:p>
      </dsp:txBody>
      <dsp:txXfrm rot="-5400000">
        <a:off x="904964" y="2230520"/>
        <a:ext cx="7572937" cy="75828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F03912-E905-49F2-9C23-5DC66A64CB6C}">
      <dsp:nvSpPr>
        <dsp:cNvPr id="0" name=""/>
        <dsp:cNvSpPr/>
      </dsp:nvSpPr>
      <dsp:spPr>
        <a:xfrm>
          <a:off x="3202" y="438234"/>
          <a:ext cx="1925908" cy="5760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dirty="0"/>
            <a:t>Format</a:t>
          </a:r>
        </a:p>
      </dsp:txBody>
      <dsp:txXfrm>
        <a:off x="3202" y="438234"/>
        <a:ext cx="1925908" cy="576000"/>
      </dsp:txXfrm>
    </dsp:sp>
    <dsp:sp modelId="{F89E7942-348E-4721-9124-99DEB7761C11}">
      <dsp:nvSpPr>
        <dsp:cNvPr id="0" name=""/>
        <dsp:cNvSpPr/>
      </dsp:nvSpPr>
      <dsp:spPr>
        <a:xfrm>
          <a:off x="3202" y="1014234"/>
          <a:ext cx="1925908" cy="20312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Text</a:t>
          </a:r>
        </a:p>
        <a:p>
          <a:pPr marL="228600" lvl="1" indent="-228600" algn="l" defTabSz="889000">
            <a:lnSpc>
              <a:spcPct val="90000"/>
            </a:lnSpc>
            <a:spcBef>
              <a:spcPct val="0"/>
            </a:spcBef>
            <a:spcAft>
              <a:spcPct val="15000"/>
            </a:spcAft>
            <a:buChar char="•"/>
          </a:pPr>
          <a:r>
            <a:rPr lang="en-US" sz="2000" kern="1200" dirty="0"/>
            <a:t>Graphical</a:t>
          </a:r>
        </a:p>
        <a:p>
          <a:pPr marL="228600" lvl="1" indent="-228600" algn="l" defTabSz="889000">
            <a:lnSpc>
              <a:spcPct val="90000"/>
            </a:lnSpc>
            <a:spcBef>
              <a:spcPct val="0"/>
            </a:spcBef>
            <a:spcAft>
              <a:spcPct val="15000"/>
            </a:spcAft>
            <a:buChar char="•"/>
          </a:pPr>
          <a:r>
            <a:rPr lang="en-US" sz="2000" kern="1200" dirty="0"/>
            <a:t>Audio</a:t>
          </a:r>
        </a:p>
        <a:p>
          <a:pPr marL="228600" lvl="1" indent="-228600" algn="l" defTabSz="889000">
            <a:lnSpc>
              <a:spcPct val="90000"/>
            </a:lnSpc>
            <a:spcBef>
              <a:spcPct val="0"/>
            </a:spcBef>
            <a:spcAft>
              <a:spcPct val="15000"/>
            </a:spcAft>
            <a:buChar char="•"/>
          </a:pPr>
          <a:r>
            <a:rPr lang="en-US" sz="2000" kern="1200" dirty="0"/>
            <a:t>Slides</a:t>
          </a:r>
        </a:p>
        <a:p>
          <a:pPr marL="228600" lvl="1" indent="-228600" algn="l" defTabSz="889000">
            <a:lnSpc>
              <a:spcPct val="90000"/>
            </a:lnSpc>
            <a:spcBef>
              <a:spcPct val="0"/>
            </a:spcBef>
            <a:spcAft>
              <a:spcPct val="15000"/>
            </a:spcAft>
            <a:buChar char="•"/>
          </a:pPr>
          <a:r>
            <a:rPr lang="en-US" sz="2000" kern="1200" dirty="0"/>
            <a:t>Multiple</a:t>
          </a:r>
        </a:p>
      </dsp:txBody>
      <dsp:txXfrm>
        <a:off x="3202" y="1014234"/>
        <a:ext cx="1925908" cy="2031299"/>
      </dsp:txXfrm>
    </dsp:sp>
    <dsp:sp modelId="{60E3B2EE-B7F6-49A6-B030-487F37D9E050}">
      <dsp:nvSpPr>
        <dsp:cNvPr id="0" name=""/>
        <dsp:cNvSpPr/>
      </dsp:nvSpPr>
      <dsp:spPr>
        <a:xfrm>
          <a:off x="2198738" y="438234"/>
          <a:ext cx="1925908" cy="5760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dirty="0"/>
            <a:t>Audience</a:t>
          </a:r>
        </a:p>
      </dsp:txBody>
      <dsp:txXfrm>
        <a:off x="2198738" y="438234"/>
        <a:ext cx="1925908" cy="576000"/>
      </dsp:txXfrm>
    </dsp:sp>
    <dsp:sp modelId="{94BCE50B-78B8-4B85-A72E-402D4F1BC65A}">
      <dsp:nvSpPr>
        <dsp:cNvPr id="0" name=""/>
        <dsp:cNvSpPr/>
      </dsp:nvSpPr>
      <dsp:spPr>
        <a:xfrm>
          <a:off x="2198738" y="1014234"/>
          <a:ext cx="1925908" cy="20312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Patients</a:t>
          </a:r>
        </a:p>
        <a:p>
          <a:pPr marL="228600" lvl="1" indent="-228600" algn="l" defTabSz="889000">
            <a:lnSpc>
              <a:spcPct val="90000"/>
            </a:lnSpc>
            <a:spcBef>
              <a:spcPct val="0"/>
            </a:spcBef>
            <a:spcAft>
              <a:spcPct val="15000"/>
            </a:spcAft>
            <a:buChar char="•"/>
          </a:pPr>
          <a:r>
            <a:rPr lang="en-US" sz="2000" kern="1200" dirty="0"/>
            <a:t>Generalist HCPs</a:t>
          </a:r>
        </a:p>
        <a:p>
          <a:pPr marL="228600" lvl="1" indent="-228600" algn="l" defTabSz="889000">
            <a:lnSpc>
              <a:spcPct val="90000"/>
            </a:lnSpc>
            <a:spcBef>
              <a:spcPct val="0"/>
            </a:spcBef>
            <a:spcAft>
              <a:spcPct val="15000"/>
            </a:spcAft>
            <a:buChar char="•"/>
          </a:pPr>
          <a:r>
            <a:rPr lang="en-US" sz="2000" kern="1200" dirty="0"/>
            <a:t>The public</a:t>
          </a:r>
        </a:p>
      </dsp:txBody>
      <dsp:txXfrm>
        <a:off x="2198738" y="1014234"/>
        <a:ext cx="1925908" cy="2031299"/>
      </dsp:txXfrm>
    </dsp:sp>
    <dsp:sp modelId="{8683C8B2-2B92-43D8-814C-81C1329D14FD}">
      <dsp:nvSpPr>
        <dsp:cNvPr id="0" name=""/>
        <dsp:cNvSpPr/>
      </dsp:nvSpPr>
      <dsp:spPr>
        <a:xfrm>
          <a:off x="4394274" y="438234"/>
          <a:ext cx="1925908" cy="5760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dirty="0"/>
            <a:t>Hosting</a:t>
          </a:r>
        </a:p>
      </dsp:txBody>
      <dsp:txXfrm>
        <a:off x="4394274" y="438234"/>
        <a:ext cx="1925908" cy="576000"/>
      </dsp:txXfrm>
    </dsp:sp>
    <dsp:sp modelId="{E08FB995-D1AF-41FC-A8AE-C54A0B5B4C15}">
      <dsp:nvSpPr>
        <dsp:cNvPr id="0" name=""/>
        <dsp:cNvSpPr/>
      </dsp:nvSpPr>
      <dsp:spPr>
        <a:xfrm>
          <a:off x="4394274" y="1014234"/>
          <a:ext cx="1925908" cy="20312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Journal</a:t>
          </a:r>
        </a:p>
        <a:p>
          <a:pPr marL="228600" lvl="1" indent="-228600" algn="l" defTabSz="889000">
            <a:lnSpc>
              <a:spcPct val="90000"/>
            </a:lnSpc>
            <a:spcBef>
              <a:spcPct val="0"/>
            </a:spcBef>
            <a:spcAft>
              <a:spcPct val="15000"/>
            </a:spcAft>
            <a:buChar char="•"/>
          </a:pPr>
          <a:r>
            <a:rPr lang="en-US" sz="2000" kern="1200" dirty="0"/>
            <a:t>PubMed</a:t>
          </a:r>
        </a:p>
        <a:p>
          <a:pPr marL="228600" lvl="1" indent="-228600" algn="l" defTabSz="889000">
            <a:lnSpc>
              <a:spcPct val="90000"/>
            </a:lnSpc>
            <a:spcBef>
              <a:spcPct val="0"/>
            </a:spcBef>
            <a:spcAft>
              <a:spcPct val="15000"/>
            </a:spcAft>
            <a:buChar char="•"/>
          </a:pPr>
          <a:r>
            <a:rPr lang="en-US" sz="2000" kern="1200" dirty="0"/>
            <a:t>Separate platform</a:t>
          </a:r>
        </a:p>
        <a:p>
          <a:pPr marL="228600" lvl="1" indent="-228600" algn="l" defTabSz="889000">
            <a:lnSpc>
              <a:spcPct val="90000"/>
            </a:lnSpc>
            <a:spcBef>
              <a:spcPct val="0"/>
            </a:spcBef>
            <a:spcAft>
              <a:spcPct val="15000"/>
            </a:spcAft>
            <a:buChar char="•"/>
          </a:pPr>
          <a:r>
            <a:rPr lang="en-US" sz="2000" kern="1200" dirty="0"/>
            <a:t>Multiple</a:t>
          </a:r>
        </a:p>
        <a:p>
          <a:pPr marL="228600" lvl="1" indent="-228600" algn="l" defTabSz="889000">
            <a:lnSpc>
              <a:spcPct val="90000"/>
            </a:lnSpc>
            <a:spcBef>
              <a:spcPct val="0"/>
            </a:spcBef>
            <a:spcAft>
              <a:spcPct val="15000"/>
            </a:spcAft>
            <a:buChar char="•"/>
          </a:pPr>
          <a:endParaRPr lang="en-US" sz="2000" kern="1200" dirty="0"/>
        </a:p>
      </dsp:txBody>
      <dsp:txXfrm>
        <a:off x="4394274" y="1014234"/>
        <a:ext cx="1925908" cy="2031299"/>
      </dsp:txXfrm>
    </dsp:sp>
    <dsp:sp modelId="{2C5F74B1-A1F5-42E1-BE06-F78F26311B91}">
      <dsp:nvSpPr>
        <dsp:cNvPr id="0" name=""/>
        <dsp:cNvSpPr/>
      </dsp:nvSpPr>
      <dsp:spPr>
        <a:xfrm>
          <a:off x="6589810" y="438234"/>
          <a:ext cx="1925908" cy="5760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US" sz="2000" kern="1200" dirty="0"/>
            <a:t>Article type</a:t>
          </a:r>
        </a:p>
      </dsp:txBody>
      <dsp:txXfrm>
        <a:off x="6589810" y="438234"/>
        <a:ext cx="1925908" cy="576000"/>
      </dsp:txXfrm>
    </dsp:sp>
    <dsp:sp modelId="{D402B69A-6938-441C-BAA9-BE378D2E7EEA}">
      <dsp:nvSpPr>
        <dsp:cNvPr id="0" name=""/>
        <dsp:cNvSpPr/>
      </dsp:nvSpPr>
      <dsp:spPr>
        <a:xfrm>
          <a:off x="6589810" y="1014234"/>
          <a:ext cx="1925908" cy="2031299"/>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kern="1200" dirty="0"/>
            <a:t>Reviews</a:t>
          </a:r>
        </a:p>
        <a:p>
          <a:pPr marL="228600" lvl="1" indent="-228600" algn="l" defTabSz="889000">
            <a:lnSpc>
              <a:spcPct val="90000"/>
            </a:lnSpc>
            <a:spcBef>
              <a:spcPct val="0"/>
            </a:spcBef>
            <a:spcAft>
              <a:spcPct val="15000"/>
            </a:spcAft>
            <a:buChar char="•"/>
          </a:pPr>
          <a:r>
            <a:rPr lang="en-US" sz="2000" kern="1200" dirty="0"/>
            <a:t>Research</a:t>
          </a:r>
        </a:p>
        <a:p>
          <a:pPr marL="228600" lvl="1" indent="-228600" algn="l" defTabSz="889000">
            <a:lnSpc>
              <a:spcPct val="90000"/>
            </a:lnSpc>
            <a:spcBef>
              <a:spcPct val="0"/>
            </a:spcBef>
            <a:spcAft>
              <a:spcPct val="15000"/>
            </a:spcAft>
            <a:buChar char="•"/>
          </a:pPr>
          <a:r>
            <a:rPr lang="en-US" sz="2000" kern="1200" dirty="0"/>
            <a:t>Commentary</a:t>
          </a:r>
        </a:p>
        <a:p>
          <a:pPr marL="228600" lvl="1" indent="-228600" algn="l" defTabSz="889000">
            <a:lnSpc>
              <a:spcPct val="90000"/>
            </a:lnSpc>
            <a:spcBef>
              <a:spcPct val="0"/>
            </a:spcBef>
            <a:spcAft>
              <a:spcPct val="15000"/>
            </a:spcAft>
            <a:buChar char="•"/>
          </a:pPr>
          <a:r>
            <a:rPr lang="en-US" sz="2000" kern="1200" dirty="0"/>
            <a:t>Brief reports</a:t>
          </a:r>
        </a:p>
      </dsp:txBody>
      <dsp:txXfrm>
        <a:off x="6589810" y="1014234"/>
        <a:ext cx="1925908" cy="203129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364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3647"/>
          </a:xfrm>
          <a:prstGeom prst="rect">
            <a:avLst/>
          </a:prstGeom>
        </p:spPr>
        <p:txBody>
          <a:bodyPr vert="horz" lIns="91440" tIns="45720" rIns="91440" bIns="45720" rtlCol="0"/>
          <a:lstStyle>
            <a:lvl1pPr algn="r">
              <a:defRPr sz="1200"/>
            </a:lvl1pPr>
          </a:lstStyle>
          <a:p>
            <a:fld id="{944CA6CB-9A6C-6043-9E28-8742B37C52AD}" type="datetimeFigureOut">
              <a:rPr lang="en-US" smtClean="0"/>
              <a:t>2/2/2022</a:t>
            </a:fld>
            <a:endParaRPr lang="en-US"/>
          </a:p>
        </p:txBody>
      </p:sp>
      <p:sp>
        <p:nvSpPr>
          <p:cNvPr id="4" name="Slide Image Placeholder 3"/>
          <p:cNvSpPr>
            <a:spLocks noGrp="1" noRot="1" noChangeAspect="1"/>
          </p:cNvSpPr>
          <p:nvPr>
            <p:ph type="sldImg" idx="2"/>
          </p:nvPr>
        </p:nvSpPr>
        <p:spPr>
          <a:xfrm>
            <a:off x="658813" y="1155700"/>
            <a:ext cx="5540375" cy="31178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47153"/>
            <a:ext cx="5486400" cy="363858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7193"/>
            <a:ext cx="2971800" cy="46364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77193"/>
            <a:ext cx="2971800" cy="463646"/>
          </a:xfrm>
          <a:prstGeom prst="rect">
            <a:avLst/>
          </a:prstGeom>
        </p:spPr>
        <p:txBody>
          <a:bodyPr vert="horz" lIns="91440" tIns="45720" rIns="91440" bIns="45720" rtlCol="0" anchor="b"/>
          <a:lstStyle>
            <a:lvl1pPr algn="r">
              <a:defRPr sz="1200"/>
            </a:lvl1pPr>
          </a:lstStyle>
          <a:p>
            <a:fld id="{2FB49D4D-568C-2641-B360-BD4A87EDB853}" type="slidenum">
              <a:rPr lang="en-US" smtClean="0"/>
              <a:t>‹#›</a:t>
            </a:fld>
            <a:endParaRPr lang="en-US"/>
          </a:p>
        </p:txBody>
      </p:sp>
    </p:spTree>
    <p:extLst>
      <p:ext uri="{BB962C8B-B14F-4D97-AF65-F5344CB8AC3E}">
        <p14:creationId xmlns:p14="http://schemas.microsoft.com/office/powerpoint/2010/main" val="46474262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kumimoji="0" lang="en-US" sz="1400" b="0" i="0" u="none" strike="noStrike" kern="1200" cap="none" spc="-30" normalizeH="0" baseline="0" noProof="0" dirty="0">
                <a:ln>
                  <a:noFill/>
                </a:ln>
                <a:effectLst/>
                <a:uLnTx/>
                <a:uFillTx/>
                <a:ea typeface="ＭＳ Ｐゴシック" pitchFamily="34" charset="-128"/>
                <a:cs typeface="Calibri" pitchFamily="34" charset="0"/>
              </a:rPr>
              <a:t>Hi everyone; welcome and thank you for joining today’s ISMPP U on “</a:t>
            </a:r>
            <a:r>
              <a:rPr kumimoji="0" lang="en-US" sz="1400" i="0" u="none" strike="noStrike" kern="1200" cap="none" spc="-30" normalizeH="0" baseline="0" noProof="0" dirty="0">
                <a:ln>
                  <a:noFill/>
                </a:ln>
                <a:effectLst/>
                <a:uLnTx/>
                <a:uFillTx/>
                <a:ea typeface="ＭＳ Ｐゴシック" pitchFamily="34" charset="-128"/>
                <a:cs typeface="Calibri" pitchFamily="34" charset="0"/>
              </a:rPr>
              <a:t>Plain Language Summaries (PLS) of publications: Focus on practical application</a:t>
            </a:r>
            <a:r>
              <a:rPr kumimoji="0" lang="en-US" sz="1400" b="0" i="0" u="none" strike="noStrike" kern="1200" cap="none" spc="-30" normalizeH="0" baseline="0" noProof="0" dirty="0">
                <a:ln>
                  <a:noFill/>
                </a:ln>
                <a:effectLst/>
                <a:uLnTx/>
                <a:uFillTx/>
                <a:ea typeface="ＭＳ Ｐゴシック" pitchFamily="34" charset="-128"/>
                <a:cs typeface="Calibri" pitchFamily="34" charset="0"/>
              </a:rPr>
              <a:t>”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400" spc="-30" dirty="0">
              <a:ea typeface="ＭＳ Ｐゴシック" pitchFamily="34" charset="-128"/>
              <a:cs typeface="Calibri"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30" normalizeH="0" baseline="0" noProof="0" dirty="0">
                <a:ln>
                  <a:noFill/>
                </a:ln>
                <a:effectLst/>
                <a:uLnTx/>
                <a:uFillTx/>
                <a:ea typeface="ＭＳ Ｐゴシック" pitchFamily="34" charset="-128"/>
                <a:cs typeface="Calibri" pitchFamily="34" charset="0"/>
              </a:rPr>
              <a:t>Before we get started, we have a few reminders and announcements.  </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30" normalizeH="0" baseline="0" noProof="0" dirty="0">
              <a:ln>
                <a:noFill/>
              </a:ln>
              <a:solidFill>
                <a:srgbClr val="0070C0"/>
              </a:solidFill>
              <a:effectLst/>
              <a:uLnTx/>
              <a:uFillTx/>
              <a:ea typeface="ＭＳ Ｐゴシック" pitchFamily="34" charset="-128"/>
              <a:cs typeface="Calibri"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 normalizeH="0" baseline="0" noProof="0" dirty="0">
                <a:ln>
                  <a:noFill/>
                </a:ln>
                <a:solidFill>
                  <a:srgbClr val="0070C0"/>
                </a:solidFill>
                <a:effectLst/>
                <a:uLnTx/>
                <a:uFillTx/>
                <a:ea typeface="ＭＳ Ｐゴシック" pitchFamily="34" charset="-128"/>
                <a:cs typeface="Calibri" pitchFamily="34" charset="0"/>
              </a:rPr>
              <a:t>First, this webinar has been approved for </a:t>
            </a:r>
            <a:r>
              <a:rPr kumimoji="0" lang="en-US" sz="1400" b="1" i="0" u="none" strike="noStrike" kern="1200" cap="none" spc="0" normalizeH="0" baseline="0" noProof="0" dirty="0">
                <a:ln>
                  <a:noFill/>
                </a:ln>
                <a:solidFill>
                  <a:srgbClr val="0070C0"/>
                </a:solidFill>
                <a:effectLst/>
                <a:uLnTx/>
                <a:uFillTx/>
                <a:ea typeface="+mn-ea"/>
                <a:cs typeface="+mn-cs"/>
              </a:rPr>
              <a:t>1.5 ISMPP CMPP</a:t>
            </a:r>
            <a:r>
              <a:rPr kumimoji="0" lang="en-US" sz="1400" b="1" i="0" u="none" strike="noStrike" kern="1200" cap="none" spc="0" normalizeH="0" baseline="30000" noProof="0" dirty="0">
                <a:ln>
                  <a:noFill/>
                </a:ln>
                <a:solidFill>
                  <a:srgbClr val="0070C0"/>
                </a:solidFill>
                <a:effectLst/>
                <a:uLnTx/>
                <a:uFillTx/>
                <a:ea typeface="+mn-ea"/>
                <a:cs typeface="+mn-cs"/>
              </a:rPr>
              <a:t>TM</a:t>
            </a:r>
            <a:r>
              <a:rPr kumimoji="0" lang="en-US" sz="1400" b="1" i="0" u="none" strike="noStrike" kern="1200" cap="none" spc="0" normalizeH="0" baseline="0" noProof="0" dirty="0">
                <a:ln>
                  <a:noFill/>
                </a:ln>
                <a:solidFill>
                  <a:srgbClr val="0070C0"/>
                </a:solidFill>
                <a:effectLst/>
                <a:uLnTx/>
                <a:uFillTx/>
                <a:ea typeface="+mn-ea"/>
                <a:cs typeface="+mn-cs"/>
              </a:rPr>
              <a:t> Recertification Credits. </a:t>
            </a:r>
            <a:r>
              <a:rPr kumimoji="0" lang="en-US" sz="1400" b="0" i="1" u="none" strike="noStrike" kern="1200" cap="none" spc="0" normalizeH="0" baseline="0" noProof="0" dirty="0">
                <a:ln>
                  <a:noFill/>
                </a:ln>
                <a:solidFill>
                  <a:prstClr val="black"/>
                </a:solidFill>
                <a:effectLst/>
                <a:uLnTx/>
                <a:uFillTx/>
                <a:ea typeface="+mn-ea"/>
                <a:cs typeface="+mn-cs"/>
              </a:rPr>
              <a:t>Please capture a screenshot of the title slide to document for credit.</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400" dirty="0">
              <a:solidFill>
                <a:prstClr val="black"/>
              </a:solidFill>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u="none" strike="noStrike" kern="1200" cap="none" spc="0" normalizeH="0" baseline="0" noProof="0" dirty="0">
                <a:ln>
                  <a:noFill/>
                </a:ln>
                <a:solidFill>
                  <a:prstClr val="black"/>
                </a:solidFill>
                <a:effectLst/>
                <a:uLnTx/>
                <a:uFillTx/>
                <a:ea typeface="+mn-ea"/>
                <a:cs typeface="+mn-cs"/>
              </a:rPr>
              <a:t>This slide will also be shown at the end of </a:t>
            </a:r>
            <a:r>
              <a:rPr kumimoji="0" lang="en-US" sz="1400" b="0" u="none" strike="noStrike" kern="1200" cap="none" spc="0" normalizeH="0" baseline="0" noProof="0" dirty="0" err="1">
                <a:ln>
                  <a:noFill/>
                </a:ln>
                <a:solidFill>
                  <a:prstClr val="black"/>
                </a:solidFill>
                <a:effectLst/>
                <a:uLnTx/>
                <a:uFillTx/>
                <a:ea typeface="+mn-ea"/>
                <a:cs typeface="+mn-cs"/>
              </a:rPr>
              <a:t>th</a:t>
            </a:r>
            <a:r>
              <a:rPr lang="en-US" sz="1400" dirty="0">
                <a:solidFill>
                  <a:prstClr val="black"/>
                </a:solidFill>
              </a:rPr>
              <a:t>e presentation. </a:t>
            </a:r>
            <a:endParaRPr kumimoji="0" lang="en-US" sz="1400" b="0" u="none" strike="noStrike" kern="1200" cap="none" spc="0" normalizeH="0" baseline="0" noProof="0" dirty="0">
              <a:ln>
                <a:noFill/>
              </a:ln>
              <a:solidFill>
                <a:prstClr val="black"/>
              </a:solidFill>
              <a:effectLst/>
              <a:uLnTx/>
              <a:uFillTx/>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4431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Listed here are the learning objectives for today’s webinar.</a:t>
            </a:r>
          </a:p>
          <a:p>
            <a:endParaRPr lang="en-US" sz="1400" dirty="0"/>
          </a:p>
          <a:p>
            <a:r>
              <a:rPr lang="en-US" sz="1400" dirty="0"/>
              <a:t>And now I’d like to turn things over to Dawn.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3EB531-83CF-4B7A-AE8C-7C6F3DAFD36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431831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EBA5BD7-F043-4D1B-AA17-CD412FC534D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08357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44000" indent="-144000">
              <a:lnSpc>
                <a:spcPct val="100000"/>
              </a:lnSpc>
              <a:spcBef>
                <a:spcPts val="0"/>
              </a:spcBef>
              <a:spcAft>
                <a:spcPts val="600"/>
              </a:spcAft>
            </a:pPr>
            <a:r>
              <a:rPr lang="en-GB" sz="1200" dirty="0"/>
              <a:t> </a:t>
            </a:r>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57267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E5D4636-91E5-41D6-A35A-43E75B3F49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23091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E5D4636-91E5-41D6-A35A-43E75B3F49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789334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0ED720B4-DF8E-0346-839F-EBE9BD4B0D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18473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have definitely seen a big rise in Adis journals.  Increases year on year.   Across</a:t>
            </a:r>
            <a:r>
              <a:rPr lang="en-GB" baseline="0" dirty="0"/>
              <a:t> all therapy areas.  In different formats.  Been publishing them since 2017.  </a:t>
            </a:r>
          </a:p>
          <a:p>
            <a:r>
              <a:rPr lang="en-GB" baseline="0" dirty="0"/>
              <a:t>We know that authors see the value in them because they write them </a:t>
            </a:r>
          </a:p>
          <a:p>
            <a:r>
              <a:rPr lang="en-GB" baseline="0" dirty="0"/>
              <a:t>But not yet seen evidence of whether they increase impact</a:t>
            </a:r>
          </a:p>
          <a:p>
            <a:r>
              <a:rPr lang="en-GB" baseline="0" dirty="0"/>
              <a:t>So that’s why we thought we’d study this.  Looked into whether articles with PLS are accessed more often than those without</a:t>
            </a:r>
          </a:p>
          <a:p>
            <a:endParaRPr lang="en-GB" baseline="0" dirty="0"/>
          </a:p>
          <a:p>
            <a:r>
              <a:rPr lang="en-GB" baseline="0" dirty="0"/>
              <a:t>Published 47 already in 2022!</a:t>
            </a:r>
          </a:p>
          <a:p>
            <a:r>
              <a:rPr lang="en-GB" baseline="0" dirty="0"/>
              <a:t>2017 = 8</a:t>
            </a:r>
          </a:p>
          <a:p>
            <a:r>
              <a:rPr lang="en-GB" baseline="0" dirty="0"/>
              <a:t>2018 = 48</a:t>
            </a:r>
          </a:p>
          <a:p>
            <a:r>
              <a:rPr lang="en-GB" baseline="0" dirty="0"/>
              <a:t>2019 = 73</a:t>
            </a:r>
          </a:p>
          <a:p>
            <a:pPr marL="228600" indent="-228600">
              <a:buAutoNum type="arabicPlain" startAt="2020"/>
            </a:pPr>
            <a:r>
              <a:rPr lang="en-GB" baseline="0" dirty="0"/>
              <a:t>= 98</a:t>
            </a:r>
          </a:p>
          <a:p>
            <a:pPr marL="228600" indent="-228600">
              <a:buAutoNum type="arabicPlain" startAt="2020"/>
            </a:pPr>
            <a:r>
              <a:rPr lang="en-GB" baseline="0" dirty="0"/>
              <a:t> = 151</a:t>
            </a:r>
          </a:p>
          <a:p>
            <a:pPr marL="228600" indent="-228600">
              <a:buAutoNum type="arabicPlain" startAt="2020"/>
            </a:pPr>
            <a:r>
              <a:rPr lang="en-GB" baseline="0" dirty="0"/>
              <a:t> = 47	</a:t>
            </a: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6AB0DEC-5A80-40FF-BDC6-82956058AC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42590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ep 1…… </a:t>
            </a:r>
          </a:p>
          <a:p>
            <a:r>
              <a:rPr lang="en-GB" dirty="0"/>
              <a:t>We do publish more PLS than this.  But the reason that we</a:t>
            </a:r>
            <a:r>
              <a:rPr lang="en-GB" baseline="0" dirty="0"/>
              <a:t> only included 50 is because we wanted to only include PLS of the same type – i.e. 250-word, plain text PLS that are part of the article HTML and PDF.  And also pulled through to PubMed.</a:t>
            </a:r>
          </a:p>
          <a:p>
            <a:endParaRPr lang="en-GB" baseline="0" dirty="0"/>
          </a:p>
          <a:p>
            <a:r>
              <a:rPr lang="en-GB" baseline="0" dirty="0"/>
              <a:t>Step 2……</a:t>
            </a:r>
          </a:p>
          <a:p>
            <a:r>
              <a:rPr lang="en-GB" baseline="0" dirty="0"/>
              <a:t>Similar time…. </a:t>
            </a:r>
            <a:r>
              <a:rPr lang="en-GB" baseline="0" dirty="0" err="1"/>
              <a:t>Eg</a:t>
            </a:r>
            <a:r>
              <a:rPr lang="en-GB" baseline="0" dirty="0"/>
              <a:t> approx. within 1 month of each other</a:t>
            </a:r>
          </a:p>
          <a:p>
            <a:r>
              <a:rPr lang="en-GB" baseline="0" dirty="0"/>
              <a:t>Same disease area with similar trial design…. E.g. if the PLS article was a phase 3 trial looking at an MS drug….. We’d find the same type without a PLS</a:t>
            </a:r>
          </a:p>
          <a:p>
            <a:endParaRPr lang="en-GB" baseline="0" dirty="0"/>
          </a:p>
          <a:p>
            <a:r>
              <a:rPr lang="en-GB" baseline="0" dirty="0"/>
              <a:t>Step 3……</a:t>
            </a:r>
          </a:p>
          <a:p>
            <a:r>
              <a:rPr lang="en-GB" dirty="0"/>
              <a:t>Average accesses</a:t>
            </a:r>
            <a:r>
              <a:rPr lang="en-GB" baseline="0" dirty="0"/>
              <a:t> per month for each article.  </a:t>
            </a:r>
            <a:endParaRPr lang="en-GB"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6AB0DEC-5A80-40FF-BDC6-82956058AC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16403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ep 1…… </a:t>
            </a:r>
          </a:p>
          <a:p>
            <a:r>
              <a:rPr lang="en-GB" dirty="0"/>
              <a:t>We do publish more PLS than this.  But the reason that we</a:t>
            </a:r>
            <a:r>
              <a:rPr lang="en-GB" baseline="0" dirty="0"/>
              <a:t> only included 50 is because we wanted to only include PLS of the same type – i.e. 250-word, plain text PLS that are part of the article HTML and PDF.  And also pulled through to PubMed.</a:t>
            </a:r>
          </a:p>
          <a:p>
            <a:endParaRPr lang="en-GB" baseline="0" dirty="0"/>
          </a:p>
          <a:p>
            <a:r>
              <a:rPr lang="en-GB" baseline="0" dirty="0"/>
              <a:t>Step 2……</a:t>
            </a:r>
          </a:p>
          <a:p>
            <a:r>
              <a:rPr lang="en-GB" baseline="0" dirty="0"/>
              <a:t>Similar time…. </a:t>
            </a:r>
            <a:r>
              <a:rPr lang="en-GB" baseline="0" dirty="0" err="1"/>
              <a:t>Eg</a:t>
            </a:r>
            <a:r>
              <a:rPr lang="en-GB" baseline="0" dirty="0"/>
              <a:t> approx. within 1 month of each other</a:t>
            </a:r>
          </a:p>
          <a:p>
            <a:r>
              <a:rPr lang="en-GB" baseline="0" dirty="0"/>
              <a:t>Same disease area with similar trial design…. E.g. if the PLS article was a phase 3 trial looking at an MS drug….. We’d find the same type without a PLS</a:t>
            </a:r>
          </a:p>
          <a:p>
            <a:endParaRPr lang="en-GB" baseline="0" dirty="0"/>
          </a:p>
          <a:p>
            <a:r>
              <a:rPr lang="en-GB" baseline="0" dirty="0"/>
              <a:t>Step 3……</a:t>
            </a:r>
          </a:p>
          <a:p>
            <a:r>
              <a:rPr lang="en-GB" dirty="0"/>
              <a:t>Average accesses</a:t>
            </a:r>
            <a:r>
              <a:rPr lang="en-GB" baseline="0" dirty="0"/>
              <a:t> per month for each article.  </a:t>
            </a:r>
            <a:endParaRPr lang="en-GB"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6AB0DEC-5A80-40FF-BDC6-82956058AC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9768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ee here, across the board, articles with a PLS consistently got more downloads than those without.  </a:t>
            </a:r>
          </a:p>
          <a:p>
            <a:r>
              <a:rPr lang="en-GB" dirty="0"/>
              <a:t>Across every therapy area.   Only a few articles had decreased</a:t>
            </a:r>
            <a:r>
              <a:rPr lang="en-GB" baseline="0" dirty="0"/>
              <a:t> accesses</a:t>
            </a:r>
          </a:p>
          <a:p>
            <a:endParaRPr lang="en-GB"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6AB0DEC-5A80-40FF-BDC6-82956058AC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0223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0AD4BD6F-191C-4BA8-B732-2EAB22BB99F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a:extLst>
              <a:ext uri="{FF2B5EF4-FFF2-40B4-BE49-F238E27FC236}">
                <a16:creationId xmlns:a16="http://schemas.microsoft.com/office/drawing/2014/main" id="{0D8BB900-C976-4510-AC7A-69AF68CCE8A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400" dirty="0">
                <a:ea typeface="ＭＳ Ｐゴシック" panose="020B0600070205080204" pitchFamily="34" charset="-128"/>
              </a:rPr>
              <a:t>First, a sincere thank you </a:t>
            </a:r>
            <a:r>
              <a:rPr lang="en-US" altLang="en-US" sz="1400">
                <a:ea typeface="ＭＳ Ｐゴシック" panose="020B0600070205080204" pitchFamily="34" charset="-128"/>
              </a:rPr>
              <a:t>to ISMPP’s </a:t>
            </a:r>
            <a:r>
              <a:rPr lang="en-US" altLang="en-US" sz="1400" dirty="0">
                <a:ea typeface="ＭＳ Ｐゴシック" panose="020B0600070205080204" pitchFamily="34" charset="-128"/>
              </a:rPr>
              <a:t>titanium and platinum corporate sponsors for their ongoing support of the Society. </a:t>
            </a:r>
          </a:p>
        </p:txBody>
      </p:sp>
      <p:sp>
        <p:nvSpPr>
          <p:cNvPr id="17412" name="Slide Number Placeholder 3">
            <a:extLst>
              <a:ext uri="{FF2B5EF4-FFF2-40B4-BE49-F238E27FC236}">
                <a16:creationId xmlns:a16="http://schemas.microsoft.com/office/drawing/2014/main" id="{23A487AE-EAA4-4C51-939E-92E1857B35B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95175" indent="-304789">
              <a:defRPr>
                <a:solidFill>
                  <a:schemeClr val="tx1"/>
                </a:solidFill>
                <a:latin typeface="Arial" panose="020B0604020202020204" pitchFamily="34" charset="0"/>
                <a:cs typeface="Arial" panose="020B0604020202020204" pitchFamily="34" charset="0"/>
              </a:defRPr>
            </a:lvl2pPr>
            <a:lvl3pPr marL="1224265" indent="-243492">
              <a:defRPr>
                <a:solidFill>
                  <a:schemeClr val="tx1"/>
                </a:solidFill>
                <a:latin typeface="Arial" panose="020B0604020202020204" pitchFamily="34" charset="0"/>
                <a:cs typeface="Arial" panose="020B0604020202020204" pitchFamily="34" charset="0"/>
              </a:defRPr>
            </a:lvl3pPr>
            <a:lvl4pPr marL="1714652" indent="-243492">
              <a:defRPr>
                <a:solidFill>
                  <a:schemeClr val="tx1"/>
                </a:solidFill>
                <a:latin typeface="Arial" panose="020B0604020202020204" pitchFamily="34" charset="0"/>
                <a:cs typeface="Arial" panose="020B0604020202020204" pitchFamily="34" charset="0"/>
              </a:defRPr>
            </a:lvl4pPr>
            <a:lvl5pPr marL="2205036" indent="-243492">
              <a:defRPr>
                <a:solidFill>
                  <a:schemeClr val="tx1"/>
                </a:solidFill>
                <a:latin typeface="Arial" panose="020B0604020202020204" pitchFamily="34" charset="0"/>
                <a:cs typeface="Arial" panose="020B0604020202020204" pitchFamily="34" charset="0"/>
              </a:defRPr>
            </a:lvl5pPr>
            <a:lvl6pPr marL="2695423" indent="-243492" defTabSz="4903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185809" indent="-243492" defTabSz="4903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676197" indent="-243492" defTabSz="4903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166583" indent="-243492" defTabSz="490386"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90386" rtl="0" eaLnBrk="1" fontAlgn="base" latinLnBrk="0" hangingPunct="1">
              <a:lnSpc>
                <a:spcPct val="100000"/>
              </a:lnSpc>
              <a:spcBef>
                <a:spcPct val="0"/>
              </a:spcBef>
              <a:spcAft>
                <a:spcPct val="0"/>
              </a:spcAft>
              <a:buClrTx/>
              <a:buSzTx/>
              <a:buFontTx/>
              <a:buNone/>
              <a:tabLst/>
              <a:defRPr/>
            </a:pPr>
            <a:fld id="{1CA89FEE-7925-49B9-A87F-9A2D7DE389FB}"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90386"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39361177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en we dig into the details a bit more….. You can see</a:t>
            </a:r>
          </a:p>
          <a:p>
            <a:r>
              <a:rPr lang="en-GB" dirty="0"/>
              <a:t>62% were accessed significantly more</a:t>
            </a:r>
          </a:p>
          <a:p>
            <a:r>
              <a:rPr lang="en-GB" dirty="0"/>
              <a:t>8% fewer</a:t>
            </a:r>
          </a:p>
          <a:p>
            <a:r>
              <a:rPr lang="en-GB" dirty="0"/>
              <a:t>30% fell into the </a:t>
            </a:r>
            <a:r>
              <a:rPr lang="en-GB" dirty="0" err="1"/>
              <a:t>nonsignificant</a:t>
            </a:r>
            <a:r>
              <a:rPr lang="en-GB" baseline="0" dirty="0"/>
              <a:t> detail</a:t>
            </a:r>
            <a:endParaRPr lang="en-GB" dirty="0"/>
          </a:p>
          <a:p>
            <a:endParaRPr lang="en-GB" dirty="0"/>
          </a:p>
          <a:p>
            <a:r>
              <a:rPr lang="en-GB" dirty="0"/>
              <a:t>A reminder that the 25% cut-off for a ‘significant’ difference was arbitrary.</a:t>
            </a:r>
            <a:r>
              <a:rPr lang="en-GB" baseline="0" dirty="0"/>
              <a:t> If we applied a lower cut-off of 10%, then the positive access rate increases to 68% (and negative to 18%), while the number of ‘neutral’ articles is 14%.</a:t>
            </a:r>
            <a:r>
              <a:rPr lang="en-GB" dirty="0"/>
              <a:t> </a:t>
            </a: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6AB0DEC-5A80-40FF-BDC6-82956058AC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88103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mall</a:t>
            </a:r>
            <a:r>
              <a:rPr lang="en-GB" baseline="0" dirty="0"/>
              <a:t> article numbers here – but when we break down the PLS into therapy areas, you can see these are the highest areas where there was significant increase.     And this is roughly what we expected.   Rheum and diabetes are chronic disorders and have an engaged patient population who are looking for research.  And also these are areas that are most often first seen by primary care, etc.   And we do see increasingly that primary care are looking for PLS to help get a quick overview of a study.</a:t>
            </a:r>
          </a:p>
          <a:p>
            <a:endParaRPr lang="en-GB" baseline="0" dirty="0"/>
          </a:p>
          <a:p>
            <a:endParaRPr lang="en-GB"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6AB0DEC-5A80-40FF-BDC6-82956058AC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659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do need to do more research here</a:t>
            </a: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6AB0DEC-5A80-40FF-BDC6-82956058AC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4930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6AB0DEC-5A80-40FF-BDC6-82956058AC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46553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600" dirty="0"/>
              <a:t>Here’s a quick look at upcoming ISMPP Us. We hope you can join us!  </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68</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23036833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600" dirty="0"/>
              <a:t>Jason to talk on the many benefits of ISMPP membership; testimonial</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69</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40635672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a:extLst>
              <a:ext uri="{FF2B5EF4-FFF2-40B4-BE49-F238E27FC236}">
                <a16:creationId xmlns:a16="http://schemas.microsoft.com/office/drawing/2014/main" id="{216E7ADC-8A83-4087-A107-663E48FF09E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a:extLst>
              <a:ext uri="{FF2B5EF4-FFF2-40B4-BE49-F238E27FC236}">
                <a16:creationId xmlns:a16="http://schemas.microsoft.com/office/drawing/2014/main" id="{D29E4F90-3349-4C73-95A0-2A3D7FA227E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en-US" sz="1400" dirty="0"/>
              <a:t>Thank you again for attending today’s webinar. Please take a moment to fill out the survey link that will be sent to you.</a:t>
            </a:r>
          </a:p>
          <a:p>
            <a:pPr>
              <a:spcBef>
                <a:spcPct val="0"/>
              </a:spcBef>
            </a:pPr>
            <a:endParaRPr lang="en-US" altLang="en-US" sz="1400" dirty="0"/>
          </a:p>
          <a:p>
            <a:pPr>
              <a:spcBef>
                <a:spcPct val="0"/>
              </a:spcBef>
            </a:pPr>
            <a:r>
              <a:rPr lang="en-US" altLang="en-US" sz="1400" dirty="0"/>
              <a:t>After closing out of ZOOM, please click the ‘continue’ button on your screen to take a short survey. </a:t>
            </a:r>
          </a:p>
          <a:p>
            <a:pPr>
              <a:spcBef>
                <a:spcPct val="0"/>
              </a:spcBef>
            </a:pPr>
            <a:endParaRPr lang="en-US" altLang="en-US" sz="1400" dirty="0"/>
          </a:p>
          <a:p>
            <a:pPr>
              <a:spcBef>
                <a:spcPct val="0"/>
              </a:spcBef>
            </a:pPr>
            <a:r>
              <a:rPr lang="en-US" altLang="en-US" sz="1400" dirty="0"/>
              <a:t>Thank you!</a:t>
            </a:r>
          </a:p>
        </p:txBody>
      </p:sp>
      <p:sp>
        <p:nvSpPr>
          <p:cNvPr id="115716" name="Slide Number Placeholder 3">
            <a:extLst>
              <a:ext uri="{FF2B5EF4-FFF2-40B4-BE49-F238E27FC236}">
                <a16:creationId xmlns:a16="http://schemas.microsoft.com/office/drawing/2014/main" id="{7DD3FBF6-92DD-4D6D-894B-35E6CF3D91F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63379" indent="-292465">
              <a:defRPr>
                <a:solidFill>
                  <a:schemeClr val="tx1"/>
                </a:solidFill>
                <a:latin typeface="Arial" panose="020B0604020202020204" pitchFamily="34" charset="0"/>
                <a:cs typeface="Arial" panose="020B0604020202020204" pitchFamily="34" charset="0"/>
              </a:defRPr>
            </a:lvl2pPr>
            <a:lvl3pPr marL="1174810" indent="-234631">
              <a:defRPr>
                <a:solidFill>
                  <a:schemeClr val="tx1"/>
                </a:solidFill>
                <a:latin typeface="Arial" panose="020B0604020202020204" pitchFamily="34" charset="0"/>
                <a:cs typeface="Arial" panose="020B0604020202020204" pitchFamily="34" charset="0"/>
              </a:defRPr>
            </a:lvl3pPr>
            <a:lvl4pPr marL="1645725" indent="-234631">
              <a:defRPr>
                <a:solidFill>
                  <a:schemeClr val="tx1"/>
                </a:solidFill>
                <a:latin typeface="Arial" panose="020B0604020202020204" pitchFamily="34" charset="0"/>
                <a:cs typeface="Arial" panose="020B0604020202020204" pitchFamily="34" charset="0"/>
              </a:defRPr>
            </a:lvl4pPr>
            <a:lvl5pPr marL="2116642" indent="-234631">
              <a:defRPr>
                <a:solidFill>
                  <a:schemeClr val="tx1"/>
                </a:solidFill>
                <a:latin typeface="Arial" panose="020B0604020202020204" pitchFamily="34" charset="0"/>
                <a:cs typeface="Arial" panose="020B0604020202020204" pitchFamily="34" charset="0"/>
              </a:defRPr>
            </a:lvl5pPr>
            <a:lvl6pPr marL="2592515"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68387"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44260"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20131" indent="-234631" defTabSz="475872"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75872" rtl="0" eaLnBrk="1" fontAlgn="base" latinLnBrk="0" hangingPunct="1">
              <a:lnSpc>
                <a:spcPct val="100000"/>
              </a:lnSpc>
              <a:spcBef>
                <a:spcPct val="0"/>
              </a:spcBef>
              <a:spcAft>
                <a:spcPct val="0"/>
              </a:spcAft>
              <a:buClrTx/>
              <a:buSzTx/>
              <a:buFontTx/>
              <a:buNone/>
              <a:tabLst/>
              <a:defRPr/>
            </a:pPr>
            <a:fld id="{E824FA45-32E1-4B86-85CE-3B8753D9A46D}"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rPr>
              <a:pPr marL="0" marR="0" lvl="0" indent="0" algn="r" defTabSz="475872" rtl="0" eaLnBrk="1" fontAlgn="base" latinLnBrk="0" hangingPunct="1">
                <a:lnSpc>
                  <a:spcPct val="100000"/>
                </a:lnSpc>
                <a:spcBef>
                  <a:spcPct val="0"/>
                </a:spcBef>
                <a:spcAft>
                  <a:spcPct val="0"/>
                </a:spcAft>
                <a:buClrTx/>
                <a:buSzTx/>
                <a:buFontTx/>
                <a:buNone/>
                <a:tabLst/>
                <a:defRPr/>
              </a:pPr>
              <a:t>70</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28217755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31455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569196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AU" altLang="en-US" sz="1500" dirty="0"/>
              <a:t>A few announcements before we get started. </a:t>
            </a:r>
          </a:p>
          <a:p>
            <a:pPr>
              <a:spcBef>
                <a:spcPct val="0"/>
              </a:spcBef>
            </a:pPr>
            <a:endParaRPr lang="en-AU" altLang="en-US" sz="1500" dirty="0"/>
          </a:p>
          <a:p>
            <a:pPr>
              <a:spcBef>
                <a:spcPct val="0"/>
              </a:spcBef>
            </a:pPr>
            <a:r>
              <a:rPr lang="en-AU" altLang="en-US" sz="1500" dirty="0"/>
              <a:t>First, this webinar has been approved for 1.5 ISMPP CMPP recertification credits. Please capture a screenshot to submit for credit.</a:t>
            </a:r>
          </a:p>
          <a:p>
            <a:pPr>
              <a:spcBef>
                <a:spcPct val="0"/>
              </a:spcBef>
            </a:pPr>
            <a:endParaRPr lang="en-AU" altLang="en-US" sz="1500" dirty="0"/>
          </a:p>
          <a:p>
            <a:pPr>
              <a:spcBef>
                <a:spcPct val="0"/>
              </a:spcBef>
            </a:pPr>
            <a:r>
              <a:rPr lang="en-AU" altLang="en-US" sz="1500" dirty="0"/>
              <a:t>You can now register for the 18</a:t>
            </a:r>
            <a:r>
              <a:rPr lang="en-AU" altLang="en-US" sz="1500" baseline="30000" dirty="0"/>
              <a:t>th</a:t>
            </a:r>
            <a:r>
              <a:rPr lang="en-AU" altLang="en-US" sz="1500" dirty="0"/>
              <a:t> Annual Meeting. </a:t>
            </a:r>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F6F8AE99-151B-4F30-A9F5-8B97ED74D97C}"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3659318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sz="1400" dirty="0"/>
              <a:t>You can submit a question at any time during the presentation by following the instructions on this slide. </a:t>
            </a:r>
          </a:p>
          <a:p>
            <a:pPr>
              <a:spcBef>
                <a:spcPct val="0"/>
              </a:spcBef>
            </a:pPr>
            <a:endParaRPr lang="en-US" altLang="en-US" sz="1400" dirty="0"/>
          </a:p>
          <a:p>
            <a:pPr>
              <a:spcBef>
                <a:spcPct val="0"/>
              </a:spcBef>
            </a:pPr>
            <a:r>
              <a:rPr lang="en-US" altLang="en-US" sz="1400" dirty="0"/>
              <a:t>The faculty will answer questions at the end of all the presentations. </a:t>
            </a:r>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93120" indent="-304031">
              <a:defRPr>
                <a:solidFill>
                  <a:schemeClr val="tx1"/>
                </a:solidFill>
                <a:latin typeface="Calibri" pitchFamily="34" charset="0"/>
              </a:defRPr>
            </a:lvl2pPr>
            <a:lvl3pPr marL="1221077" indent="-242893">
              <a:defRPr>
                <a:solidFill>
                  <a:schemeClr val="tx1"/>
                </a:solidFill>
                <a:latin typeface="Calibri" pitchFamily="34" charset="0"/>
              </a:defRPr>
            </a:lvl3pPr>
            <a:lvl4pPr marL="1710169" indent="-242893">
              <a:defRPr>
                <a:solidFill>
                  <a:schemeClr val="tx1"/>
                </a:solidFill>
                <a:latin typeface="Calibri" pitchFamily="34" charset="0"/>
              </a:defRPr>
            </a:lvl4pPr>
            <a:lvl5pPr marL="2199258" indent="-242893">
              <a:defRPr>
                <a:solidFill>
                  <a:schemeClr val="tx1"/>
                </a:solidFill>
                <a:latin typeface="Calibri" pitchFamily="34" charset="0"/>
              </a:defRPr>
            </a:lvl5pPr>
            <a:lvl6pPr marL="2675131" indent="-242893" fontAlgn="base">
              <a:spcBef>
                <a:spcPct val="0"/>
              </a:spcBef>
              <a:spcAft>
                <a:spcPct val="0"/>
              </a:spcAft>
              <a:defRPr>
                <a:solidFill>
                  <a:schemeClr val="tx1"/>
                </a:solidFill>
                <a:latin typeface="Calibri" pitchFamily="34" charset="0"/>
              </a:defRPr>
            </a:lvl6pPr>
            <a:lvl7pPr marL="3151003" indent="-242893" fontAlgn="base">
              <a:spcBef>
                <a:spcPct val="0"/>
              </a:spcBef>
              <a:spcAft>
                <a:spcPct val="0"/>
              </a:spcAft>
              <a:defRPr>
                <a:solidFill>
                  <a:schemeClr val="tx1"/>
                </a:solidFill>
                <a:latin typeface="Calibri" pitchFamily="34" charset="0"/>
              </a:defRPr>
            </a:lvl7pPr>
            <a:lvl8pPr marL="3626875" indent="-242893" fontAlgn="base">
              <a:spcBef>
                <a:spcPct val="0"/>
              </a:spcBef>
              <a:spcAft>
                <a:spcPct val="0"/>
              </a:spcAft>
              <a:defRPr>
                <a:solidFill>
                  <a:schemeClr val="tx1"/>
                </a:solidFill>
                <a:latin typeface="Calibri" pitchFamily="34" charset="0"/>
              </a:defRPr>
            </a:lvl8pPr>
            <a:lvl9pPr marL="4102748" indent="-242893" fontAlgn="base">
              <a:spcBef>
                <a:spcPct val="0"/>
              </a:spcBef>
              <a:spcAft>
                <a:spcPct val="0"/>
              </a:spcAft>
              <a:defRPr>
                <a:solidFill>
                  <a:schemeClr val="tx1"/>
                </a:solidFill>
                <a:latin typeface="Calibri" pitchFamily="34" charset="0"/>
              </a:defRPr>
            </a:lvl9pPr>
          </a:lstStyle>
          <a:p>
            <a:pPr marL="0" marR="0" lvl="0" indent="0" algn="r" defTabSz="951964" rtl="0" eaLnBrk="1" fontAlgn="base" latinLnBrk="0" hangingPunct="1">
              <a:lnSpc>
                <a:spcPct val="100000"/>
              </a:lnSpc>
              <a:spcBef>
                <a:spcPct val="0"/>
              </a:spcBef>
              <a:spcAft>
                <a:spcPct val="0"/>
              </a:spcAft>
              <a:buClrTx/>
              <a:buSzTx/>
              <a:buFontTx/>
              <a:buNone/>
              <a:tabLst/>
              <a:defRPr/>
            </a:pPr>
            <a:fld id="{C415E4E8-E76D-446B-9C18-288379B8CA0A}" type="slidenum">
              <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rPr>
              <a:pPr marL="0" marR="0" lvl="0" indent="0" algn="r" defTabSz="951964"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000000"/>
              </a:solidFill>
              <a:effectLst/>
              <a:uLnTx/>
              <a:uFillTx/>
              <a:latin typeface="Calibri" pitchFamily="34" charset="0"/>
              <a:ea typeface="+mn-ea"/>
              <a:cs typeface="+mn-cs"/>
            </a:endParaRPr>
          </a:p>
        </p:txBody>
      </p:sp>
    </p:spTree>
    <p:extLst>
      <p:ext uri="{BB962C8B-B14F-4D97-AF65-F5344CB8AC3E}">
        <p14:creationId xmlns:p14="http://schemas.microsoft.com/office/powerpoint/2010/main" val="449986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rstly, </a:t>
            </a:r>
            <a:r>
              <a:rPr lang="en-GB" sz="900" noProof="0" dirty="0"/>
              <a:t>What do we mean by a PLS?</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dirty="0"/>
              <a:t>The term ‘PLS’ refers to a short summary of scientific research presented in a way that is accessible to non-specialist lay audiences.</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dirty="0"/>
              <a:t>They’re associated with publications from journals or congresses</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dirty="0"/>
              <a:t>They are not clinical trial summaries that are produced by clinical trial sponsors to tell patients about the trial they’ve been in. That’s different and we won’t focus on that.</a:t>
            </a:r>
            <a:endParaRPr lang="en-GB" dirty="0"/>
          </a:p>
        </p:txBody>
      </p:sp>
      <p:sp>
        <p:nvSpPr>
          <p:cNvPr id="4" name="Slide Number Placeholder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3EBA5BD7-F043-4D1B-AA17-CD412FC534D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53834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b="1" i="0" u="none" strike="noStrike" baseline="0" dirty="0">
                <a:solidFill>
                  <a:srgbClr val="3A3939"/>
                </a:solidFill>
                <a:latin typeface="Poppins" panose="00000500000000000000" pitchFamily="2" charset="0"/>
              </a:rPr>
              <a:t>This How-To guide is part of a series from Patient Focused Medicines Development (PFMD) that provides a set of instructions on how to involve patients in the co-creation of plain language summaries (PLS) of peer-reviewed publications, including journal articles and conference presentations </a:t>
            </a:r>
            <a:endParaRPr lang="en-GB"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4069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d more on Poster PLS and Enhanced Content &amp; Publication Extenders…</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84862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We have a great set of faculty for today’s webinar. I’m Jason Gardner and I’ll be your moderator for today. </a:t>
            </a:r>
          </a:p>
          <a:p>
            <a:endParaRPr lang="en-US" sz="1600" dirty="0"/>
          </a:p>
          <a:p>
            <a:r>
              <a:rPr lang="en-US" sz="1600" dirty="0"/>
              <a:t>With us we also have Dawn Lobban, Will </a:t>
            </a:r>
            <a:r>
              <a:rPr lang="en-US" sz="1600" dirty="0" err="1"/>
              <a:t>Gattrell</a:t>
            </a:r>
            <a:r>
              <a:rPr lang="en-US" sz="1600" dirty="0"/>
              <a:t>, Angela Sykes, Caroline Halford, Laura Dormer, Jessie Daw and Melissa Crouse. </a:t>
            </a:r>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82721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Please take a moment to read our general disclaimer. </a:t>
            </a:r>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4"/>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FB49D4D-568C-2641-B360-BD4A87EDB85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041858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1291" cy="5143500"/>
          </a:xfrm>
          <a:prstGeom prst="rect">
            <a:avLst/>
          </a:prstGeom>
        </p:spPr>
      </p:pic>
      <p:sp>
        <p:nvSpPr>
          <p:cNvPr id="2" name="Title 1"/>
          <p:cNvSpPr>
            <a:spLocks noGrp="1"/>
          </p:cNvSpPr>
          <p:nvPr>
            <p:ph type="ctrTitle"/>
          </p:nvPr>
        </p:nvSpPr>
        <p:spPr>
          <a:xfrm>
            <a:off x="4809392" y="516457"/>
            <a:ext cx="3877408" cy="1790700"/>
          </a:xfrm>
        </p:spPr>
        <p:txBody>
          <a:bodyPr anchor="b">
            <a:normAutofit/>
          </a:bodyPr>
          <a:lstStyle>
            <a:lvl1pPr algn="ctr">
              <a:defRPr sz="4000" b="1">
                <a:solidFill>
                  <a:srgbClr val="F28C11"/>
                </a:solidFill>
              </a:defRPr>
            </a:lvl1pPr>
          </a:lstStyle>
          <a:p>
            <a:r>
              <a:rPr lang="en-US" dirty="0"/>
              <a:t>Click to edit Master title style</a:t>
            </a:r>
          </a:p>
        </p:txBody>
      </p:sp>
      <p:sp>
        <p:nvSpPr>
          <p:cNvPr id="3" name="Subtitle 2"/>
          <p:cNvSpPr>
            <a:spLocks noGrp="1"/>
          </p:cNvSpPr>
          <p:nvPr>
            <p:ph type="subTitle" idx="1"/>
          </p:nvPr>
        </p:nvSpPr>
        <p:spPr>
          <a:xfrm>
            <a:off x="4809392" y="2400300"/>
            <a:ext cx="3877408" cy="748630"/>
          </a:xfrm>
        </p:spPr>
        <p:txBody>
          <a:bodyPr>
            <a:noAutofit/>
          </a:bodyPr>
          <a:lstStyle>
            <a:lvl1pPr marL="0" indent="0" algn="ctr">
              <a:buNone/>
              <a:defRPr sz="2400" b="1" i="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6353" y="3549802"/>
            <a:ext cx="1763486" cy="13716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One Column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F30D619-773C-8E40-8D2C-6FFE77D209F7}"/>
              </a:ext>
            </a:extLst>
          </p:cNvPr>
          <p:cNvSpPr>
            <a:spLocks noGrp="1"/>
          </p:cNvSpPr>
          <p:nvPr>
            <p:ph type="body" sz="quarter" idx="11"/>
          </p:nvPr>
        </p:nvSpPr>
        <p:spPr>
          <a:xfrm>
            <a:off x="308136" y="1286064"/>
            <a:ext cx="8501309" cy="2862079"/>
          </a:xfrm>
        </p:spPr>
        <p:txBody>
          <a:bodyPr/>
          <a:lstStyle>
            <a:lvl1pPr>
              <a:lnSpc>
                <a:spcPct val="100000"/>
              </a:lnSpc>
              <a:defRPr b="0" i="0">
                <a:latin typeface="+mn-lt"/>
                <a:cs typeface="Arial" panose="020B0604020202020204" pitchFamily="34" charset="0"/>
              </a:defRPr>
            </a:lvl1pPr>
            <a:lvl2pPr>
              <a:lnSpc>
                <a:spcPct val="100000"/>
              </a:lnSpc>
              <a:defRPr b="0" i="0">
                <a:latin typeface="+mn-lt"/>
                <a:cs typeface="Arial" panose="020B0604020202020204" pitchFamily="34" charset="0"/>
              </a:defRPr>
            </a:lvl2pPr>
            <a:lvl3pPr>
              <a:lnSpc>
                <a:spcPct val="100000"/>
              </a:lnSpc>
              <a:defRPr b="0" i="0">
                <a:latin typeface="+mn-lt"/>
                <a:cs typeface="Arial" panose="020B0604020202020204" pitchFamily="34" charset="0"/>
              </a:defRPr>
            </a:lvl3pPr>
            <a:lvl4pPr>
              <a:lnSpc>
                <a:spcPct val="100000"/>
              </a:lnSpc>
              <a:defRPr b="0" i="0">
                <a:latin typeface="+mn-lt"/>
                <a:cs typeface="Arial" panose="020B0604020202020204" pitchFamily="34" charset="0"/>
              </a:defRPr>
            </a:lvl4pPr>
            <a:lvl5pPr>
              <a:lnSpc>
                <a:spcPct val="100000"/>
              </a:lnSpc>
              <a:defRPr b="0" i="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a:extLst>
              <a:ext uri="{FF2B5EF4-FFF2-40B4-BE49-F238E27FC236}">
                <a16:creationId xmlns:a16="http://schemas.microsoft.com/office/drawing/2014/main" id="{204F51E1-AE29-5248-96DF-7E5C51C05884}"/>
              </a:ext>
            </a:extLst>
          </p:cNvPr>
          <p:cNvSpPr>
            <a:spLocks noGrp="1"/>
          </p:cNvSpPr>
          <p:nvPr>
            <p:ph type="title"/>
          </p:nvPr>
        </p:nvSpPr>
        <p:spPr>
          <a:xfrm>
            <a:off x="321351" y="235803"/>
            <a:ext cx="8501309" cy="507831"/>
          </a:xfrm>
        </p:spPr>
        <p:txBody>
          <a:bodyPr>
            <a:spAutoFit/>
          </a:bodyPr>
          <a:lstStyle>
            <a:lvl1pPr>
              <a:defRPr sz="3000">
                <a:solidFill>
                  <a:schemeClr val="accent1"/>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B313FE6-A793-584C-8551-7477E7324F4D}"/>
              </a:ext>
            </a:extLst>
          </p:cNvPr>
          <p:cNvSpPr txBox="1"/>
          <p:nvPr userDrawn="1"/>
        </p:nvSpPr>
        <p:spPr>
          <a:xfrm>
            <a:off x="8725089" y="4814706"/>
            <a:ext cx="274435" cy="196208"/>
          </a:xfrm>
          <a:prstGeom prst="rect">
            <a:avLst/>
          </a:prstGeom>
          <a:noFill/>
        </p:spPr>
        <p:txBody>
          <a:bodyPr wrap="none"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F3684184-7C68-4BCA-AB46-D61620B83BBB}" type="slidenum">
              <a:rPr kumimoji="0" lang="en-US" sz="675"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382278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336129" y="1351026"/>
            <a:ext cx="8471836" cy="2962656"/>
          </a:xfrm>
        </p:spPr>
        <p:txBody>
          <a:bodyPr lIns="0" rIns="0"/>
          <a:lstStyle>
            <a:lvl1pPr marL="0" indent="0">
              <a:lnSpc>
                <a:spcPct val="110000"/>
              </a:lnSpc>
              <a:buNone/>
              <a:defRPr sz="2700"/>
            </a:lvl1pPr>
            <a:lvl2pPr marL="346472" indent="-175022">
              <a:defRPr sz="2400"/>
            </a:lvl2pPr>
            <a:lvl3pPr marL="553641" indent="-169069">
              <a:defRPr sz="2100"/>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40421694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336129" y="1776222"/>
            <a:ext cx="4115872" cy="2537460"/>
          </a:xfrm>
        </p:spPr>
        <p:txBody>
          <a:bodyPr/>
          <a:lstStyle>
            <a:lvl1pPr marL="129779" indent="-129779">
              <a:spcBef>
                <a:spcPts val="750"/>
              </a:spcBef>
              <a:defRPr sz="1200"/>
            </a:lvl1pPr>
            <a:lvl2pPr marL="260747" indent="-89297">
              <a:spcBef>
                <a:spcPts val="375"/>
              </a:spcBef>
              <a:defRPr sz="1050"/>
            </a:lvl2pPr>
            <a:lvl3pPr marL="384572" indent="-80963">
              <a:spcBef>
                <a:spcPts val="150"/>
              </a:spcBef>
              <a:defRPr sz="900"/>
            </a:lvl3pPr>
            <a:lvl4pPr marL="514350" indent="-82154">
              <a:spcBef>
                <a:spcPts val="150"/>
              </a:spcBef>
              <a:defRPr sz="825"/>
            </a:lvl4pPr>
            <a:lvl5pPr marL="644129" indent="-88106">
              <a:spcBef>
                <a:spcPts val="150"/>
              </a:spcBef>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336129" y="4354830"/>
            <a:ext cx="8471836" cy="260604"/>
          </a:xfrm>
        </p:spPr>
        <p:txBody>
          <a:bodyPr lIns="0" tIns="0" rIns="0" bIns="0" anchor="b"/>
          <a:lstStyle>
            <a:lvl1pPr marL="171450" indent="-171450" algn="l" defTabSz="685800" rtl="0" eaLnBrk="1" latinLnBrk="0" hangingPunct="1">
              <a:lnSpc>
                <a:spcPct val="85000"/>
              </a:lnSpc>
              <a:spcBef>
                <a:spcPts val="150"/>
              </a:spcBef>
              <a:buClr>
                <a:schemeClr val="accent2"/>
              </a:buClr>
              <a:buSzPct val="85000"/>
              <a:buFont typeface="Arial" pitchFamily="34" charset="0"/>
              <a:buNone/>
              <a:tabLst>
                <a:tab pos="130969" algn="r"/>
                <a:tab pos="171450" algn="l"/>
              </a:tabLst>
              <a:defRPr lang="en-US" sz="6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336129" y="980695"/>
            <a:ext cx="8471836" cy="297710"/>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15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65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65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336129" y="1351026"/>
            <a:ext cx="4115872" cy="390906"/>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350" b="1">
                <a:solidFill>
                  <a:schemeClr val="accent1"/>
                </a:solidFill>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4698441" y="1776222"/>
            <a:ext cx="4115872" cy="2537460"/>
          </a:xfrm>
        </p:spPr>
        <p:txBody>
          <a:bodyPr/>
          <a:lstStyle>
            <a:lvl1pPr marL="129779" indent="-129779">
              <a:spcBef>
                <a:spcPts val="750"/>
              </a:spcBef>
              <a:defRPr sz="1200"/>
            </a:lvl1pPr>
            <a:lvl2pPr marL="260747" indent="-89297">
              <a:spcBef>
                <a:spcPts val="375"/>
              </a:spcBef>
              <a:defRPr sz="1050"/>
            </a:lvl2pPr>
            <a:lvl3pPr marL="384572" indent="-80963">
              <a:spcBef>
                <a:spcPts val="150"/>
              </a:spcBef>
              <a:defRPr sz="900"/>
            </a:lvl3pPr>
            <a:lvl4pPr marL="514350" indent="-82154">
              <a:spcBef>
                <a:spcPts val="150"/>
              </a:spcBef>
              <a:defRPr sz="825"/>
            </a:lvl4pPr>
            <a:lvl5pPr marL="644129" indent="-88106">
              <a:spcBef>
                <a:spcPts val="150"/>
              </a:spcBef>
              <a:defRPr sz="78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4698441" y="1351026"/>
            <a:ext cx="4115872" cy="390906"/>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350" b="1">
                <a:solidFill>
                  <a:schemeClr val="accent1"/>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8646889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1291" cy="5143500"/>
          </a:xfrm>
          <a:prstGeom prst="rect">
            <a:avLst/>
          </a:prstGeom>
        </p:spPr>
      </p:pic>
      <p:sp>
        <p:nvSpPr>
          <p:cNvPr id="2" name="Title 1"/>
          <p:cNvSpPr>
            <a:spLocks noGrp="1"/>
          </p:cNvSpPr>
          <p:nvPr>
            <p:ph type="ctrTitle"/>
          </p:nvPr>
        </p:nvSpPr>
        <p:spPr>
          <a:xfrm>
            <a:off x="4809392" y="516457"/>
            <a:ext cx="3877408" cy="1790700"/>
          </a:xfrm>
        </p:spPr>
        <p:txBody>
          <a:bodyPr anchor="b">
            <a:normAutofit/>
          </a:bodyPr>
          <a:lstStyle>
            <a:lvl1pPr algn="ctr">
              <a:defRPr sz="4000" b="1">
                <a:solidFill>
                  <a:srgbClr val="F28C11"/>
                </a:solidFill>
              </a:defRPr>
            </a:lvl1pPr>
          </a:lstStyle>
          <a:p>
            <a:r>
              <a:rPr lang="en-US"/>
              <a:t>Click to edit Master title style</a:t>
            </a:r>
          </a:p>
        </p:txBody>
      </p:sp>
      <p:sp>
        <p:nvSpPr>
          <p:cNvPr id="3" name="Subtitle 2"/>
          <p:cNvSpPr>
            <a:spLocks noGrp="1"/>
          </p:cNvSpPr>
          <p:nvPr>
            <p:ph type="subTitle" idx="1"/>
          </p:nvPr>
        </p:nvSpPr>
        <p:spPr>
          <a:xfrm>
            <a:off x="4809392" y="2400300"/>
            <a:ext cx="3877408" cy="748630"/>
          </a:xfrm>
        </p:spPr>
        <p:txBody>
          <a:bodyPr>
            <a:noAutofit/>
          </a:bodyPr>
          <a:lstStyle>
            <a:lvl1pPr marL="0" indent="0" algn="ctr">
              <a:buNone/>
              <a:defRPr sz="2400" b="1" i="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66353" y="3549802"/>
            <a:ext cx="1763486" cy="1371600"/>
          </a:xfrm>
          <a:prstGeom prst="rect">
            <a:avLst/>
          </a:prstGeom>
        </p:spPr>
      </p:pic>
    </p:spTree>
    <p:extLst>
      <p:ext uri="{BB962C8B-B14F-4D97-AF65-F5344CB8AC3E}">
        <p14:creationId xmlns:p14="http://schemas.microsoft.com/office/powerpoint/2010/main" val="34066397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vl1pPr>
          </a:lstStyle>
          <a:p>
            <a:r>
              <a:rPr lang="en-US"/>
              <a:t>Click to edit Master title style</a:t>
            </a:r>
          </a:p>
        </p:txBody>
      </p:sp>
      <p:sp>
        <p:nvSpPr>
          <p:cNvPr id="3" name="Content Placeholder 2"/>
          <p:cNvSpPr>
            <a:spLocks noGrp="1"/>
          </p:cNvSpPr>
          <p:nvPr>
            <p:ph idx="1"/>
          </p:nvPr>
        </p:nvSpPr>
        <p:spPr/>
        <p:txBody>
          <a:bodyPr>
            <a:noAutofit/>
          </a:bodyPr>
          <a:lstStyle>
            <a:lvl1pPr>
              <a:defRPr sz="1800"/>
            </a:lvl1pPr>
            <a:lvl2pPr marL="584200" indent="-228600">
              <a:tabLst/>
              <a:defRPr sz="1800"/>
            </a:lvl2pPr>
            <a:lvl3pPr marL="927100" indent="-228600">
              <a:tabLst/>
              <a:defRPr sz="1600"/>
            </a:lvl3pPr>
            <a:lvl4pPr marL="1155700" indent="-157163">
              <a:tabLst/>
              <a:defRPr sz="1400"/>
            </a:lvl4pPr>
            <a:lvl5pPr marL="1497013" indent="-200025">
              <a:tabLs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37540765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904311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569439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9143999"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8579199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72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577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29118756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4252557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F4AB-3BA0-4239-9286-91194A8EBAA0}"/>
              </a:ext>
            </a:extLst>
          </p:cNvPr>
          <p:cNvSpPr>
            <a:spLocks noGrp="1"/>
          </p:cNvSpPr>
          <p:nvPr>
            <p:ph type="title" hasCustomPrompt="1"/>
          </p:nvPr>
        </p:nvSpPr>
        <p:spPr/>
        <p:txBody>
          <a:bodyPr/>
          <a:lstStyle>
            <a:lvl1pPr>
              <a:defRPr/>
            </a:lvl1pPr>
          </a:lstStyle>
          <a:p>
            <a:r>
              <a:rPr lang="en-US"/>
              <a:t>Audience Poll Slide</a:t>
            </a:r>
          </a:p>
        </p:txBody>
      </p:sp>
      <p:sp>
        <p:nvSpPr>
          <p:cNvPr id="3" name="Slide Number Placeholder 2">
            <a:extLst>
              <a:ext uri="{FF2B5EF4-FFF2-40B4-BE49-F238E27FC236}">
                <a16:creationId xmlns:a16="http://schemas.microsoft.com/office/drawing/2014/main" id="{88DA7B91-99E1-432F-9B4D-1C3803F5B7DE}"/>
              </a:ext>
            </a:extLst>
          </p:cNvPr>
          <p:cNvSpPr>
            <a:spLocks noGrp="1"/>
          </p:cNvSpPr>
          <p:nvPr>
            <p:ph type="sldNum" sz="quarter" idx="10"/>
          </p:nvPr>
        </p:nvSpPr>
        <p:spPr/>
        <p:txBody>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354A3FF4-8D50-4114-A5A4-C538BCC81F7B}"/>
              </a:ext>
            </a:extLst>
          </p:cNvPr>
          <p:cNvPicPr>
            <a:picLocks noChangeAspect="1"/>
          </p:cNvPicPr>
          <p:nvPr userDrawn="1"/>
        </p:nvPicPr>
        <p:blipFill>
          <a:blip r:embed="rId2"/>
          <a:stretch>
            <a:fillRect/>
          </a:stretch>
        </p:blipFill>
        <p:spPr>
          <a:xfrm>
            <a:off x="7427160" y="-90527"/>
            <a:ext cx="1536325" cy="1536325"/>
          </a:xfrm>
          <a:prstGeom prst="rect">
            <a:avLst/>
          </a:prstGeom>
        </p:spPr>
      </p:pic>
      <p:sp>
        <p:nvSpPr>
          <p:cNvPr id="5" name="Content Placeholder 2">
            <a:extLst>
              <a:ext uri="{FF2B5EF4-FFF2-40B4-BE49-F238E27FC236}">
                <a16:creationId xmlns:a16="http://schemas.microsoft.com/office/drawing/2014/main" id="{C73AEBA3-CC04-4431-B370-F5063F70C419}"/>
              </a:ext>
            </a:extLst>
          </p:cNvPr>
          <p:cNvSpPr>
            <a:spLocks noGrp="1"/>
          </p:cNvSpPr>
          <p:nvPr>
            <p:ph idx="1"/>
          </p:nvPr>
        </p:nvSpPr>
        <p:spPr>
          <a:xfrm>
            <a:off x="857250" y="1215384"/>
            <a:ext cx="7462661" cy="3675929"/>
          </a:xfrm>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20290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1291" cy="5143500"/>
          </a:xfrm>
          <a:prstGeom prst="rect">
            <a:avLst/>
          </a:prstGeom>
        </p:spPr>
      </p:pic>
      <p:sp>
        <p:nvSpPr>
          <p:cNvPr id="2" name="Title 1"/>
          <p:cNvSpPr>
            <a:spLocks noGrp="1"/>
          </p:cNvSpPr>
          <p:nvPr>
            <p:ph type="ctrTitle"/>
          </p:nvPr>
        </p:nvSpPr>
        <p:spPr>
          <a:xfrm>
            <a:off x="4809392" y="516457"/>
            <a:ext cx="3877408" cy="1790700"/>
          </a:xfrm>
        </p:spPr>
        <p:txBody>
          <a:bodyPr anchor="b">
            <a:normAutofit/>
          </a:bodyPr>
          <a:lstStyle>
            <a:lvl1pPr algn="ctr">
              <a:defRPr sz="4000" b="1">
                <a:solidFill>
                  <a:srgbClr val="F28C11"/>
                </a:solidFill>
              </a:defRPr>
            </a:lvl1pPr>
          </a:lstStyle>
          <a:p>
            <a:r>
              <a:rPr lang="en-US"/>
              <a:t>Click to edit Master title style</a:t>
            </a:r>
          </a:p>
        </p:txBody>
      </p:sp>
      <p:sp>
        <p:nvSpPr>
          <p:cNvPr id="3" name="Subtitle 2"/>
          <p:cNvSpPr>
            <a:spLocks noGrp="1"/>
          </p:cNvSpPr>
          <p:nvPr>
            <p:ph type="subTitle" idx="1"/>
          </p:nvPr>
        </p:nvSpPr>
        <p:spPr>
          <a:xfrm>
            <a:off x="4809392" y="2400300"/>
            <a:ext cx="3877408" cy="748630"/>
          </a:xfrm>
        </p:spPr>
        <p:txBody>
          <a:bodyPr>
            <a:noAutofit/>
          </a:bodyPr>
          <a:lstStyle>
            <a:lvl1pPr marL="0" indent="0" algn="ctr">
              <a:buNone/>
              <a:defRPr sz="2400" b="1" i="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6353" y="3549802"/>
            <a:ext cx="1763486" cy="1371600"/>
          </a:xfrm>
          <a:prstGeom prst="rect">
            <a:avLst/>
          </a:prstGeom>
        </p:spPr>
      </p:pic>
    </p:spTree>
    <p:extLst>
      <p:ext uri="{BB962C8B-B14F-4D97-AF65-F5344CB8AC3E}">
        <p14:creationId xmlns:p14="http://schemas.microsoft.com/office/powerpoint/2010/main" val="7109112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4085932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20866997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53580282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3999"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33087670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572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577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28938506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39508838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F4AB-3BA0-4239-9286-91194A8EBAA0}"/>
              </a:ext>
            </a:extLst>
          </p:cNvPr>
          <p:cNvSpPr>
            <a:spLocks noGrp="1"/>
          </p:cNvSpPr>
          <p:nvPr>
            <p:ph type="title" hasCustomPrompt="1"/>
          </p:nvPr>
        </p:nvSpPr>
        <p:spPr/>
        <p:txBody>
          <a:bodyPr/>
          <a:lstStyle>
            <a:lvl1pPr>
              <a:defRPr/>
            </a:lvl1pPr>
          </a:lstStyle>
          <a:p>
            <a:r>
              <a:rPr lang="en-US"/>
              <a:t>Audience Poll Slide</a:t>
            </a:r>
          </a:p>
        </p:txBody>
      </p:sp>
      <p:sp>
        <p:nvSpPr>
          <p:cNvPr id="3" name="Slide Number Placeholder 2">
            <a:extLst>
              <a:ext uri="{FF2B5EF4-FFF2-40B4-BE49-F238E27FC236}">
                <a16:creationId xmlns:a16="http://schemas.microsoft.com/office/drawing/2014/main" id="{88DA7B91-99E1-432F-9B4D-1C3803F5B7DE}"/>
              </a:ext>
            </a:extLst>
          </p:cNvPr>
          <p:cNvSpPr>
            <a:spLocks noGrp="1"/>
          </p:cNvSpPr>
          <p:nvPr>
            <p:ph type="sldNum" sz="quarter" idx="10"/>
          </p:nvPr>
        </p:nvSpPr>
        <p:spPr/>
        <p:txBody>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354A3FF4-8D50-4114-A5A4-C538BCC81F7B}"/>
              </a:ext>
            </a:extLst>
          </p:cNvPr>
          <p:cNvPicPr>
            <a:picLocks noChangeAspect="1"/>
          </p:cNvPicPr>
          <p:nvPr userDrawn="1"/>
        </p:nvPicPr>
        <p:blipFill>
          <a:blip r:embed="rId2"/>
          <a:stretch>
            <a:fillRect/>
          </a:stretch>
        </p:blipFill>
        <p:spPr>
          <a:xfrm>
            <a:off x="7427160" y="-90527"/>
            <a:ext cx="1536325" cy="1536325"/>
          </a:xfrm>
          <a:prstGeom prst="rect">
            <a:avLst/>
          </a:prstGeom>
        </p:spPr>
      </p:pic>
      <p:sp>
        <p:nvSpPr>
          <p:cNvPr id="5" name="Content Placeholder 2">
            <a:extLst>
              <a:ext uri="{FF2B5EF4-FFF2-40B4-BE49-F238E27FC236}">
                <a16:creationId xmlns:a16="http://schemas.microsoft.com/office/drawing/2014/main" id="{C73AEBA3-CC04-4431-B370-F5063F70C419}"/>
              </a:ext>
            </a:extLst>
          </p:cNvPr>
          <p:cNvSpPr>
            <a:spLocks noGrp="1"/>
          </p:cNvSpPr>
          <p:nvPr>
            <p:ph idx="1"/>
          </p:nvPr>
        </p:nvSpPr>
        <p:spPr>
          <a:xfrm>
            <a:off x="857250" y="1215384"/>
            <a:ext cx="7462661" cy="3675929"/>
          </a:xfrm>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57724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69053C-6312-4C62-B942-BBDCF5A8DB9E}"/>
              </a:ext>
            </a:extLst>
          </p:cNvPr>
          <p:cNvSpPr>
            <a:spLocks noGrp="1"/>
          </p:cNvSpPr>
          <p:nvPr>
            <p:ph type="body" sz="quarter" idx="11"/>
          </p:nvPr>
        </p:nvSpPr>
        <p:spPr>
          <a:xfrm>
            <a:off x="857250" y="1215384"/>
            <a:ext cx="7462661" cy="3675929"/>
          </a:xfrm>
        </p:spPr>
        <p:txBody>
          <a:bodyPr/>
          <a:lstStyle>
            <a:lvl2pPr>
              <a:defRPr sz="1600"/>
            </a:lvl2pPr>
            <a:lvl3pPr>
              <a:defRPr sz="1400"/>
            </a:lvl3pPr>
            <a:lvl4pPr>
              <a:defRPr sz="1200"/>
            </a:lvl4pPr>
            <a:lvl5pPr>
              <a:defRPr sz="1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noAutofit/>
          </a:bodyPr>
          <a:lstStyle/>
          <a:p>
            <a:r>
              <a:rPr lang="en-US"/>
              <a:t>Click to edit Master title style</a:t>
            </a:r>
          </a:p>
        </p:txBody>
      </p:sp>
      <p:sp>
        <p:nvSpPr>
          <p:cNvPr id="7" name="Slide Number Placeholder 6"/>
          <p:cNvSpPr>
            <a:spLocks noGrp="1"/>
          </p:cNvSpPr>
          <p:nvPr>
            <p:ph type="sldNum" sz="quarter" idx="10"/>
          </p:nvPr>
        </p:nvSpPr>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8869581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Placeholder 2 Circles">
    <p:spTree>
      <p:nvGrpSpPr>
        <p:cNvPr id="1" name=""/>
        <p:cNvGrpSpPr/>
        <p:nvPr/>
      </p:nvGrpSpPr>
      <p:grpSpPr>
        <a:xfrm>
          <a:off x="0" y="0"/>
          <a:ext cx="0" cy="0"/>
          <a:chOff x="0" y="0"/>
          <a:chExt cx="0" cy="0"/>
        </a:xfrm>
      </p:grpSpPr>
      <p:sp>
        <p:nvSpPr>
          <p:cNvPr id="11" name="Picture Placeholder 13"/>
          <p:cNvSpPr>
            <a:spLocks noGrp="1" noChangeAspect="1"/>
          </p:cNvSpPr>
          <p:nvPr>
            <p:ph type="pic" sz="quarter" idx="20"/>
          </p:nvPr>
        </p:nvSpPr>
        <p:spPr>
          <a:xfrm>
            <a:off x="844849"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dirty="0"/>
          </a:p>
        </p:txBody>
      </p:sp>
      <p:sp>
        <p:nvSpPr>
          <p:cNvPr id="13" name="Picture Placeholder 13"/>
          <p:cNvSpPr>
            <a:spLocks noGrp="1" noChangeAspect="1"/>
          </p:cNvSpPr>
          <p:nvPr>
            <p:ph type="pic" sz="quarter" idx="21"/>
          </p:nvPr>
        </p:nvSpPr>
        <p:spPr>
          <a:xfrm>
            <a:off x="2864818"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dirty="0"/>
          </a:p>
        </p:txBody>
      </p:sp>
      <p:sp>
        <p:nvSpPr>
          <p:cNvPr id="14" name="Picture Placeholder 13"/>
          <p:cNvSpPr>
            <a:spLocks noGrp="1" noChangeAspect="1"/>
          </p:cNvSpPr>
          <p:nvPr>
            <p:ph type="pic" sz="quarter" idx="22"/>
          </p:nvPr>
        </p:nvSpPr>
        <p:spPr>
          <a:xfrm>
            <a:off x="4798611"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dirty="0"/>
          </a:p>
        </p:txBody>
      </p:sp>
      <p:sp>
        <p:nvSpPr>
          <p:cNvPr id="15" name="Picture Placeholder 13"/>
          <p:cNvSpPr>
            <a:spLocks noGrp="1" noChangeAspect="1"/>
          </p:cNvSpPr>
          <p:nvPr>
            <p:ph type="pic" sz="quarter" idx="23"/>
          </p:nvPr>
        </p:nvSpPr>
        <p:spPr>
          <a:xfrm>
            <a:off x="6819295" y="1232897"/>
            <a:ext cx="1509153" cy="1508760"/>
          </a:xfrm>
          <a:prstGeom prst="ellipse">
            <a:avLst/>
          </a:prstGeom>
          <a:effectLst/>
        </p:spPr>
        <p:txBody>
          <a:bodyPr>
            <a:normAutofit/>
          </a:bodyPr>
          <a:lstStyle>
            <a:lvl1pPr marL="0" indent="0">
              <a:buNone/>
              <a:defRPr sz="135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42428113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9141291" cy="5143500"/>
          </a:xfrm>
          <a:prstGeom prst="rect">
            <a:avLst/>
          </a:prstGeom>
        </p:spPr>
      </p:pic>
      <p:sp>
        <p:nvSpPr>
          <p:cNvPr id="2" name="Title 1"/>
          <p:cNvSpPr>
            <a:spLocks noGrp="1"/>
          </p:cNvSpPr>
          <p:nvPr>
            <p:ph type="ctrTitle"/>
          </p:nvPr>
        </p:nvSpPr>
        <p:spPr>
          <a:xfrm>
            <a:off x="4809393" y="516457"/>
            <a:ext cx="3877408" cy="1790700"/>
          </a:xfrm>
        </p:spPr>
        <p:txBody>
          <a:bodyPr anchor="b">
            <a:normAutofit/>
          </a:bodyPr>
          <a:lstStyle>
            <a:lvl1pPr algn="ctr">
              <a:defRPr sz="4000" b="1">
                <a:solidFill>
                  <a:srgbClr val="F28C11"/>
                </a:solidFill>
              </a:defRPr>
            </a:lvl1pPr>
          </a:lstStyle>
          <a:p>
            <a:r>
              <a:rPr lang="en-US"/>
              <a:t>Click to edit Master title style</a:t>
            </a:r>
          </a:p>
        </p:txBody>
      </p:sp>
      <p:sp>
        <p:nvSpPr>
          <p:cNvPr id="3" name="Subtitle 2"/>
          <p:cNvSpPr>
            <a:spLocks noGrp="1"/>
          </p:cNvSpPr>
          <p:nvPr>
            <p:ph type="subTitle" idx="1"/>
          </p:nvPr>
        </p:nvSpPr>
        <p:spPr>
          <a:xfrm>
            <a:off x="4809393" y="2400300"/>
            <a:ext cx="3877408" cy="748630"/>
          </a:xfrm>
        </p:spPr>
        <p:txBody>
          <a:bodyPr>
            <a:noAutofit/>
          </a:bodyPr>
          <a:lstStyle>
            <a:lvl1pPr marL="0" indent="0" algn="ctr">
              <a:buNone/>
              <a:defRPr sz="2400" b="1" i="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66354" y="3549802"/>
            <a:ext cx="1763486" cy="1371600"/>
          </a:xfrm>
          <a:prstGeom prst="rect">
            <a:avLst/>
          </a:prstGeom>
        </p:spPr>
      </p:pic>
    </p:spTree>
    <p:extLst>
      <p:ext uri="{BB962C8B-B14F-4D97-AF65-F5344CB8AC3E}">
        <p14:creationId xmlns:p14="http://schemas.microsoft.com/office/powerpoint/2010/main" val="23997778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76394" y="59945"/>
            <a:ext cx="7343518" cy="941541"/>
          </a:xfrm>
        </p:spPr>
        <p:txBody>
          <a:bodyPr/>
          <a:lstStyle/>
          <a:p>
            <a:r>
              <a:rPr lang="en-US"/>
              <a:t>Click to edit Master title style</a:t>
            </a:r>
          </a:p>
        </p:txBody>
      </p:sp>
      <p:sp>
        <p:nvSpPr>
          <p:cNvPr id="3" name="Content Placeholder 2"/>
          <p:cNvSpPr>
            <a:spLocks noGrp="1"/>
          </p:cNvSpPr>
          <p:nvPr>
            <p:ph idx="1"/>
          </p:nvPr>
        </p:nvSpPr>
        <p:spPr>
          <a:xfrm>
            <a:off x="976394" y="1215385"/>
            <a:ext cx="7343518" cy="3675929"/>
          </a:xfrm>
        </p:spPr>
        <p:txBody>
          <a:bodyPr>
            <a:normAutofit/>
          </a:bodyPr>
          <a:lstStyle>
            <a:lvl1pPr>
              <a:defRPr sz="2400"/>
            </a:lvl1pPr>
            <a:lvl2pPr marL="584186" indent="-228594">
              <a:tabLst/>
              <a:defRPr sz="2200"/>
            </a:lvl2pPr>
            <a:lvl3pPr marL="927077" indent="-228594">
              <a:tabLst/>
              <a:defRPr sz="2000"/>
            </a:lvl3pPr>
            <a:lvl4pPr marL="1155671" indent="-157159">
              <a:tabLst/>
              <a:defRPr sz="1800"/>
            </a:lvl4pPr>
            <a:lvl5pPr marL="1496975" indent="-200020">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2495414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5" y="557215"/>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0611" y="4380220"/>
            <a:ext cx="822276" cy="639548"/>
          </a:xfrm>
          <a:prstGeom prst="rect">
            <a:avLst/>
          </a:prstGeom>
        </p:spPr>
      </p:pic>
    </p:spTree>
    <p:extLst>
      <p:ext uri="{BB962C8B-B14F-4D97-AF65-F5344CB8AC3E}">
        <p14:creationId xmlns:p14="http://schemas.microsoft.com/office/powerpoint/2010/main" val="229471940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9144000" cy="5143499"/>
          </a:xfrm>
          <a:prstGeom prst="rect">
            <a:avLst/>
          </a:prstGeom>
        </p:spPr>
      </p:pic>
      <p:sp>
        <p:nvSpPr>
          <p:cNvPr id="2" name="Title 1"/>
          <p:cNvSpPr>
            <a:spLocks noGrp="1"/>
          </p:cNvSpPr>
          <p:nvPr>
            <p:ph type="title"/>
          </p:nvPr>
        </p:nvSpPr>
        <p:spPr>
          <a:xfrm>
            <a:off x="3000375" y="557215"/>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0611" y="4380220"/>
            <a:ext cx="822276" cy="639548"/>
          </a:xfrm>
          <a:prstGeom prst="rect">
            <a:avLst/>
          </a:prstGeom>
        </p:spPr>
      </p:pic>
    </p:spTree>
    <p:extLst>
      <p:ext uri="{BB962C8B-B14F-4D97-AF65-F5344CB8AC3E}">
        <p14:creationId xmlns:p14="http://schemas.microsoft.com/office/powerpoint/2010/main" val="17339366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1"/>
            <a:ext cx="9143999" cy="5143499"/>
          </a:xfrm>
          <a:prstGeom prst="rect">
            <a:avLst/>
          </a:prstGeom>
        </p:spPr>
      </p:pic>
      <p:sp>
        <p:nvSpPr>
          <p:cNvPr id="2" name="Title 1"/>
          <p:cNvSpPr>
            <a:spLocks noGrp="1"/>
          </p:cNvSpPr>
          <p:nvPr>
            <p:ph type="title"/>
          </p:nvPr>
        </p:nvSpPr>
        <p:spPr>
          <a:xfrm>
            <a:off x="3000375" y="557215"/>
            <a:ext cx="5510213" cy="2308622"/>
          </a:xfrm>
        </p:spPr>
        <p:txBody>
          <a:bodyPr anchor="b">
            <a:normAutofit/>
          </a:bodyPr>
          <a:lstStyle>
            <a:lvl1pPr>
              <a:defRPr sz="3400">
                <a:solidFill>
                  <a:srgbClr val="F28C11"/>
                </a:solidFill>
              </a:defRPr>
            </a:lvl1pPr>
          </a:lstStyle>
          <a:p>
            <a:r>
              <a:rPr lang="en-US"/>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892" indent="0">
              <a:buNone/>
              <a:defRPr sz="1500">
                <a:solidFill>
                  <a:schemeClr val="tx1">
                    <a:tint val="75000"/>
                  </a:schemeClr>
                </a:solidFill>
              </a:defRPr>
            </a:lvl2pPr>
            <a:lvl3pPr marL="685783"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8"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a:t>Click to edit Master text styles</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0611" y="4380220"/>
            <a:ext cx="822276" cy="639548"/>
          </a:xfrm>
          <a:prstGeom prst="rect">
            <a:avLst/>
          </a:prstGeom>
        </p:spPr>
      </p:pic>
    </p:spTree>
    <p:extLst>
      <p:ext uri="{BB962C8B-B14F-4D97-AF65-F5344CB8AC3E}">
        <p14:creationId xmlns:p14="http://schemas.microsoft.com/office/powerpoint/2010/main" val="14522581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22150" y="59945"/>
            <a:ext cx="7397762" cy="941541"/>
          </a:xfrm>
        </p:spPr>
        <p:txBody>
          <a:bodyPr/>
          <a:lstStyle/>
          <a:p>
            <a:r>
              <a:rPr lang="en-US"/>
              <a:t>Click to edit Master title style</a:t>
            </a:r>
          </a:p>
        </p:txBody>
      </p:sp>
      <p:sp>
        <p:nvSpPr>
          <p:cNvPr id="3" name="Content Placeholder 2"/>
          <p:cNvSpPr>
            <a:spLocks noGrp="1"/>
          </p:cNvSpPr>
          <p:nvPr>
            <p:ph sz="half" idx="1"/>
          </p:nvPr>
        </p:nvSpPr>
        <p:spPr>
          <a:xfrm>
            <a:off x="857251"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57751"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4852517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14401" y="59945"/>
            <a:ext cx="7405511" cy="941541"/>
          </a:xfrm>
        </p:spPr>
        <p:txBody>
          <a:bodyPr/>
          <a:lstStyle/>
          <a:p>
            <a:r>
              <a:rPr lang="en-US"/>
              <a:t>Click to edit Master title style</a:t>
            </a:r>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3127614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68ED9-CFFC-4CE5-9717-39B365EAD289}"/>
              </a:ext>
            </a:extLst>
          </p:cNvPr>
          <p:cNvSpPr>
            <a:spLocks noGrp="1"/>
          </p:cNvSpPr>
          <p:nvPr>
            <p:ph type="title" hasCustomPrompt="1"/>
          </p:nvPr>
        </p:nvSpPr>
        <p:spPr>
          <a:xfrm>
            <a:off x="945398" y="59945"/>
            <a:ext cx="7374514" cy="941541"/>
          </a:xfrm>
        </p:spPr>
        <p:txBody>
          <a:bodyPr/>
          <a:lstStyle>
            <a:lvl1pPr>
              <a:defRPr/>
            </a:lvl1pPr>
          </a:lstStyle>
          <a:p>
            <a:r>
              <a:rPr lang="en-US"/>
              <a:t>Audience Poll</a:t>
            </a:r>
          </a:p>
        </p:txBody>
      </p:sp>
      <p:sp>
        <p:nvSpPr>
          <p:cNvPr id="3" name="Slide Number Placeholder 2">
            <a:extLst>
              <a:ext uri="{FF2B5EF4-FFF2-40B4-BE49-F238E27FC236}">
                <a16:creationId xmlns:a16="http://schemas.microsoft.com/office/drawing/2014/main" id="{9BA946A4-9BAA-404E-BF33-03D3CDA71B87}"/>
              </a:ext>
            </a:extLst>
          </p:cNvPr>
          <p:cNvSpPr>
            <a:spLocks noGrp="1"/>
          </p:cNvSpPr>
          <p:nvPr>
            <p:ph type="sldNum" sz="quarter" idx="10"/>
          </p:nvPr>
        </p:nvSpPr>
        <p:spPr/>
        <p:txBody>
          <a:bodyPr/>
          <a:lstStyle/>
          <a:p>
            <a:fld id="{42AD0A0E-4515-A647-B2E3-7F1B29FB990E}" type="slidenum">
              <a:rPr lang="en-US" smtClean="0"/>
              <a:pPr/>
              <a:t>‹#›</a:t>
            </a:fld>
            <a:endParaRPr lang="en-US"/>
          </a:p>
        </p:txBody>
      </p:sp>
      <p:sp>
        <p:nvSpPr>
          <p:cNvPr id="5" name="Action Button: Help 4">
            <a:hlinkClick r:id="" action="ppaction://noaction" highlightClick="1"/>
            <a:extLst>
              <a:ext uri="{FF2B5EF4-FFF2-40B4-BE49-F238E27FC236}">
                <a16:creationId xmlns:a16="http://schemas.microsoft.com/office/drawing/2014/main" id="{FE62B71E-A1BE-421C-994B-A2FED6CBE336}"/>
              </a:ext>
            </a:extLst>
          </p:cNvPr>
          <p:cNvSpPr/>
          <p:nvPr userDrawn="1"/>
        </p:nvSpPr>
        <p:spPr>
          <a:xfrm>
            <a:off x="7142041" y="385428"/>
            <a:ext cx="1177871" cy="1232116"/>
          </a:xfrm>
          <a:prstGeom prst="actionButtonHelp">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40492481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0"/>
            <a:ext cx="9141291" cy="5143500"/>
          </a:xfrm>
          <a:prstGeom prst="rect">
            <a:avLst/>
          </a:prstGeom>
        </p:spPr>
      </p:pic>
      <p:sp>
        <p:nvSpPr>
          <p:cNvPr id="2" name="Title 1"/>
          <p:cNvSpPr>
            <a:spLocks noGrp="1"/>
          </p:cNvSpPr>
          <p:nvPr>
            <p:ph type="ctrTitle"/>
          </p:nvPr>
        </p:nvSpPr>
        <p:spPr>
          <a:xfrm>
            <a:off x="4809393" y="516457"/>
            <a:ext cx="3877408" cy="1790700"/>
          </a:xfrm>
        </p:spPr>
        <p:txBody>
          <a:bodyPr anchor="b">
            <a:normAutofit/>
          </a:bodyPr>
          <a:lstStyle>
            <a:lvl1pPr algn="ctr">
              <a:defRPr sz="4000" b="1">
                <a:solidFill>
                  <a:srgbClr val="F28C11"/>
                </a:solidFill>
              </a:defRPr>
            </a:lvl1pPr>
          </a:lstStyle>
          <a:p>
            <a:r>
              <a:rPr lang="en-US" dirty="0"/>
              <a:t>Click to edit Master title style</a:t>
            </a:r>
          </a:p>
        </p:txBody>
      </p:sp>
      <p:sp>
        <p:nvSpPr>
          <p:cNvPr id="3" name="Subtitle 2"/>
          <p:cNvSpPr>
            <a:spLocks noGrp="1"/>
          </p:cNvSpPr>
          <p:nvPr>
            <p:ph type="subTitle" idx="1"/>
          </p:nvPr>
        </p:nvSpPr>
        <p:spPr>
          <a:xfrm>
            <a:off x="4809393" y="2400300"/>
            <a:ext cx="3877408" cy="748630"/>
          </a:xfrm>
        </p:spPr>
        <p:txBody>
          <a:bodyPr>
            <a:noAutofit/>
          </a:bodyPr>
          <a:lstStyle>
            <a:lvl1pPr marL="0" indent="0" algn="ctr">
              <a:buNone/>
              <a:defRPr sz="2400" b="1" i="0"/>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dirty="0"/>
              <a:t>Click to edit Master subtitle styl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66354" y="3549802"/>
            <a:ext cx="1763486" cy="1371600"/>
          </a:xfrm>
          <a:prstGeom prst="rect">
            <a:avLst/>
          </a:prstGeom>
        </p:spPr>
      </p:pic>
    </p:spTree>
    <p:extLst>
      <p:ext uri="{BB962C8B-B14F-4D97-AF65-F5344CB8AC3E}">
        <p14:creationId xmlns:p14="http://schemas.microsoft.com/office/powerpoint/2010/main" val="13132254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76394" y="59945"/>
            <a:ext cx="7343518" cy="941541"/>
          </a:xfrm>
        </p:spPr>
        <p:txBody>
          <a:bodyPr/>
          <a:lstStyle/>
          <a:p>
            <a:r>
              <a:rPr lang="en-US"/>
              <a:t>Click to edit Master title style</a:t>
            </a:r>
            <a:endParaRPr lang="en-US" dirty="0"/>
          </a:p>
        </p:txBody>
      </p:sp>
      <p:sp>
        <p:nvSpPr>
          <p:cNvPr id="3" name="Content Placeholder 2"/>
          <p:cNvSpPr>
            <a:spLocks noGrp="1"/>
          </p:cNvSpPr>
          <p:nvPr>
            <p:ph idx="1"/>
          </p:nvPr>
        </p:nvSpPr>
        <p:spPr>
          <a:xfrm>
            <a:off x="976394" y="1215386"/>
            <a:ext cx="7343518" cy="3675929"/>
          </a:xfrm>
        </p:spPr>
        <p:txBody>
          <a:bodyPr>
            <a:normAutofit/>
          </a:bodyPr>
          <a:lstStyle>
            <a:lvl1pPr>
              <a:defRPr sz="2400"/>
            </a:lvl1pPr>
            <a:lvl2pPr marL="584171" indent="-228588">
              <a:tabLst/>
              <a:defRPr sz="2200"/>
            </a:lvl2pPr>
            <a:lvl3pPr marL="927054" indent="-228588">
              <a:tabLst/>
              <a:defRPr sz="2000"/>
            </a:lvl3pPr>
            <a:lvl4pPr marL="1155642" indent="-157155">
              <a:tabLst/>
              <a:defRPr sz="1800"/>
            </a:lvl4pPr>
            <a:lvl5pPr marL="1496938" indent="-200015">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39534756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6" y="557215"/>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884" indent="0">
              <a:buNone/>
              <a:defRPr sz="1500">
                <a:solidFill>
                  <a:schemeClr val="tx1">
                    <a:tint val="75000"/>
                  </a:schemeClr>
                </a:solidFill>
              </a:defRPr>
            </a:lvl2pPr>
            <a:lvl3pPr marL="685766" indent="0">
              <a:buNone/>
              <a:defRPr sz="1350">
                <a:solidFill>
                  <a:schemeClr val="tx1">
                    <a:tint val="75000"/>
                  </a:schemeClr>
                </a:solidFill>
              </a:defRPr>
            </a:lvl3pPr>
            <a:lvl4pPr marL="1028649" indent="0">
              <a:buNone/>
              <a:defRPr sz="1200">
                <a:solidFill>
                  <a:schemeClr val="tx1">
                    <a:tint val="75000"/>
                  </a:schemeClr>
                </a:solidFill>
              </a:defRPr>
            </a:lvl4pPr>
            <a:lvl5pPr marL="1371532" indent="0">
              <a:buNone/>
              <a:defRPr sz="1200">
                <a:solidFill>
                  <a:schemeClr val="tx1">
                    <a:tint val="75000"/>
                  </a:schemeClr>
                </a:solidFill>
              </a:defRPr>
            </a:lvl5pPr>
            <a:lvl6pPr marL="1714415" indent="0">
              <a:buNone/>
              <a:defRPr sz="1200">
                <a:solidFill>
                  <a:schemeClr val="tx1">
                    <a:tint val="75000"/>
                  </a:schemeClr>
                </a:solidFill>
              </a:defRPr>
            </a:lvl6pPr>
            <a:lvl7pPr marL="2057297" indent="0">
              <a:buNone/>
              <a:defRPr sz="1200">
                <a:solidFill>
                  <a:schemeClr val="tx1">
                    <a:tint val="75000"/>
                  </a:schemeClr>
                </a:solidFill>
              </a:defRPr>
            </a:lvl7pPr>
            <a:lvl8pPr marL="2400180" indent="0">
              <a:buNone/>
              <a:defRPr sz="1200">
                <a:solidFill>
                  <a:schemeClr val="tx1">
                    <a:tint val="75000"/>
                  </a:schemeClr>
                </a:solidFill>
              </a:defRPr>
            </a:lvl8pPr>
            <a:lvl9pPr marL="2743064" indent="0">
              <a:buNone/>
              <a:defRPr sz="1200">
                <a:solidFill>
                  <a:schemeClr val="tx1">
                    <a:tint val="75000"/>
                  </a:schemeClr>
                </a:solidFill>
              </a:defRPr>
            </a:lvl9pPr>
          </a:lstStyle>
          <a:p>
            <a:pPr lvl="0"/>
            <a:r>
              <a:rPr lang="en-US" dirty="0"/>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0611" y="4380220"/>
            <a:ext cx="822276" cy="639548"/>
          </a:xfrm>
          <a:prstGeom prst="rect">
            <a:avLst/>
          </a:prstGeom>
        </p:spPr>
      </p:pic>
    </p:spTree>
    <p:extLst>
      <p:ext uri="{BB962C8B-B14F-4D97-AF65-F5344CB8AC3E}">
        <p14:creationId xmlns:p14="http://schemas.microsoft.com/office/powerpoint/2010/main" val="3367894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
            <a:ext cx="9144000" cy="5143499"/>
          </a:xfrm>
          <a:prstGeom prst="rect">
            <a:avLst/>
          </a:prstGeom>
        </p:spPr>
      </p:pic>
      <p:sp>
        <p:nvSpPr>
          <p:cNvPr id="2" name="Title 1"/>
          <p:cNvSpPr>
            <a:spLocks noGrp="1"/>
          </p:cNvSpPr>
          <p:nvPr>
            <p:ph type="title"/>
          </p:nvPr>
        </p:nvSpPr>
        <p:spPr>
          <a:xfrm>
            <a:off x="3000376" y="557215"/>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884" indent="0">
              <a:buNone/>
              <a:defRPr sz="1500">
                <a:solidFill>
                  <a:schemeClr val="tx1">
                    <a:tint val="75000"/>
                  </a:schemeClr>
                </a:solidFill>
              </a:defRPr>
            </a:lvl2pPr>
            <a:lvl3pPr marL="685766" indent="0">
              <a:buNone/>
              <a:defRPr sz="1350">
                <a:solidFill>
                  <a:schemeClr val="tx1">
                    <a:tint val="75000"/>
                  </a:schemeClr>
                </a:solidFill>
              </a:defRPr>
            </a:lvl3pPr>
            <a:lvl4pPr marL="1028649" indent="0">
              <a:buNone/>
              <a:defRPr sz="1200">
                <a:solidFill>
                  <a:schemeClr val="tx1">
                    <a:tint val="75000"/>
                  </a:schemeClr>
                </a:solidFill>
              </a:defRPr>
            </a:lvl4pPr>
            <a:lvl5pPr marL="1371532" indent="0">
              <a:buNone/>
              <a:defRPr sz="1200">
                <a:solidFill>
                  <a:schemeClr val="tx1">
                    <a:tint val="75000"/>
                  </a:schemeClr>
                </a:solidFill>
              </a:defRPr>
            </a:lvl5pPr>
            <a:lvl6pPr marL="1714415" indent="0">
              <a:buNone/>
              <a:defRPr sz="1200">
                <a:solidFill>
                  <a:schemeClr val="tx1">
                    <a:tint val="75000"/>
                  </a:schemeClr>
                </a:solidFill>
              </a:defRPr>
            </a:lvl6pPr>
            <a:lvl7pPr marL="2057297" indent="0">
              <a:buNone/>
              <a:defRPr sz="1200">
                <a:solidFill>
                  <a:schemeClr val="tx1">
                    <a:tint val="75000"/>
                  </a:schemeClr>
                </a:solidFill>
              </a:defRPr>
            </a:lvl7pPr>
            <a:lvl8pPr marL="2400180" indent="0">
              <a:buNone/>
              <a:defRPr sz="1200">
                <a:solidFill>
                  <a:schemeClr val="tx1">
                    <a:tint val="75000"/>
                  </a:schemeClr>
                </a:solidFill>
              </a:defRPr>
            </a:lvl8pPr>
            <a:lvl9pPr marL="2743064"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0611" y="4380220"/>
            <a:ext cx="822276" cy="639548"/>
          </a:xfrm>
          <a:prstGeom prst="rect">
            <a:avLst/>
          </a:prstGeom>
        </p:spPr>
      </p:pic>
    </p:spTree>
    <p:extLst>
      <p:ext uri="{BB962C8B-B14F-4D97-AF65-F5344CB8AC3E}">
        <p14:creationId xmlns:p14="http://schemas.microsoft.com/office/powerpoint/2010/main" val="1406217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 y="2"/>
            <a:ext cx="9143999" cy="5143499"/>
          </a:xfrm>
          <a:prstGeom prst="rect">
            <a:avLst/>
          </a:prstGeom>
        </p:spPr>
      </p:pic>
      <p:sp>
        <p:nvSpPr>
          <p:cNvPr id="2" name="Title 1"/>
          <p:cNvSpPr>
            <a:spLocks noGrp="1"/>
          </p:cNvSpPr>
          <p:nvPr>
            <p:ph type="title"/>
          </p:nvPr>
        </p:nvSpPr>
        <p:spPr>
          <a:xfrm>
            <a:off x="3000376" y="557215"/>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884" indent="0">
              <a:buNone/>
              <a:defRPr sz="1500">
                <a:solidFill>
                  <a:schemeClr val="tx1">
                    <a:tint val="75000"/>
                  </a:schemeClr>
                </a:solidFill>
              </a:defRPr>
            </a:lvl2pPr>
            <a:lvl3pPr marL="685766" indent="0">
              <a:buNone/>
              <a:defRPr sz="1350">
                <a:solidFill>
                  <a:schemeClr val="tx1">
                    <a:tint val="75000"/>
                  </a:schemeClr>
                </a:solidFill>
              </a:defRPr>
            </a:lvl3pPr>
            <a:lvl4pPr marL="1028649" indent="0">
              <a:buNone/>
              <a:defRPr sz="1200">
                <a:solidFill>
                  <a:schemeClr val="tx1">
                    <a:tint val="75000"/>
                  </a:schemeClr>
                </a:solidFill>
              </a:defRPr>
            </a:lvl4pPr>
            <a:lvl5pPr marL="1371532" indent="0">
              <a:buNone/>
              <a:defRPr sz="1200">
                <a:solidFill>
                  <a:schemeClr val="tx1">
                    <a:tint val="75000"/>
                  </a:schemeClr>
                </a:solidFill>
              </a:defRPr>
            </a:lvl5pPr>
            <a:lvl6pPr marL="1714415" indent="0">
              <a:buNone/>
              <a:defRPr sz="1200">
                <a:solidFill>
                  <a:schemeClr val="tx1">
                    <a:tint val="75000"/>
                  </a:schemeClr>
                </a:solidFill>
              </a:defRPr>
            </a:lvl6pPr>
            <a:lvl7pPr marL="2057297" indent="0">
              <a:buNone/>
              <a:defRPr sz="1200">
                <a:solidFill>
                  <a:schemeClr val="tx1">
                    <a:tint val="75000"/>
                  </a:schemeClr>
                </a:solidFill>
              </a:defRPr>
            </a:lvl7pPr>
            <a:lvl8pPr marL="2400180" indent="0">
              <a:buNone/>
              <a:defRPr sz="1200">
                <a:solidFill>
                  <a:schemeClr val="tx1">
                    <a:tint val="75000"/>
                  </a:schemeClr>
                </a:solidFill>
              </a:defRPr>
            </a:lvl8pPr>
            <a:lvl9pPr marL="2743064"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0611" y="4380220"/>
            <a:ext cx="822276" cy="639548"/>
          </a:xfrm>
          <a:prstGeom prst="rect">
            <a:avLst/>
          </a:prstGeom>
        </p:spPr>
      </p:pic>
    </p:spTree>
    <p:extLst>
      <p:ext uri="{BB962C8B-B14F-4D97-AF65-F5344CB8AC3E}">
        <p14:creationId xmlns:p14="http://schemas.microsoft.com/office/powerpoint/2010/main" val="22139738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22150" y="59945"/>
            <a:ext cx="7397762" cy="94154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57252"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57752"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28577637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14402" y="59945"/>
            <a:ext cx="7405511" cy="941541"/>
          </a:xfrm>
        </p:spPr>
        <p:txBody>
          <a:bodyPr/>
          <a:lstStyle/>
          <a:p>
            <a:r>
              <a:rPr lang="en-US"/>
              <a:t>Click to edit Master title style</a:t>
            </a:r>
            <a:endParaRPr lang="en-US" dirty="0"/>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39840811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68ED9-CFFC-4CE5-9717-39B365EAD289}"/>
              </a:ext>
            </a:extLst>
          </p:cNvPr>
          <p:cNvSpPr>
            <a:spLocks noGrp="1"/>
          </p:cNvSpPr>
          <p:nvPr>
            <p:ph type="title" hasCustomPrompt="1"/>
          </p:nvPr>
        </p:nvSpPr>
        <p:spPr>
          <a:xfrm>
            <a:off x="945399" y="59945"/>
            <a:ext cx="7374514" cy="941541"/>
          </a:xfrm>
        </p:spPr>
        <p:txBody>
          <a:bodyPr/>
          <a:lstStyle>
            <a:lvl1pPr>
              <a:defRPr/>
            </a:lvl1pPr>
          </a:lstStyle>
          <a:p>
            <a:r>
              <a:rPr lang="en-US" dirty="0"/>
              <a:t>Audience Poll</a:t>
            </a:r>
          </a:p>
        </p:txBody>
      </p:sp>
      <p:sp>
        <p:nvSpPr>
          <p:cNvPr id="3" name="Slide Number Placeholder 2">
            <a:extLst>
              <a:ext uri="{FF2B5EF4-FFF2-40B4-BE49-F238E27FC236}">
                <a16:creationId xmlns:a16="http://schemas.microsoft.com/office/drawing/2014/main" id="{9BA946A4-9BAA-404E-BF33-03D3CDA71B87}"/>
              </a:ext>
            </a:extLst>
          </p:cNvPr>
          <p:cNvSpPr>
            <a:spLocks noGrp="1"/>
          </p:cNvSpPr>
          <p:nvPr>
            <p:ph type="sldNum" sz="quarter" idx="10"/>
          </p:nvPr>
        </p:nvSpPr>
        <p:spPr/>
        <p:txBody>
          <a:bodyPr/>
          <a:lstStyle/>
          <a:p>
            <a:fld id="{42AD0A0E-4515-A647-B2E3-7F1B29FB990E}" type="slidenum">
              <a:rPr lang="en-US" smtClean="0"/>
              <a:pPr/>
              <a:t>‹#›</a:t>
            </a:fld>
            <a:endParaRPr lang="en-US"/>
          </a:p>
        </p:txBody>
      </p:sp>
      <p:sp>
        <p:nvSpPr>
          <p:cNvPr id="5" name="Action Button: Help 4">
            <a:hlinkClick r:id="" action="ppaction://noaction" highlightClick="1"/>
            <a:extLst>
              <a:ext uri="{FF2B5EF4-FFF2-40B4-BE49-F238E27FC236}">
                <a16:creationId xmlns:a16="http://schemas.microsoft.com/office/drawing/2014/main" id="{FE62B71E-A1BE-421C-994B-A2FED6CBE336}"/>
              </a:ext>
            </a:extLst>
          </p:cNvPr>
          <p:cNvSpPr/>
          <p:nvPr userDrawn="1"/>
        </p:nvSpPr>
        <p:spPr>
          <a:xfrm>
            <a:off x="7142042" y="385428"/>
            <a:ext cx="1177871" cy="1232116"/>
          </a:xfrm>
          <a:prstGeom prst="actionButtonHelp">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15560041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1291" cy="5143500"/>
          </a:xfrm>
          <a:prstGeom prst="rect">
            <a:avLst/>
          </a:prstGeom>
        </p:spPr>
      </p:pic>
      <p:sp>
        <p:nvSpPr>
          <p:cNvPr id="2" name="Title 1"/>
          <p:cNvSpPr>
            <a:spLocks noGrp="1"/>
          </p:cNvSpPr>
          <p:nvPr>
            <p:ph type="ctrTitle"/>
          </p:nvPr>
        </p:nvSpPr>
        <p:spPr>
          <a:xfrm>
            <a:off x="4809392" y="516457"/>
            <a:ext cx="3877408" cy="1649506"/>
          </a:xfrm>
        </p:spPr>
        <p:txBody>
          <a:bodyPr anchor="b">
            <a:noAutofit/>
          </a:bodyPr>
          <a:lstStyle>
            <a:lvl1pPr algn="ctr">
              <a:defRPr sz="4000" b="1">
                <a:solidFill>
                  <a:srgbClr val="F28C11"/>
                </a:solidFill>
              </a:defRPr>
            </a:lvl1pPr>
          </a:lstStyle>
          <a:p>
            <a:r>
              <a:rPr lang="en-US" dirty="0"/>
              <a:t>Click to edit Master title style</a:t>
            </a:r>
          </a:p>
        </p:txBody>
      </p:sp>
      <p:sp>
        <p:nvSpPr>
          <p:cNvPr id="3" name="Subtitle 2"/>
          <p:cNvSpPr>
            <a:spLocks noGrp="1"/>
          </p:cNvSpPr>
          <p:nvPr>
            <p:ph type="subTitle" idx="1"/>
          </p:nvPr>
        </p:nvSpPr>
        <p:spPr>
          <a:xfrm>
            <a:off x="4809392" y="2259106"/>
            <a:ext cx="3877408" cy="1290696"/>
          </a:xfrm>
        </p:spPr>
        <p:txBody>
          <a:bodyPr>
            <a:noAutofit/>
          </a:bodyPr>
          <a:lstStyle>
            <a:lvl1pPr marL="0" indent="0" algn="ctr">
              <a:buNone/>
              <a:defRPr sz="2000" b="1" i="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66353" y="3549802"/>
            <a:ext cx="1763486" cy="1371600"/>
          </a:xfrm>
          <a:prstGeom prst="rect">
            <a:avLst/>
          </a:prstGeom>
        </p:spPr>
      </p:pic>
    </p:spTree>
    <p:extLst>
      <p:ext uri="{BB962C8B-B14F-4D97-AF65-F5344CB8AC3E}">
        <p14:creationId xmlns:p14="http://schemas.microsoft.com/office/powerpoint/2010/main" val="11721024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A69053C-6312-4C62-B942-BBDCF5A8DB9E}"/>
              </a:ext>
            </a:extLst>
          </p:cNvPr>
          <p:cNvSpPr>
            <a:spLocks noGrp="1"/>
          </p:cNvSpPr>
          <p:nvPr>
            <p:ph type="body" sz="quarter" idx="11"/>
          </p:nvPr>
        </p:nvSpPr>
        <p:spPr>
          <a:xfrm>
            <a:off x="857250" y="1215384"/>
            <a:ext cx="7462661" cy="3675929"/>
          </a:xfrm>
        </p:spPr>
        <p:txBody>
          <a:bodyPr/>
          <a:lstStyle>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noAutofit/>
          </a:bodyPr>
          <a:lstStyle/>
          <a:p>
            <a:r>
              <a:rPr lang="en-US" dirty="0"/>
              <a:t>Click to edit Master title style</a:t>
            </a:r>
          </a:p>
        </p:txBody>
      </p:sp>
      <p:sp>
        <p:nvSpPr>
          <p:cNvPr id="7" name="Slide Number Placeholder 6"/>
          <p:cNvSpPr>
            <a:spLocks noGrp="1"/>
          </p:cNvSpPr>
          <p:nvPr>
            <p:ph type="sldNum" sz="quarter" idx="10"/>
          </p:nvPr>
        </p:nvSpPr>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290696354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4" y="557214"/>
            <a:ext cx="5510213" cy="2308622"/>
          </a:xfrm>
        </p:spPr>
        <p:txBody>
          <a:bodyPr anchor="b">
            <a:no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hasCustomPrompt="1"/>
          </p:nvPr>
        </p:nvSpPr>
        <p:spPr>
          <a:xfrm>
            <a:off x="3000374" y="3157538"/>
            <a:ext cx="5510214" cy="1409700"/>
          </a:xfrm>
        </p:spPr>
        <p:txBody>
          <a:bodyPr>
            <a:no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6985487" y="59945"/>
            <a:ext cx="2057400" cy="273844"/>
          </a:xfrm>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3275625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3999"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499"/>
          </a:xfrm>
          <a:prstGeom prst="rect">
            <a:avLst/>
          </a:prstGeom>
        </p:spPr>
      </p:pic>
      <p:sp>
        <p:nvSpPr>
          <p:cNvPr id="2" name="Title 1"/>
          <p:cNvSpPr>
            <a:spLocks noGrp="1"/>
          </p:cNvSpPr>
          <p:nvPr>
            <p:ph type="title"/>
          </p:nvPr>
        </p:nvSpPr>
        <p:spPr>
          <a:xfrm>
            <a:off x="3000374" y="557214"/>
            <a:ext cx="5510213" cy="2308622"/>
          </a:xfrm>
        </p:spPr>
        <p:txBody>
          <a:bodyPr anchor="b">
            <a:no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hasCustomPrompt="1"/>
          </p:nvPr>
        </p:nvSpPr>
        <p:spPr>
          <a:xfrm>
            <a:off x="3000374" y="3157538"/>
            <a:ext cx="5510214" cy="1409700"/>
          </a:xfrm>
        </p:spPr>
        <p:txBody>
          <a:bodyPr>
            <a:no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6985487" y="59945"/>
            <a:ext cx="2057400" cy="273844"/>
          </a:xfrm>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35838370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0"/>
            <a:ext cx="9143999" cy="5143499"/>
          </a:xfrm>
          <a:prstGeom prst="rect">
            <a:avLst/>
          </a:prstGeom>
        </p:spPr>
      </p:pic>
      <p:sp>
        <p:nvSpPr>
          <p:cNvPr id="2" name="Title 1"/>
          <p:cNvSpPr>
            <a:spLocks noGrp="1"/>
          </p:cNvSpPr>
          <p:nvPr>
            <p:ph type="title"/>
          </p:nvPr>
        </p:nvSpPr>
        <p:spPr>
          <a:xfrm>
            <a:off x="3000374" y="557214"/>
            <a:ext cx="5510213" cy="2308622"/>
          </a:xfrm>
        </p:spPr>
        <p:txBody>
          <a:bodyPr anchor="b">
            <a:no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hasCustomPrompt="1"/>
          </p:nvPr>
        </p:nvSpPr>
        <p:spPr>
          <a:xfrm>
            <a:off x="3000374" y="3157538"/>
            <a:ext cx="5510214" cy="1409700"/>
          </a:xfrm>
        </p:spPr>
        <p:txBody>
          <a:bodyPr>
            <a:no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6985487" y="59945"/>
            <a:ext cx="2057400" cy="273844"/>
          </a:xfrm>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29093622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8" name="Slide Number Placeholder 7"/>
          <p:cNvSpPr>
            <a:spLocks noGrp="1"/>
          </p:cNvSpPr>
          <p:nvPr>
            <p:ph type="sldNum" sz="quarter" idx="10"/>
          </p:nvPr>
        </p:nvSpPr>
        <p:spPr/>
        <p:txBody>
          <a:bodyPr>
            <a:noAutofit/>
          </a:bodyPr>
          <a:lstStyle/>
          <a:p>
            <a:fld id="{42AD0A0E-4515-A647-B2E3-7F1B29FB990E}" type="slidenum">
              <a:rPr lang="en-US" smtClean="0"/>
              <a:pPr/>
              <a:t>‹#›</a:t>
            </a:fld>
            <a:endParaRPr lang="en-US"/>
          </a:p>
        </p:txBody>
      </p:sp>
      <p:sp>
        <p:nvSpPr>
          <p:cNvPr id="6" name="Text Placeholder 7">
            <a:extLst>
              <a:ext uri="{FF2B5EF4-FFF2-40B4-BE49-F238E27FC236}">
                <a16:creationId xmlns:a16="http://schemas.microsoft.com/office/drawing/2014/main" id="{19BB9492-D66A-4E21-8D36-EDD7922ADB4D}"/>
              </a:ext>
            </a:extLst>
          </p:cNvPr>
          <p:cNvSpPr>
            <a:spLocks noGrp="1"/>
          </p:cNvSpPr>
          <p:nvPr>
            <p:ph type="body" sz="quarter" idx="11"/>
          </p:nvPr>
        </p:nvSpPr>
        <p:spPr>
          <a:xfrm>
            <a:off x="857250" y="1215384"/>
            <a:ext cx="3462161" cy="3675929"/>
          </a:xfrm>
        </p:spPr>
        <p:txBody>
          <a:bodyPr/>
          <a:lstStyle>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7">
            <a:extLst>
              <a:ext uri="{FF2B5EF4-FFF2-40B4-BE49-F238E27FC236}">
                <a16:creationId xmlns:a16="http://schemas.microsoft.com/office/drawing/2014/main" id="{E6F48B31-A4DA-453A-B9E3-3AB5B500F1E0}"/>
              </a:ext>
            </a:extLst>
          </p:cNvPr>
          <p:cNvSpPr>
            <a:spLocks noGrp="1"/>
          </p:cNvSpPr>
          <p:nvPr>
            <p:ph type="body" sz="quarter" idx="12"/>
          </p:nvPr>
        </p:nvSpPr>
        <p:spPr>
          <a:xfrm>
            <a:off x="4857749" y="1215384"/>
            <a:ext cx="3462161" cy="3675929"/>
          </a:xfrm>
        </p:spPr>
        <p:txBody>
          <a:bodyPr/>
          <a:lstStyle>
            <a:lvl2pPr>
              <a:defRPr sz="1600"/>
            </a:lvl2pPr>
            <a:lvl3pPr>
              <a:defRPr sz="1400"/>
            </a:lvl3pPr>
            <a:lvl4pPr>
              <a:defRPr sz="1200"/>
            </a:lvl4pPr>
            <a:lvl5pPr>
              <a:defRPr sz="11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797903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Click to edit Master title style</a:t>
            </a:r>
          </a:p>
        </p:txBody>
      </p:sp>
      <p:sp>
        <p:nvSpPr>
          <p:cNvPr id="6" name="Slide Number Placeholder 5"/>
          <p:cNvSpPr>
            <a:spLocks noGrp="1"/>
          </p:cNvSpPr>
          <p:nvPr>
            <p:ph type="sldNum" sz="quarter" idx="10"/>
          </p:nvPr>
        </p:nvSpPr>
        <p:spPr/>
        <p:txBody>
          <a:bodyPr>
            <a:noAutofit/>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2361068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F4AB-3BA0-4239-9286-91194A8EBAA0}"/>
              </a:ext>
            </a:extLst>
          </p:cNvPr>
          <p:cNvSpPr>
            <a:spLocks noGrp="1"/>
          </p:cNvSpPr>
          <p:nvPr>
            <p:ph type="title" hasCustomPrompt="1"/>
          </p:nvPr>
        </p:nvSpPr>
        <p:spPr/>
        <p:txBody>
          <a:bodyPr>
            <a:noAutofit/>
          </a:bodyPr>
          <a:lstStyle>
            <a:lvl1pPr>
              <a:defRPr/>
            </a:lvl1pPr>
          </a:lstStyle>
          <a:p>
            <a:r>
              <a:rPr lang="en-US" dirty="0"/>
              <a:t>Audience Poll Slide</a:t>
            </a:r>
          </a:p>
        </p:txBody>
      </p:sp>
      <p:sp>
        <p:nvSpPr>
          <p:cNvPr id="3" name="Slide Number Placeholder 2">
            <a:extLst>
              <a:ext uri="{FF2B5EF4-FFF2-40B4-BE49-F238E27FC236}">
                <a16:creationId xmlns:a16="http://schemas.microsoft.com/office/drawing/2014/main" id="{88DA7B91-99E1-432F-9B4D-1C3803F5B7DE}"/>
              </a:ext>
            </a:extLst>
          </p:cNvPr>
          <p:cNvSpPr>
            <a:spLocks noGrp="1"/>
          </p:cNvSpPr>
          <p:nvPr>
            <p:ph type="sldNum" sz="quarter" idx="10"/>
          </p:nvPr>
        </p:nvSpPr>
        <p:spPr/>
        <p:txBody>
          <a:bodyPr>
            <a:noAutofit/>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354A3FF4-8D50-4114-A5A4-C538BCC81F7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10363" y="111375"/>
            <a:ext cx="1132524" cy="1132522"/>
          </a:xfrm>
          <a:prstGeom prst="rect">
            <a:avLst/>
          </a:prstGeom>
        </p:spPr>
      </p:pic>
    </p:spTree>
    <p:extLst>
      <p:ext uri="{BB962C8B-B14F-4D97-AF65-F5344CB8AC3E}">
        <p14:creationId xmlns:p14="http://schemas.microsoft.com/office/powerpoint/2010/main" val="1836670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oster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618BE5-ADA9-4FEA-8B0C-220E365C9AC5}"/>
              </a:ext>
            </a:extLst>
          </p:cNvPr>
          <p:cNvSpPr/>
          <p:nvPr userDrawn="1"/>
        </p:nvSpPr>
        <p:spPr>
          <a:xfrm>
            <a:off x="7886700" y="4076700"/>
            <a:ext cx="12573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544399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Poster 1.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755F70C-BCEA-468D-AA82-53A3E1C2539A}"/>
              </a:ext>
            </a:extLst>
          </p:cNvPr>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29762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755F70C-BCEA-468D-AA82-53A3E1C2539A}"/>
              </a:ext>
            </a:extLst>
          </p:cNvPr>
          <p:cNvSpPr>
            <a:spLocks noGrp="1"/>
          </p:cNvSpPr>
          <p:nvPr>
            <p:ph type="sldNum" sz="quarter" idx="10"/>
          </p:nvPr>
        </p:nvSpPr>
        <p:spPr/>
        <p:txBody>
          <a:bodyPr/>
          <a:lstStyle/>
          <a:p>
            <a:fld id="{42AD0A0E-4515-A647-B2E3-7F1B29FB990E}" type="slidenum">
              <a:rPr lang="en-US" smtClean="0"/>
              <a:pPr/>
              <a:t>‹#›</a:t>
            </a:fld>
            <a:endParaRPr lang="en-US"/>
          </a:p>
        </p:txBody>
      </p:sp>
      <p:sp>
        <p:nvSpPr>
          <p:cNvPr id="2" name="Title 1">
            <a:extLst>
              <a:ext uri="{FF2B5EF4-FFF2-40B4-BE49-F238E27FC236}">
                <a16:creationId xmlns:a16="http://schemas.microsoft.com/office/drawing/2014/main" id="{D3A547E2-E726-45B8-B8D7-3196E555D960}"/>
              </a:ext>
            </a:extLst>
          </p:cNvPr>
          <p:cNvSpPr>
            <a:spLocks noGrp="1"/>
          </p:cNvSpPr>
          <p:nvPr>
            <p:ph type="title"/>
          </p:nvPr>
        </p:nvSpPr>
        <p:spPr>
          <a:xfrm>
            <a:off x="857250" y="196867"/>
            <a:ext cx="7462661" cy="393852"/>
          </a:xfrm>
        </p:spPr>
        <p:txBody>
          <a:bodyPr anchor="ctr">
            <a:noAutofit/>
          </a:bodyPr>
          <a:lstStyle/>
          <a:p>
            <a:r>
              <a:rPr lang="en-US" dirty="0"/>
              <a:t>Click to edit Master title style</a:t>
            </a:r>
            <a:endParaRPr lang="en-GB" dirty="0"/>
          </a:p>
        </p:txBody>
      </p:sp>
    </p:spTree>
    <p:extLst>
      <p:ext uri="{BB962C8B-B14F-4D97-AF65-F5344CB8AC3E}">
        <p14:creationId xmlns:p14="http://schemas.microsoft.com/office/powerpoint/2010/main" val="2369851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15831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6839" y="1393901"/>
            <a:ext cx="8463776" cy="3178099"/>
          </a:xfrm>
        </p:spPr>
        <p:txBody>
          <a:bodyPr/>
          <a:lstStyle>
            <a:lvl1pPr>
              <a:defRPr>
                <a:solidFill>
                  <a:schemeClr val="accent5">
                    <a:lumMod val="75000"/>
                  </a:schemeClr>
                </a:solidFill>
              </a:defRPr>
            </a:lvl1pPr>
            <a:lvl2pPr>
              <a:defRPr>
                <a:solidFill>
                  <a:schemeClr val="accent5">
                    <a:lumMod val="75000"/>
                  </a:schemeClr>
                </a:solidFill>
              </a:defRPr>
            </a:lvl2pPr>
            <a:lvl3pPr>
              <a:defRPr>
                <a:solidFill>
                  <a:schemeClr val="accent5">
                    <a:lumMod val="75000"/>
                  </a:schemeClr>
                </a:solidFill>
              </a:defRPr>
            </a:lvl3pPr>
            <a:lvl4pPr>
              <a:defRPr>
                <a:solidFill>
                  <a:schemeClr val="accent5">
                    <a:lumMod val="75000"/>
                  </a:schemeClr>
                </a:solidFill>
              </a:defRPr>
            </a:lvl4pPr>
            <a:lvl5pPr>
              <a:defRPr>
                <a:solidFill>
                  <a:schemeClr val="accent5">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1">
            <a:extLst>
              <a:ext uri="{FF2B5EF4-FFF2-40B4-BE49-F238E27FC236}">
                <a16:creationId xmlns:a16="http://schemas.microsoft.com/office/drawing/2014/main" id="{2C879EE4-FF74-7D46-8463-E5C75DC2FD12}"/>
              </a:ext>
            </a:extLst>
          </p:cNvPr>
          <p:cNvSpPr>
            <a:spLocks noGrp="1"/>
          </p:cNvSpPr>
          <p:nvPr>
            <p:ph type="title"/>
          </p:nvPr>
        </p:nvSpPr>
        <p:spPr>
          <a:xfrm>
            <a:off x="356839" y="669073"/>
            <a:ext cx="8384039" cy="581534"/>
          </a:xfrm>
          <a:prstGeom prst="rect">
            <a:avLst/>
          </a:prstGeom>
        </p:spPr>
        <p:txBody>
          <a:bodyPr vert="horz" lIns="91440" tIns="45720" rIns="91440" bIns="45720" rtlCol="0" anchor="b">
            <a:normAutofit/>
          </a:bodyPr>
          <a:lstStyle/>
          <a:p>
            <a:r>
              <a:rPr lang="en-US" dirty="0"/>
              <a:t>Click To Edit Master Title Style</a:t>
            </a:r>
          </a:p>
        </p:txBody>
      </p:sp>
    </p:spTree>
    <p:extLst>
      <p:ext uri="{BB962C8B-B14F-4D97-AF65-F5344CB8AC3E}">
        <p14:creationId xmlns:p14="http://schemas.microsoft.com/office/powerpoint/2010/main" val="15398192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572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577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924925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1291" cy="5143500"/>
          </a:xfrm>
          <a:prstGeom prst="rect">
            <a:avLst/>
          </a:prstGeom>
        </p:spPr>
      </p:pic>
      <p:sp>
        <p:nvSpPr>
          <p:cNvPr id="2" name="Title 1"/>
          <p:cNvSpPr>
            <a:spLocks noGrp="1"/>
          </p:cNvSpPr>
          <p:nvPr>
            <p:ph type="ctrTitle"/>
          </p:nvPr>
        </p:nvSpPr>
        <p:spPr>
          <a:xfrm>
            <a:off x="4809392" y="516457"/>
            <a:ext cx="3877408" cy="1790700"/>
          </a:xfrm>
        </p:spPr>
        <p:txBody>
          <a:bodyPr anchor="b">
            <a:normAutofit/>
          </a:bodyPr>
          <a:lstStyle>
            <a:lvl1pPr algn="ctr">
              <a:defRPr sz="4000" b="1">
                <a:solidFill>
                  <a:srgbClr val="F28C11"/>
                </a:solidFill>
              </a:defRPr>
            </a:lvl1pPr>
          </a:lstStyle>
          <a:p>
            <a:r>
              <a:rPr lang="en-US" dirty="0"/>
              <a:t>Click to edit Master title style</a:t>
            </a:r>
          </a:p>
        </p:txBody>
      </p:sp>
      <p:sp>
        <p:nvSpPr>
          <p:cNvPr id="3" name="Subtitle 2"/>
          <p:cNvSpPr>
            <a:spLocks noGrp="1"/>
          </p:cNvSpPr>
          <p:nvPr>
            <p:ph type="subTitle" idx="1"/>
          </p:nvPr>
        </p:nvSpPr>
        <p:spPr>
          <a:xfrm>
            <a:off x="4809392" y="2400300"/>
            <a:ext cx="3877408" cy="748630"/>
          </a:xfrm>
        </p:spPr>
        <p:txBody>
          <a:bodyPr>
            <a:noAutofit/>
          </a:bodyPr>
          <a:lstStyle>
            <a:lvl1pPr marL="0" indent="0" algn="ctr">
              <a:buNone/>
              <a:defRPr sz="2400" b="1" i="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66353" y="3549802"/>
            <a:ext cx="1763486" cy="1371600"/>
          </a:xfrm>
          <a:prstGeom prst="rect">
            <a:avLst/>
          </a:prstGeom>
        </p:spPr>
      </p:pic>
    </p:spTree>
    <p:extLst>
      <p:ext uri="{BB962C8B-B14F-4D97-AF65-F5344CB8AC3E}">
        <p14:creationId xmlns:p14="http://schemas.microsoft.com/office/powerpoint/2010/main" val="41263159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22683626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C812D4E2-C8AC-4B2C-95C7-ADACC9FB802A}"/>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7227930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EA2D1A8F-1B35-4CB2-94FF-DCE71E14CA54}"/>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7247356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3999" cy="5143499"/>
          </a:xfrm>
          <a:prstGeom prst="rect">
            <a:avLst/>
          </a:prstGeom>
        </p:spPr>
      </p:pic>
      <p:sp>
        <p:nvSpPr>
          <p:cNvPr id="2" name="Title 1"/>
          <p:cNvSpPr>
            <a:spLocks noGrp="1"/>
          </p:cNvSpPr>
          <p:nvPr>
            <p:ph type="title"/>
          </p:nvPr>
        </p:nvSpPr>
        <p:spPr>
          <a:xfrm>
            <a:off x="3000374" y="557214"/>
            <a:ext cx="5510213" cy="2308622"/>
          </a:xfrm>
        </p:spPr>
        <p:txBody>
          <a:bodyPr anchor="b">
            <a:normAutofit/>
          </a:bodyPr>
          <a:lstStyle>
            <a:lvl1pPr>
              <a:defRPr sz="3400">
                <a:solidFill>
                  <a:srgbClr val="F28C11"/>
                </a:solidFill>
              </a:defRPr>
            </a:lvl1pPr>
          </a:lstStyle>
          <a:p>
            <a:r>
              <a:rPr lang="en-US" dirty="0"/>
              <a:t>Click to edit Master title style</a:t>
            </a:r>
          </a:p>
        </p:txBody>
      </p:sp>
      <p:sp>
        <p:nvSpPr>
          <p:cNvPr id="3" name="Text Placeholder 2"/>
          <p:cNvSpPr>
            <a:spLocks noGrp="1"/>
          </p:cNvSpPr>
          <p:nvPr>
            <p:ph type="body" idx="1"/>
          </p:nvPr>
        </p:nvSpPr>
        <p:spPr>
          <a:xfrm>
            <a:off x="3000374" y="3157538"/>
            <a:ext cx="5510214" cy="1409700"/>
          </a:xfrm>
        </p:spPr>
        <p:txBody>
          <a:bodyPr>
            <a:normAutofit/>
          </a:bodyPr>
          <a:lstStyle>
            <a:lvl1pPr marL="0" indent="0">
              <a:buNone/>
              <a:defRPr sz="2400" b="1" i="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6" name="Slide Number Placeholder 6">
            <a:extLst>
              <a:ext uri="{FF2B5EF4-FFF2-40B4-BE49-F238E27FC236}">
                <a16:creationId xmlns:a16="http://schemas.microsoft.com/office/drawing/2014/main" id="{435E2D7E-D7C0-461D-859B-B0E61D3E15E7}"/>
              </a:ext>
            </a:extLst>
          </p:cNvPr>
          <p:cNvSpPr>
            <a:spLocks noGrp="1"/>
          </p:cNvSpPr>
          <p:nvPr>
            <p:ph type="sldNum" sz="quarter" idx="10"/>
          </p:nvPr>
        </p:nvSpPr>
        <p:spPr>
          <a:xfrm>
            <a:off x="6985487" y="59945"/>
            <a:ext cx="2057400" cy="273844"/>
          </a:xfrm>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17789231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572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857750" y="1369219"/>
            <a:ext cx="3462161"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37270133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extLst>
      <p:ext uri="{BB962C8B-B14F-4D97-AF65-F5344CB8AC3E}">
        <p14:creationId xmlns:p14="http://schemas.microsoft.com/office/powerpoint/2010/main" val="4176666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F4AB-3BA0-4239-9286-91194A8EBAA0}"/>
              </a:ext>
            </a:extLst>
          </p:cNvPr>
          <p:cNvSpPr>
            <a:spLocks noGrp="1"/>
          </p:cNvSpPr>
          <p:nvPr>
            <p:ph type="title" hasCustomPrompt="1"/>
          </p:nvPr>
        </p:nvSpPr>
        <p:spPr/>
        <p:txBody>
          <a:bodyPr/>
          <a:lstStyle>
            <a:lvl1pPr>
              <a:defRPr/>
            </a:lvl1pPr>
          </a:lstStyle>
          <a:p>
            <a:r>
              <a:rPr lang="en-US" dirty="0"/>
              <a:t>Audience Poll Slide</a:t>
            </a:r>
          </a:p>
        </p:txBody>
      </p:sp>
      <p:sp>
        <p:nvSpPr>
          <p:cNvPr id="3" name="Slide Number Placeholder 2">
            <a:extLst>
              <a:ext uri="{FF2B5EF4-FFF2-40B4-BE49-F238E27FC236}">
                <a16:creationId xmlns:a16="http://schemas.microsoft.com/office/drawing/2014/main" id="{88DA7B91-99E1-432F-9B4D-1C3803F5B7DE}"/>
              </a:ext>
            </a:extLst>
          </p:cNvPr>
          <p:cNvSpPr>
            <a:spLocks noGrp="1"/>
          </p:cNvSpPr>
          <p:nvPr>
            <p:ph type="sldNum" sz="quarter" idx="10"/>
          </p:nvPr>
        </p:nvSpPr>
        <p:spPr/>
        <p:txBody>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354A3FF4-8D50-4114-A5A4-C538BCC81F7B}"/>
              </a:ext>
            </a:extLst>
          </p:cNvPr>
          <p:cNvPicPr>
            <a:picLocks noChangeAspect="1"/>
          </p:cNvPicPr>
          <p:nvPr userDrawn="1"/>
        </p:nvPicPr>
        <p:blipFill>
          <a:blip r:embed="rId2"/>
          <a:stretch>
            <a:fillRect/>
          </a:stretch>
        </p:blipFill>
        <p:spPr>
          <a:xfrm>
            <a:off x="7427160" y="-90527"/>
            <a:ext cx="1536325" cy="1536325"/>
          </a:xfrm>
          <a:prstGeom prst="rect">
            <a:avLst/>
          </a:prstGeom>
        </p:spPr>
      </p:pic>
      <p:sp>
        <p:nvSpPr>
          <p:cNvPr id="5" name="Content Placeholder 2">
            <a:extLst>
              <a:ext uri="{FF2B5EF4-FFF2-40B4-BE49-F238E27FC236}">
                <a16:creationId xmlns:a16="http://schemas.microsoft.com/office/drawing/2014/main" id="{C73AEBA3-CC04-4431-B370-F5063F70C419}"/>
              </a:ext>
            </a:extLst>
          </p:cNvPr>
          <p:cNvSpPr>
            <a:spLocks noGrp="1"/>
          </p:cNvSpPr>
          <p:nvPr>
            <p:ph idx="1"/>
          </p:nvPr>
        </p:nvSpPr>
        <p:spPr>
          <a:xfrm>
            <a:off x="857250" y="1215384"/>
            <a:ext cx="7462661" cy="3675929"/>
          </a:xfrm>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33963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Slide Number Placeholder 5"/>
          <p:cNvSpPr>
            <a:spLocks noGrp="1"/>
          </p:cNvSpPr>
          <p:nvPr>
            <p:ph type="sldNum" sz="quarter" idx="10"/>
          </p:nvPr>
        </p:nvSpPr>
        <p:spPr/>
        <p:txBody>
          <a:bodyPr/>
          <a:lstStyle/>
          <a:p>
            <a:fld id="{42AD0A0E-4515-A647-B2E3-7F1B29FB990E}"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udience Pol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3F4AB-3BA0-4239-9286-91194A8EBAA0}"/>
              </a:ext>
            </a:extLst>
          </p:cNvPr>
          <p:cNvSpPr>
            <a:spLocks noGrp="1"/>
          </p:cNvSpPr>
          <p:nvPr>
            <p:ph type="title" hasCustomPrompt="1"/>
          </p:nvPr>
        </p:nvSpPr>
        <p:spPr/>
        <p:txBody>
          <a:bodyPr/>
          <a:lstStyle>
            <a:lvl1pPr>
              <a:defRPr/>
            </a:lvl1pPr>
          </a:lstStyle>
          <a:p>
            <a:r>
              <a:rPr lang="en-US" dirty="0"/>
              <a:t>Audience Poll Slide</a:t>
            </a:r>
          </a:p>
        </p:txBody>
      </p:sp>
      <p:sp>
        <p:nvSpPr>
          <p:cNvPr id="3" name="Slide Number Placeholder 2">
            <a:extLst>
              <a:ext uri="{FF2B5EF4-FFF2-40B4-BE49-F238E27FC236}">
                <a16:creationId xmlns:a16="http://schemas.microsoft.com/office/drawing/2014/main" id="{88DA7B91-99E1-432F-9B4D-1C3803F5B7DE}"/>
              </a:ext>
            </a:extLst>
          </p:cNvPr>
          <p:cNvSpPr>
            <a:spLocks noGrp="1"/>
          </p:cNvSpPr>
          <p:nvPr>
            <p:ph type="sldNum" sz="quarter" idx="10"/>
          </p:nvPr>
        </p:nvSpPr>
        <p:spPr/>
        <p:txBody>
          <a:bodyPr/>
          <a:lstStyle/>
          <a:p>
            <a:fld id="{42AD0A0E-4515-A647-B2E3-7F1B29FB990E}" type="slidenum">
              <a:rPr lang="en-US" smtClean="0"/>
              <a:pPr/>
              <a:t>‹#›</a:t>
            </a:fld>
            <a:endParaRPr lang="en-US"/>
          </a:p>
        </p:txBody>
      </p:sp>
      <p:pic>
        <p:nvPicPr>
          <p:cNvPr id="4" name="Picture 3">
            <a:extLst>
              <a:ext uri="{FF2B5EF4-FFF2-40B4-BE49-F238E27FC236}">
                <a16:creationId xmlns:a16="http://schemas.microsoft.com/office/drawing/2014/main" id="{354A3FF4-8D50-4114-A5A4-C538BCC81F7B}"/>
              </a:ext>
            </a:extLst>
          </p:cNvPr>
          <p:cNvPicPr>
            <a:picLocks noChangeAspect="1"/>
          </p:cNvPicPr>
          <p:nvPr userDrawn="1"/>
        </p:nvPicPr>
        <p:blipFill>
          <a:blip r:embed="rId2"/>
          <a:stretch>
            <a:fillRect/>
          </a:stretch>
        </p:blipFill>
        <p:spPr>
          <a:xfrm>
            <a:off x="7427160" y="-90527"/>
            <a:ext cx="1536325" cy="1536325"/>
          </a:xfrm>
          <a:prstGeom prst="rect">
            <a:avLst/>
          </a:prstGeom>
        </p:spPr>
      </p:pic>
      <p:sp>
        <p:nvSpPr>
          <p:cNvPr id="5" name="Content Placeholder 2">
            <a:extLst>
              <a:ext uri="{FF2B5EF4-FFF2-40B4-BE49-F238E27FC236}">
                <a16:creationId xmlns:a16="http://schemas.microsoft.com/office/drawing/2014/main" id="{C73AEBA3-CC04-4431-B370-F5063F70C419}"/>
              </a:ext>
            </a:extLst>
          </p:cNvPr>
          <p:cNvSpPr>
            <a:spLocks noGrp="1"/>
          </p:cNvSpPr>
          <p:nvPr>
            <p:ph idx="1"/>
          </p:nvPr>
        </p:nvSpPr>
        <p:spPr>
          <a:xfrm>
            <a:off x="857250" y="1215384"/>
            <a:ext cx="7462661" cy="3675929"/>
          </a:xfrm>
        </p:spPr>
        <p:txBody>
          <a:bodyPr>
            <a:normAutofit/>
          </a:bodyPr>
          <a:lstStyle>
            <a:lvl1pPr>
              <a:defRPr sz="2400"/>
            </a:lvl1pPr>
            <a:lvl2pPr marL="584200" indent="-228600">
              <a:tabLst/>
              <a:defRPr sz="2200"/>
            </a:lvl2pPr>
            <a:lvl3pPr marL="927100" indent="-228600">
              <a:tabLst/>
              <a:defRPr sz="2000"/>
            </a:lvl3pPr>
            <a:lvl4pPr marL="1155700" indent="-157163">
              <a:tabLst/>
              <a:defRPr sz="1800"/>
            </a:lvl4pPr>
            <a:lvl5pPr marL="1497013" indent="-200025">
              <a:tabLst/>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2018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One Column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F30D619-773C-8E40-8D2C-6FFE77D209F7}"/>
              </a:ext>
            </a:extLst>
          </p:cNvPr>
          <p:cNvSpPr>
            <a:spLocks noGrp="1"/>
          </p:cNvSpPr>
          <p:nvPr>
            <p:ph type="body" sz="quarter" idx="11"/>
          </p:nvPr>
        </p:nvSpPr>
        <p:spPr>
          <a:xfrm>
            <a:off x="308136" y="1286064"/>
            <a:ext cx="8501309" cy="2862079"/>
          </a:xfrm>
        </p:spPr>
        <p:txBody>
          <a:bodyPr/>
          <a:lstStyle>
            <a:lvl1pPr>
              <a:lnSpc>
                <a:spcPct val="100000"/>
              </a:lnSpc>
              <a:defRPr b="0" i="0">
                <a:latin typeface="+mn-lt"/>
                <a:cs typeface="Arial" panose="020B0604020202020204" pitchFamily="34" charset="0"/>
              </a:defRPr>
            </a:lvl1pPr>
            <a:lvl2pPr>
              <a:lnSpc>
                <a:spcPct val="100000"/>
              </a:lnSpc>
              <a:defRPr b="0" i="0">
                <a:latin typeface="+mn-lt"/>
                <a:cs typeface="Arial" panose="020B0604020202020204" pitchFamily="34" charset="0"/>
              </a:defRPr>
            </a:lvl2pPr>
            <a:lvl3pPr>
              <a:lnSpc>
                <a:spcPct val="100000"/>
              </a:lnSpc>
              <a:defRPr b="0" i="0">
                <a:latin typeface="+mn-lt"/>
                <a:cs typeface="Arial" panose="020B0604020202020204" pitchFamily="34" charset="0"/>
              </a:defRPr>
            </a:lvl3pPr>
            <a:lvl4pPr>
              <a:lnSpc>
                <a:spcPct val="100000"/>
              </a:lnSpc>
              <a:defRPr b="0" i="0">
                <a:latin typeface="+mn-lt"/>
                <a:cs typeface="Arial" panose="020B0604020202020204" pitchFamily="34" charset="0"/>
              </a:defRPr>
            </a:lvl4pPr>
            <a:lvl5pPr>
              <a:lnSpc>
                <a:spcPct val="100000"/>
              </a:lnSpc>
              <a:defRPr b="0" i="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a:extLst>
              <a:ext uri="{FF2B5EF4-FFF2-40B4-BE49-F238E27FC236}">
                <a16:creationId xmlns:a16="http://schemas.microsoft.com/office/drawing/2014/main" id="{204F51E1-AE29-5248-96DF-7E5C51C05884}"/>
              </a:ext>
            </a:extLst>
          </p:cNvPr>
          <p:cNvSpPr>
            <a:spLocks noGrp="1"/>
          </p:cNvSpPr>
          <p:nvPr>
            <p:ph type="title"/>
          </p:nvPr>
        </p:nvSpPr>
        <p:spPr>
          <a:xfrm>
            <a:off x="321351" y="235803"/>
            <a:ext cx="8501309" cy="507831"/>
          </a:xfrm>
        </p:spPr>
        <p:txBody>
          <a:bodyPr>
            <a:spAutoFit/>
          </a:bodyPr>
          <a:lstStyle>
            <a:lvl1pPr>
              <a:defRPr sz="3000">
                <a:solidFill>
                  <a:schemeClr val="accent1"/>
                </a:solidFill>
              </a:defRPr>
            </a:lvl1pPr>
          </a:lstStyle>
          <a:p>
            <a:r>
              <a:rPr lang="en-US"/>
              <a:t>Click to edit Master title style</a:t>
            </a:r>
            <a:endParaRPr lang="en-US" dirty="0"/>
          </a:p>
        </p:txBody>
      </p:sp>
      <p:sp>
        <p:nvSpPr>
          <p:cNvPr id="6" name="TextBox 5">
            <a:extLst>
              <a:ext uri="{FF2B5EF4-FFF2-40B4-BE49-F238E27FC236}">
                <a16:creationId xmlns:a16="http://schemas.microsoft.com/office/drawing/2014/main" id="{0B313FE6-A793-584C-8551-7477E7324F4D}"/>
              </a:ext>
            </a:extLst>
          </p:cNvPr>
          <p:cNvSpPr txBox="1"/>
          <p:nvPr userDrawn="1"/>
        </p:nvSpPr>
        <p:spPr>
          <a:xfrm>
            <a:off x="8725089" y="4814706"/>
            <a:ext cx="274435" cy="196208"/>
          </a:xfrm>
          <a:prstGeom prst="rect">
            <a:avLst/>
          </a:prstGeom>
          <a:noFill/>
        </p:spPr>
        <p:txBody>
          <a:bodyPr wrap="none"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fld id="{F3684184-7C68-4BCA-AB46-D61620B83BBB}" type="slidenum">
              <a:rPr kumimoji="0" lang="en-US" sz="675"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ctr" defTabSz="6858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9" name="Text Placeholder 11">
            <a:extLst>
              <a:ext uri="{FF2B5EF4-FFF2-40B4-BE49-F238E27FC236}">
                <a16:creationId xmlns:a16="http://schemas.microsoft.com/office/drawing/2014/main" id="{038CD23A-D26C-984A-8C32-E939ED93BB52}"/>
              </a:ext>
            </a:extLst>
          </p:cNvPr>
          <p:cNvSpPr>
            <a:spLocks noGrp="1"/>
          </p:cNvSpPr>
          <p:nvPr>
            <p:ph type="body" sz="quarter" idx="15" hasCustomPrompt="1"/>
          </p:nvPr>
        </p:nvSpPr>
        <p:spPr>
          <a:xfrm>
            <a:off x="8061026" y="45115"/>
            <a:ext cx="1012882" cy="136364"/>
          </a:xfrm>
          <a:noFill/>
        </p:spPr>
        <p:txBody>
          <a:bodyPr>
            <a:normAutofit/>
          </a:bodyPr>
          <a:lstStyle>
            <a:lvl1pPr marL="0" indent="0" algn="r">
              <a:buNone/>
              <a:defRPr sz="450">
                <a:solidFill>
                  <a:schemeClr val="tx1"/>
                </a:solidFill>
              </a:defRPr>
            </a:lvl1pPr>
          </a:lstStyle>
          <a:p>
            <a:pPr lvl="0"/>
            <a:r>
              <a:rPr lang="en-US" dirty="0"/>
              <a:t>Confidential Text</a:t>
            </a:r>
          </a:p>
        </p:txBody>
      </p:sp>
    </p:spTree>
    <p:extLst>
      <p:ext uri="{BB962C8B-B14F-4D97-AF65-F5344CB8AC3E}">
        <p14:creationId xmlns:p14="http://schemas.microsoft.com/office/powerpoint/2010/main" val="3812922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9.png"/><Relationship Id="rId5" Type="http://schemas.openxmlformats.org/officeDocument/2006/relationships/slideLayout" Target="../slideLayouts/slideLayout17.xml"/><Relationship Id="rId10" Type="http://schemas.openxmlformats.org/officeDocument/2006/relationships/image" Target="../media/image8.png"/><Relationship Id="rId4" Type="http://schemas.openxmlformats.org/officeDocument/2006/relationships/slideLayout" Target="../slideLayouts/slideLayout16.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2.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1.pn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15.png"/><Relationship Id="rId5" Type="http://schemas.openxmlformats.org/officeDocument/2006/relationships/slideLayout" Target="../slideLayouts/slideLayout35.xml"/><Relationship Id="rId10" Type="http://schemas.openxmlformats.org/officeDocument/2006/relationships/image" Target="../media/image8.png"/><Relationship Id="rId4" Type="http://schemas.openxmlformats.org/officeDocument/2006/relationships/slideLayout" Target="../slideLayouts/slideLayout34.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image" Target="../media/image18.png"/><Relationship Id="rId5" Type="http://schemas.openxmlformats.org/officeDocument/2006/relationships/slideLayout" Target="../slideLayouts/slideLayout43.xml"/><Relationship Id="rId10" Type="http://schemas.openxmlformats.org/officeDocument/2006/relationships/image" Target="../media/image17.png"/><Relationship Id="rId4" Type="http://schemas.openxmlformats.org/officeDocument/2006/relationships/slideLayout" Target="../slideLayouts/slideLayout42.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image" Target="../media/image25.png"/><Relationship Id="rId2" Type="http://schemas.openxmlformats.org/officeDocument/2006/relationships/slideLayout" Target="../slideLayouts/slideLayout48.xml"/><Relationship Id="rId16" Type="http://schemas.openxmlformats.org/officeDocument/2006/relationships/image" Target="../media/image24.png"/><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6.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image" Target="../media/image32.emf"/><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oleObject" Target="../embeddings/oleObject1.bin"/><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image" Target="../media/image1.png"/><Relationship Id="rId5" Type="http://schemas.openxmlformats.org/officeDocument/2006/relationships/slideLayout" Target="../slideLayouts/slideLayout65.xml"/><Relationship Id="rId10" Type="http://schemas.openxmlformats.org/officeDocument/2006/relationships/tags" Target="../tags/tag3.xml"/><Relationship Id="rId4" Type="http://schemas.openxmlformats.org/officeDocument/2006/relationships/slideLayout" Target="../slideLayouts/slideLayout64.xml"/><Relationship Id="rId9" Type="http://schemas.openxmlformats.org/officeDocument/2006/relationships/theme" Target="../theme/theme7.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7250" y="59945"/>
            <a:ext cx="7462661" cy="941541"/>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857250" y="1215384"/>
            <a:ext cx="7462661" cy="36759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985487" y="59945"/>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14" name="Freeform 13"/>
          <p:cNvSpPr/>
          <p:nvPr userDrawn="1"/>
        </p:nvSpPr>
        <p:spPr>
          <a:xfrm>
            <a:off x="474944" y="647700"/>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p:nvPr userDrawn="1"/>
        </p:nvSpPr>
        <p:spPr>
          <a:xfrm flipV="1">
            <a:off x="474944" y="957127"/>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85304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7" r:id="rId4"/>
    <p:sldLayoutId id="2147483668" r:id="rId5"/>
    <p:sldLayoutId id="2147483664" r:id="rId6"/>
    <p:sldLayoutId id="2147483666" r:id="rId7"/>
    <p:sldLayoutId id="2147483669" r:id="rId8"/>
    <p:sldLayoutId id="2147483717" r:id="rId9"/>
    <p:sldLayoutId id="2147483718" r:id="rId10"/>
    <p:sldLayoutId id="2147483719" r:id="rId11"/>
    <p:sldLayoutId id="2147483720" r:id="rId12"/>
  </p:sldLayoutIdLst>
  <p:hf hdr="0" ftr="0" dt="0"/>
  <p:txStyles>
    <p:title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7250" y="59945"/>
            <a:ext cx="7462661" cy="941541"/>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857250" y="1215384"/>
            <a:ext cx="7462661" cy="367592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985487" y="59945"/>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8220611" y="4380219"/>
            <a:ext cx="822276" cy="639548"/>
          </a:xfrm>
          <a:prstGeom prst="rect">
            <a:avLst/>
          </a:prstGeom>
        </p:spPr>
      </p:pic>
      <p:sp>
        <p:nvSpPr>
          <p:cNvPr id="14" name="Freeform 13"/>
          <p:cNvSpPr/>
          <p:nvPr userDrawn="1"/>
        </p:nvSpPr>
        <p:spPr>
          <a:xfrm>
            <a:off x="474944" y="647700"/>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p:nvPr userDrawn="1"/>
        </p:nvSpPr>
        <p:spPr>
          <a:xfrm flipV="1">
            <a:off x="474944" y="957127"/>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64715192"/>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hdr="0" ftr="0" dt="0"/>
  <p:txStyles>
    <p:titleStyle>
      <a:lvl1pPr algn="l" defTabSz="685800" rtl="0" eaLnBrk="1" latinLnBrk="0" hangingPunct="1">
        <a:lnSpc>
          <a:spcPct val="90000"/>
        </a:lnSpc>
        <a:spcBef>
          <a:spcPct val="0"/>
        </a:spcBef>
        <a:buNone/>
        <a:defRPr sz="2400" b="1" kern="1200">
          <a:solidFill>
            <a:srgbClr val="F28C1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7250" y="59945"/>
            <a:ext cx="7462661" cy="941541"/>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857250" y="1215384"/>
            <a:ext cx="7462661" cy="367592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985487" y="59945"/>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14" name="Freeform 13"/>
          <p:cNvSpPr/>
          <p:nvPr userDrawn="1"/>
        </p:nvSpPr>
        <p:spPr>
          <a:xfrm>
            <a:off x="474944" y="647700"/>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p:nvPr userDrawn="1"/>
        </p:nvSpPr>
        <p:spPr>
          <a:xfrm flipV="1">
            <a:off x="474944" y="957127"/>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612540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Lst>
  <p:hf hdr="0" ftr="0" dt="0"/>
  <p:txStyles>
    <p:title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29899" y="59945"/>
            <a:ext cx="7390013" cy="941541"/>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929899" y="1215385"/>
            <a:ext cx="7390013" cy="367592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6985487" y="59946"/>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8220611" y="4380220"/>
            <a:ext cx="822276" cy="639548"/>
          </a:xfrm>
          <a:prstGeom prst="rect">
            <a:avLst/>
          </a:prstGeom>
        </p:spPr>
      </p:pic>
      <p:sp>
        <p:nvSpPr>
          <p:cNvPr id="14" name="Freeform 13"/>
          <p:cNvSpPr/>
          <p:nvPr userDrawn="1"/>
        </p:nvSpPr>
        <p:spPr>
          <a:xfrm>
            <a:off x="474945" y="647701"/>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Freeform 14"/>
          <p:cNvSpPr/>
          <p:nvPr userDrawn="1"/>
        </p:nvSpPr>
        <p:spPr>
          <a:xfrm flipV="1">
            <a:off x="474944" y="957128"/>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179411439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Lst>
  <p:hf hdr="0" ftr="0" dt="0"/>
  <p:txStyles>
    <p:titleStyle>
      <a:lvl1pPr algn="l" defTabSz="685783" rtl="0" eaLnBrk="1" latinLnBrk="0" hangingPunct="1">
        <a:lnSpc>
          <a:spcPct val="90000"/>
        </a:lnSpc>
        <a:spcBef>
          <a:spcPct val="0"/>
        </a:spcBef>
        <a:buNone/>
        <a:defRPr sz="2400" b="1" kern="1200">
          <a:solidFill>
            <a:srgbClr val="F28C11"/>
          </a:solidFill>
          <a:latin typeface="+mj-lt"/>
          <a:ea typeface="+mj-ea"/>
          <a:cs typeface="+mj-cs"/>
        </a:defRPr>
      </a:lvl1pPr>
    </p:titleStyle>
    <p:bodyStyle>
      <a:lvl1pPr marL="171446" indent="-171446" algn="l" defTabSz="685783"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37" indent="-171446" algn="l" defTabSz="685783"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31" indent="-114297" algn="l" defTabSz="685783"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26" indent="-114297" algn="l" defTabSz="685783"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69968" indent="-171446" algn="l" defTabSz="685783"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0"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29900" y="59945"/>
            <a:ext cx="7390013" cy="941541"/>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929900" y="1215386"/>
            <a:ext cx="7390013" cy="36759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985487" y="59946"/>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8220611" y="4380220"/>
            <a:ext cx="822276" cy="639548"/>
          </a:xfrm>
          <a:prstGeom prst="rect">
            <a:avLst/>
          </a:prstGeom>
        </p:spPr>
      </p:pic>
      <p:sp>
        <p:nvSpPr>
          <p:cNvPr id="14" name="Freeform 13"/>
          <p:cNvSpPr/>
          <p:nvPr userDrawn="1"/>
        </p:nvSpPr>
        <p:spPr>
          <a:xfrm>
            <a:off x="474946" y="647701"/>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5" name="Freeform 14"/>
          <p:cNvSpPr/>
          <p:nvPr userDrawn="1"/>
        </p:nvSpPr>
        <p:spPr>
          <a:xfrm flipV="1">
            <a:off x="474944" y="957129"/>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341143921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Lst>
  <p:hf hdr="0" ftr="0" dt="0"/>
  <p:txStyles>
    <p:titleStyle>
      <a:lvl1pPr algn="l" defTabSz="685766" rtl="0" eaLnBrk="1" latinLnBrk="0" hangingPunct="1">
        <a:lnSpc>
          <a:spcPct val="90000"/>
        </a:lnSpc>
        <a:spcBef>
          <a:spcPct val="0"/>
        </a:spcBef>
        <a:buNone/>
        <a:defRPr sz="3400" b="1" kern="1200">
          <a:solidFill>
            <a:srgbClr val="F28C11"/>
          </a:solidFill>
          <a:latin typeface="+mj-lt"/>
          <a:ea typeface="+mj-ea"/>
          <a:cs typeface="+mj-cs"/>
        </a:defRPr>
      </a:lvl1pPr>
    </p:titleStyle>
    <p:bodyStyle>
      <a:lvl1pPr marL="171442" indent="-171442" algn="l" defTabSz="685766"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24" indent="-171442" algn="l" defTabSz="685766"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12" indent="-114294" algn="l" defTabSz="685766"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02" indent="-114294" algn="l" defTabSz="685766"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69936" indent="-171442" algn="l" defTabSz="685766"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6"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7250" y="59945"/>
            <a:ext cx="7462661" cy="941541"/>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857250" y="1215384"/>
            <a:ext cx="7462661" cy="36759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985487" y="59945"/>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220611" y="4380219"/>
            <a:ext cx="822276" cy="639548"/>
          </a:xfrm>
          <a:prstGeom prst="rect">
            <a:avLst/>
          </a:prstGeom>
        </p:spPr>
      </p:pic>
      <p:sp>
        <p:nvSpPr>
          <p:cNvPr id="14" name="Freeform 13"/>
          <p:cNvSpPr/>
          <p:nvPr userDrawn="1"/>
        </p:nvSpPr>
        <p:spPr>
          <a:xfrm>
            <a:off x="474944" y="647700"/>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p:nvPr userDrawn="1"/>
        </p:nvSpPr>
        <p:spPr>
          <a:xfrm flipV="1">
            <a:off x="474944" y="957127"/>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178604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65" r:id="rId14"/>
  </p:sldLayoutIdLst>
  <p:hf hdr="0" ftr="0" dt="0"/>
  <p:txStyles>
    <p:titleStyle>
      <a:lvl1pPr algn="l" defTabSz="685800" rtl="0" eaLnBrk="1" latinLnBrk="0" hangingPunct="1">
        <a:lnSpc>
          <a:spcPct val="90000"/>
        </a:lnSpc>
        <a:spcBef>
          <a:spcPct val="0"/>
        </a:spcBef>
        <a:buNone/>
        <a:defRPr sz="2800" b="1" kern="1200">
          <a:solidFill>
            <a:srgbClr val="F28C11"/>
          </a:solidFill>
          <a:latin typeface="+mj-lt"/>
          <a:ea typeface="+mj-ea"/>
          <a:cs typeface="+mj-cs"/>
        </a:defRPr>
      </a:lvl1pPr>
    </p:titleStyle>
    <p:bodyStyle>
      <a:lvl1pPr marL="180000" indent="-180000" algn="l" defTabSz="685800" rtl="0" eaLnBrk="1" latinLnBrk="0" hangingPunct="1">
        <a:lnSpc>
          <a:spcPct val="90000"/>
        </a:lnSpc>
        <a:spcBef>
          <a:spcPts val="0"/>
        </a:spcBef>
        <a:spcAft>
          <a:spcPts val="600"/>
        </a:spcAft>
        <a:buClr>
          <a:srgbClr val="F28C11"/>
        </a:buClr>
        <a:buFont typeface="Arial" panose="020B0604020202020204" pitchFamily="34" charset="0"/>
        <a:buChar char="•"/>
        <a:defRPr sz="1800" kern="1200">
          <a:solidFill>
            <a:schemeClr val="tx1"/>
          </a:solidFill>
          <a:latin typeface="+mn-lt"/>
          <a:ea typeface="+mn-ea"/>
          <a:cs typeface="+mn-cs"/>
        </a:defRPr>
      </a:lvl1pPr>
      <a:lvl2pPr marL="360000" indent="-180000" algn="l" defTabSz="685800" rtl="0" eaLnBrk="1" latinLnBrk="0" hangingPunct="1">
        <a:lnSpc>
          <a:spcPct val="90000"/>
        </a:lnSpc>
        <a:spcBef>
          <a:spcPts val="0"/>
        </a:spcBef>
        <a:spcAft>
          <a:spcPts val="600"/>
        </a:spcAft>
        <a:buClr>
          <a:srgbClr val="F28C11"/>
        </a:buClr>
        <a:buFont typeface=".AppleSystemUIFont" charset="-120"/>
        <a:buChar char="–"/>
        <a:tabLst/>
        <a:defRPr sz="1800" kern="1200">
          <a:solidFill>
            <a:schemeClr val="tx1"/>
          </a:solidFill>
          <a:latin typeface="+mn-lt"/>
          <a:ea typeface="+mn-ea"/>
          <a:cs typeface="+mn-cs"/>
        </a:defRPr>
      </a:lvl2pPr>
      <a:lvl3pPr marL="540000" indent="-180000" algn="l" defTabSz="685800" rtl="0" eaLnBrk="1" latinLnBrk="0" hangingPunct="1">
        <a:lnSpc>
          <a:spcPct val="90000"/>
        </a:lnSpc>
        <a:spcBef>
          <a:spcPts val="0"/>
        </a:spcBef>
        <a:spcAft>
          <a:spcPts val="600"/>
        </a:spcAft>
        <a:buClr>
          <a:srgbClr val="F28C11"/>
        </a:buClr>
        <a:buFont typeface="Wingdings" charset="2"/>
        <a:buChar char="§"/>
        <a:tabLst/>
        <a:defRPr sz="1600" kern="1200">
          <a:solidFill>
            <a:schemeClr val="tx1"/>
          </a:solidFill>
          <a:latin typeface="+mn-lt"/>
          <a:ea typeface="+mn-ea"/>
          <a:cs typeface="+mn-cs"/>
        </a:defRPr>
      </a:lvl3pPr>
      <a:lvl4pPr marL="720000" indent="-180000" algn="l" defTabSz="685800" rtl="0" eaLnBrk="1" latinLnBrk="0" hangingPunct="1">
        <a:lnSpc>
          <a:spcPct val="90000"/>
        </a:lnSpc>
        <a:spcBef>
          <a:spcPts val="0"/>
        </a:spcBef>
        <a:spcAft>
          <a:spcPts val="600"/>
        </a:spcAft>
        <a:buClr>
          <a:srgbClr val="F28C11"/>
        </a:buClr>
        <a:buFont typeface="Arial" panose="020B0604020202020204" pitchFamily="34" charset="0"/>
        <a:buChar char="•"/>
        <a:tabLst/>
        <a:defRPr sz="1400" kern="1200">
          <a:solidFill>
            <a:schemeClr val="tx1"/>
          </a:solidFill>
          <a:latin typeface="+mn-lt"/>
          <a:ea typeface="+mn-ea"/>
          <a:cs typeface="+mn-cs"/>
        </a:defRPr>
      </a:lvl4pPr>
      <a:lvl5pPr marL="900000" indent="-180000" algn="l" defTabSz="685800" rtl="0" eaLnBrk="1" latinLnBrk="0" hangingPunct="1">
        <a:lnSpc>
          <a:spcPct val="90000"/>
        </a:lnSpc>
        <a:spcBef>
          <a:spcPts val="0"/>
        </a:spcBef>
        <a:spcAft>
          <a:spcPts val="600"/>
        </a:spcAft>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50CA0B-2214-4ABF-8749-9C88996FB213}"/>
              </a:ext>
            </a:extLst>
          </p:cNvPr>
          <p:cNvGraphicFramePr>
            <a:graphicFrameLocks noChangeAspect="1"/>
          </p:cNvGraphicFramePr>
          <p:nvPr userDrawn="1">
            <p:custDataLst>
              <p:tags r:id="rId10"/>
            </p:custDataLst>
            <p:extLst>
              <p:ext uri="{D42A27DB-BD31-4B8C-83A1-F6EECF244321}">
                <p14:modId xmlns:p14="http://schemas.microsoft.com/office/powerpoint/2010/main" val="2662880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276" imgH="275" progId="TCLayout.ActiveDocument.1">
                  <p:embed/>
                </p:oleObj>
              </mc:Choice>
              <mc:Fallback>
                <p:oleObj name="think-cell Slide" r:id="rId12" imgW="276" imgH="275" progId="TCLayout.ActiveDocument.1">
                  <p:embed/>
                  <p:pic>
                    <p:nvPicPr>
                      <p:cNvPr id="5" name="Object 4" hidden="1">
                        <a:extLst>
                          <a:ext uri="{FF2B5EF4-FFF2-40B4-BE49-F238E27FC236}">
                            <a16:creationId xmlns:a16="http://schemas.microsoft.com/office/drawing/2014/main" id="{FD50CA0B-2214-4ABF-8749-9C88996FB21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57250" y="59945"/>
            <a:ext cx="7462661" cy="941541"/>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857250" y="1215384"/>
            <a:ext cx="7462661" cy="367592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985487" y="59945"/>
            <a:ext cx="2057400" cy="273844"/>
          </a:xfrm>
          <a:prstGeom prst="rect">
            <a:avLst/>
          </a:prstGeom>
        </p:spPr>
        <p:txBody>
          <a:bodyPr vert="horz" lIns="91440" tIns="45720" rIns="91440" bIns="45720" rtlCol="0" anchor="ctr"/>
          <a:lstStyle>
            <a:lvl1pPr algn="r">
              <a:defRPr sz="900">
                <a:solidFill>
                  <a:schemeClr val="tx1"/>
                </a:solidFill>
              </a:defRPr>
            </a:lvl1pPr>
          </a:lstStyle>
          <a:p>
            <a:fld id="{42AD0A0E-4515-A647-B2E3-7F1B29FB990E}" type="slidenum">
              <a:rPr lang="en-US" smtClean="0"/>
              <a:pPr/>
              <a:t>‹#›</a:t>
            </a:fld>
            <a:endParaRPr lang="en-US"/>
          </a:p>
        </p:txBody>
      </p:sp>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220611" y="4380219"/>
            <a:ext cx="822276" cy="639548"/>
          </a:xfrm>
          <a:prstGeom prst="rect">
            <a:avLst/>
          </a:prstGeom>
        </p:spPr>
      </p:pic>
      <p:sp>
        <p:nvSpPr>
          <p:cNvPr id="14" name="Freeform 13"/>
          <p:cNvSpPr/>
          <p:nvPr userDrawn="1"/>
        </p:nvSpPr>
        <p:spPr>
          <a:xfrm>
            <a:off x="474944" y="647700"/>
            <a:ext cx="45719" cy="353786"/>
          </a:xfrm>
          <a:custGeom>
            <a:avLst/>
            <a:gdLst>
              <a:gd name="connsiteX0" fmla="*/ 0 w 0"/>
              <a:gd name="connsiteY0" fmla="*/ 0 h 522514"/>
              <a:gd name="connsiteX1" fmla="*/ 0 w 0"/>
              <a:gd name="connsiteY1" fmla="*/ 522514 h 522514"/>
            </a:gdLst>
            <a:ahLst/>
            <a:cxnLst>
              <a:cxn ang="0">
                <a:pos x="connsiteX0" y="connsiteY0"/>
              </a:cxn>
              <a:cxn ang="0">
                <a:pos x="connsiteX1" y="connsiteY1"/>
              </a:cxn>
            </a:cxnLst>
            <a:rect l="l" t="t" r="r" b="b"/>
            <a:pathLst>
              <a:path h="522514">
                <a:moveTo>
                  <a:pt x="0" y="0"/>
                </a:moveTo>
                <a:lnTo>
                  <a:pt x="0" y="522514"/>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14"/>
          <p:cNvSpPr/>
          <p:nvPr userDrawn="1"/>
        </p:nvSpPr>
        <p:spPr>
          <a:xfrm flipV="1">
            <a:off x="474944" y="957127"/>
            <a:ext cx="7844967" cy="45719"/>
          </a:xfrm>
          <a:custGeom>
            <a:avLst/>
            <a:gdLst>
              <a:gd name="connsiteX0" fmla="*/ 0 w 7409543"/>
              <a:gd name="connsiteY0" fmla="*/ 0 h 0"/>
              <a:gd name="connsiteX1" fmla="*/ 0 w 7409543"/>
              <a:gd name="connsiteY1" fmla="*/ 0 h 0"/>
              <a:gd name="connsiteX2" fmla="*/ 7409543 w 7409543"/>
              <a:gd name="connsiteY2" fmla="*/ 0 h 0"/>
              <a:gd name="connsiteX3" fmla="*/ 7409543 w 7409543"/>
              <a:gd name="connsiteY3" fmla="*/ 0 h 0"/>
            </a:gdLst>
            <a:ahLst/>
            <a:cxnLst>
              <a:cxn ang="0">
                <a:pos x="connsiteX0" y="connsiteY0"/>
              </a:cxn>
              <a:cxn ang="0">
                <a:pos x="connsiteX1" y="connsiteY1"/>
              </a:cxn>
              <a:cxn ang="0">
                <a:pos x="connsiteX2" y="connsiteY2"/>
              </a:cxn>
              <a:cxn ang="0">
                <a:pos x="connsiteX3" y="connsiteY3"/>
              </a:cxn>
            </a:cxnLst>
            <a:rect l="l" t="t" r="r" b="b"/>
            <a:pathLst>
              <a:path w="7409543">
                <a:moveTo>
                  <a:pt x="0" y="0"/>
                </a:moveTo>
                <a:lnTo>
                  <a:pt x="0" y="0"/>
                </a:lnTo>
                <a:lnTo>
                  <a:pt x="7409543" y="0"/>
                </a:lnTo>
                <a:lnTo>
                  <a:pt x="7409543" y="0"/>
                </a:lnTo>
              </a:path>
            </a:pathLst>
          </a:custGeom>
          <a:noFill/>
          <a:ln w="19050" cap="rnd">
            <a:solidFill>
              <a:schemeClr val="tx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67591357"/>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Lst>
  <p:hf hdr="0" ftr="0" dt="0"/>
  <p:txStyles>
    <p:titleStyle>
      <a:lvl1pPr algn="l" defTabSz="685800" rtl="0" eaLnBrk="1" latinLnBrk="0" hangingPunct="1">
        <a:lnSpc>
          <a:spcPct val="90000"/>
        </a:lnSpc>
        <a:spcBef>
          <a:spcPct val="0"/>
        </a:spcBef>
        <a:buNone/>
        <a:defRPr sz="3400" b="1" kern="1200">
          <a:solidFill>
            <a:srgbClr val="F28C11"/>
          </a:solidFill>
          <a:latin typeface="+mj-lt"/>
          <a:ea typeface="+mj-ea"/>
          <a:cs typeface="+mj-cs"/>
        </a:defRPr>
      </a:lvl1pPr>
    </p:titleStyle>
    <p:body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4.png"/></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67.xml"/><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7.xml"/></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67.xml"/><Relationship Id="rId5" Type="http://schemas.openxmlformats.org/officeDocument/2006/relationships/image" Target="../media/image52.png"/><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Layout" Target="../slideLayouts/slideLayout67.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7.xml"/><Relationship Id="rId1" Type="http://schemas.openxmlformats.org/officeDocument/2006/relationships/tags" Target="../tags/tag4.xml"/><Relationship Id="rId4" Type="http://schemas.openxmlformats.org/officeDocument/2006/relationships/image" Target="../media/image3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7.xml"/><Relationship Id="rId1" Type="http://schemas.openxmlformats.org/officeDocument/2006/relationships/tags" Target="../tags/tag5.xml"/><Relationship Id="rId6" Type="http://schemas.openxmlformats.org/officeDocument/2006/relationships/image" Target="../media/image55.png"/><Relationship Id="rId5" Type="http://schemas.openxmlformats.org/officeDocument/2006/relationships/image" Target="../media/image54.jpeg"/><Relationship Id="rId4" Type="http://schemas.openxmlformats.org/officeDocument/2006/relationships/image" Target="../media/image3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67.xml"/><Relationship Id="rId1" Type="http://schemas.openxmlformats.org/officeDocument/2006/relationships/tags" Target="../tags/tag6.xml"/><Relationship Id="rId5" Type="http://schemas.openxmlformats.org/officeDocument/2006/relationships/image" Target="../media/image56.png"/><Relationship Id="rId4" Type="http://schemas.openxmlformats.org/officeDocument/2006/relationships/image" Target="../media/image3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7.xml"/><Relationship Id="rId1" Type="http://schemas.openxmlformats.org/officeDocument/2006/relationships/tags" Target="../tags/tag7.xml"/><Relationship Id="rId5" Type="http://schemas.openxmlformats.org/officeDocument/2006/relationships/image" Target="../media/image57.png"/><Relationship Id="rId4" Type="http://schemas.openxmlformats.org/officeDocument/2006/relationships/image" Target="../media/image32.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67.xml"/><Relationship Id="rId1" Type="http://schemas.openxmlformats.org/officeDocument/2006/relationships/tags" Target="../tags/tag8.xml"/><Relationship Id="rId5" Type="http://schemas.openxmlformats.org/officeDocument/2006/relationships/image" Target="../media/image58.png"/><Relationship Id="rId4" Type="http://schemas.openxmlformats.org/officeDocument/2006/relationships/image" Target="../media/image32.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7.xml"/><Relationship Id="rId1" Type="http://schemas.openxmlformats.org/officeDocument/2006/relationships/tags" Target="../tags/tag9.xml"/><Relationship Id="rId6" Type="http://schemas.openxmlformats.org/officeDocument/2006/relationships/image" Target="../media/image59.png"/><Relationship Id="rId5" Type="http://schemas.openxmlformats.org/officeDocument/2006/relationships/image" Target="../media/image32.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67.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7.xml"/><Relationship Id="rId1" Type="http://schemas.openxmlformats.org/officeDocument/2006/relationships/tags" Target="../tags/tag10.xml"/><Relationship Id="rId6" Type="http://schemas.openxmlformats.org/officeDocument/2006/relationships/image" Target="../media/image65.JPG"/><Relationship Id="rId5" Type="http://schemas.openxmlformats.org/officeDocument/2006/relationships/image" Target="../media/image32.emf"/><Relationship Id="rId4" Type="http://schemas.openxmlformats.org/officeDocument/2006/relationships/oleObject" Target="../embeddings/oleObject7.bin"/></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67.xml"/></Relationships>
</file>

<file path=ppt/slides/_rels/slide23.xml.rels><?xml version="1.0" encoding="UTF-8" standalone="yes"?>
<Relationships xmlns="http://schemas.openxmlformats.org/package/2006/relationships"><Relationship Id="rId8" Type="http://schemas.openxmlformats.org/officeDocument/2006/relationships/image" Target="../media/image73.jp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8.xml"/><Relationship Id="rId1" Type="http://schemas.openxmlformats.org/officeDocument/2006/relationships/slideLayout" Target="../slideLayouts/slideLayout67.xml"/><Relationship Id="rId6" Type="http://schemas.openxmlformats.org/officeDocument/2006/relationships/image" Target="../media/image71.jpg"/><Relationship Id="rId5" Type="http://schemas.openxmlformats.org/officeDocument/2006/relationships/image" Target="../media/image70.jpg"/><Relationship Id="rId10" Type="http://schemas.openxmlformats.org/officeDocument/2006/relationships/image" Target="../media/image75.jpg"/><Relationship Id="rId4" Type="http://schemas.openxmlformats.org/officeDocument/2006/relationships/image" Target="../media/image69.jpg"/><Relationship Id="rId9" Type="http://schemas.openxmlformats.org/officeDocument/2006/relationships/image" Target="../media/image74.jp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3.xml"/><Relationship Id="rId1" Type="http://schemas.openxmlformats.org/officeDocument/2006/relationships/tags" Target="../tags/tag11.xml"/><Relationship Id="rId5" Type="http://schemas.openxmlformats.org/officeDocument/2006/relationships/image" Target="../media/image76.emf"/><Relationship Id="rId4" Type="http://schemas.openxmlformats.org/officeDocument/2006/relationships/oleObject" Target="../embeddings/oleObject8.bin"/></Relationships>
</file>

<file path=ppt/slides/_rels/slide29.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chart" Target="../charts/chart1.xml"/><Relationship Id="rId7" Type="http://schemas.openxmlformats.org/officeDocument/2006/relationships/image" Target="../media/image80.svg"/><Relationship Id="rId2" Type="http://schemas.openxmlformats.org/officeDocument/2006/relationships/notesSlide" Target="../notesSlides/notesSlide12.xml"/><Relationship Id="rId1" Type="http://schemas.openxmlformats.org/officeDocument/2006/relationships/slideLayout" Target="../slideLayouts/slideLayout53.xml"/><Relationship Id="rId6" Type="http://schemas.openxmlformats.org/officeDocument/2006/relationships/image" Target="../media/image79.png"/><Relationship Id="rId5" Type="http://schemas.openxmlformats.org/officeDocument/2006/relationships/image" Target="../media/image78.svg"/><Relationship Id="rId4" Type="http://schemas.openxmlformats.org/officeDocument/2006/relationships/image" Target="../media/image77.png"/><Relationship Id="rId9" Type="http://schemas.openxmlformats.org/officeDocument/2006/relationships/image" Target="../media/image82.svg"/></Relationships>
</file>

<file path=ppt/slides/_rels/slide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3.xml"/><Relationship Id="rId1" Type="http://schemas.openxmlformats.org/officeDocument/2006/relationships/tags" Target="../tags/tag12.xml"/><Relationship Id="rId4" Type="http://schemas.openxmlformats.org/officeDocument/2006/relationships/image" Target="../media/image83.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3.xml"/><Relationship Id="rId1" Type="http://schemas.openxmlformats.org/officeDocument/2006/relationships/tags" Target="../tags/tag13.xml"/><Relationship Id="rId5" Type="http://schemas.openxmlformats.org/officeDocument/2006/relationships/image" Target="../media/image76.emf"/><Relationship Id="rId4" Type="http://schemas.openxmlformats.org/officeDocument/2006/relationships/oleObject" Target="../embeddings/oleObject10.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59.xml"/><Relationship Id="rId1" Type="http://schemas.openxmlformats.org/officeDocument/2006/relationships/tags" Target="../tags/tag14.xml"/><Relationship Id="rId5" Type="http://schemas.openxmlformats.org/officeDocument/2006/relationships/image" Target="../media/image76.emf"/><Relationship Id="rId4" Type="http://schemas.openxmlformats.org/officeDocument/2006/relationships/oleObject" Target="../embeddings/oleObject11.bin"/></Relationships>
</file>

<file path=ppt/slides/_rels/slide33.xml.rels><?xml version="1.0" encoding="UTF-8" standalone="yes"?>
<Relationships xmlns="http://schemas.openxmlformats.org/package/2006/relationships"><Relationship Id="rId2" Type="http://schemas.openxmlformats.org/officeDocument/2006/relationships/image" Target="../media/image84.emf"/><Relationship Id="rId1" Type="http://schemas.openxmlformats.org/officeDocument/2006/relationships/slideLayout" Target="../slideLayouts/slideLayout6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 Id="rId5" Type="http://schemas.openxmlformats.org/officeDocument/2006/relationships/image" Target="../media/image88.png"/><Relationship Id="rId4" Type="http://schemas.openxmlformats.org/officeDocument/2006/relationships/image" Target="../media/image87.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0.xml"/><Relationship Id="rId4" Type="http://schemas.openxmlformats.org/officeDocument/2006/relationships/image" Target="../media/image97.png"/></Relationships>
</file>

<file path=ppt/slides/_rels/slide4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hyperlink" Target="https://pfizer.figshare.com/" TargetMode="Externa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image" Target="../media/image102.emf"/><Relationship Id="rId1" Type="http://schemas.openxmlformats.org/officeDocument/2006/relationships/slideLayout" Target="../slideLayouts/slideLayout2.xml"/><Relationship Id="rId5" Type="http://schemas.openxmlformats.org/officeDocument/2006/relationships/image" Target="../media/image105.png"/><Relationship Id="rId4" Type="http://schemas.openxmlformats.org/officeDocument/2006/relationships/image" Target="../media/image104.emf"/></Relationships>
</file>

<file path=ppt/slides/_rels/slide5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hyperlink" Target="https://www.pathlms.com/ismpp/courses/24746/webinars/15307" TargetMode="Externa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2.xml"/><Relationship Id="rId5" Type="http://schemas.openxmlformats.org/officeDocument/2006/relationships/image" Target="../media/image110.png"/><Relationship Id="rId4" Type="http://schemas.openxmlformats.org/officeDocument/2006/relationships/image" Target="../media/image109.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67.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83.emf"/></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8" Type="http://schemas.openxmlformats.org/officeDocument/2006/relationships/hyperlink" Target="https://pemsuite.org/How-to-Guides/WG5.pdf" TargetMode="External"/><Relationship Id="rId3" Type="http://schemas.openxmlformats.org/officeDocument/2006/relationships/hyperlink" Target="https://ismpp-newsletter.com/2021/08/10/a-companys-approach-to-developing-publication-plain-language-summaries/" TargetMode="External"/><Relationship Id="rId7" Type="http://schemas.openxmlformats.org/officeDocument/2006/relationships/hyperlink" Target="https://www.jmir.org/2022/1/e22122"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hyperlink" Target="https://www.tandfonline.com/doi/full/10.1080/03007995.2021.1971185" TargetMode="External"/><Relationship Id="rId5" Type="http://schemas.openxmlformats.org/officeDocument/2006/relationships/hyperlink" Target="https://ismpp-newsletter.com/2021/11/05/ismpp-sponsored-study-on-pls-now-published-in-cmro-presents-expert-perspectives/" TargetMode="External"/><Relationship Id="rId4" Type="http://schemas.openxmlformats.org/officeDocument/2006/relationships/hyperlink" Target="https://www.tandfonline.com/doi/full/10.1080/03007995.2021.1997221" TargetMode="Externa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67.xml"/></Relationships>
</file>

<file path=ppt/slides/_rels/slide70.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26.xml"/><Relationship Id="rId1" Type="http://schemas.openxmlformats.org/officeDocument/2006/relationships/slideLayout" Target="../slideLayouts/slideLayout29.xml"/></Relationships>
</file>

<file path=ppt/slides/_rels/slide7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7.xml"/><Relationship Id="rId1" Type="http://schemas.openxmlformats.org/officeDocument/2006/relationships/slideLayout" Target="../slideLayouts/slideLayout21.xml"/><Relationship Id="rId4" Type="http://schemas.openxmlformats.org/officeDocument/2006/relationships/image" Target="../media/image34.png"/></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30.xml"/></Relationships>
</file>

<file path=ppt/slides/_rels/slide74.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Layout" Target="../slideLayouts/slideLayout30.xml"/></Relationships>
</file>

<file path=ppt/slides/_rels/slide75.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30.xml"/></Relationships>
</file>

<file path=ppt/slides/_rels/slide76.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30.xml"/></Relationships>
</file>

<file path=ppt/slides/_rels/slide77.xml.rels><?xml version="1.0" encoding="UTF-8" standalone="yes"?>
<Relationships xmlns="http://schemas.openxmlformats.org/package/2006/relationships"><Relationship Id="rId2" Type="http://schemas.openxmlformats.org/officeDocument/2006/relationships/image" Target="../media/image74.jpg"/><Relationship Id="rId1" Type="http://schemas.openxmlformats.org/officeDocument/2006/relationships/slideLayout" Target="../slideLayouts/slideLayout30.xml"/></Relationships>
</file>

<file path=ppt/slides/_rels/slide7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0.xml"/></Relationships>
</file>

<file path=ppt/slides/_rels/slide79.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7.xml"/></Relationships>
</file>

<file path=ppt/slides/_rels/slide80.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01959-1619-4F96-8E97-53B7A28A6417}"/>
              </a:ext>
            </a:extLst>
          </p:cNvPr>
          <p:cNvSpPr>
            <a:spLocks noGrp="1"/>
          </p:cNvSpPr>
          <p:nvPr>
            <p:ph type="ctrTitle"/>
          </p:nvPr>
        </p:nvSpPr>
        <p:spPr>
          <a:xfrm>
            <a:off x="4745892" y="1211087"/>
            <a:ext cx="3877408" cy="664649"/>
          </a:xfrm>
        </p:spPr>
        <p:txBody>
          <a:bodyPr/>
          <a:lstStyle/>
          <a:p>
            <a:r>
              <a:rPr lang="en-US" dirty="0"/>
              <a:t>ISMPP University</a:t>
            </a:r>
          </a:p>
        </p:txBody>
      </p:sp>
      <p:sp>
        <p:nvSpPr>
          <p:cNvPr id="3" name="Subtitle 2">
            <a:extLst>
              <a:ext uri="{FF2B5EF4-FFF2-40B4-BE49-F238E27FC236}">
                <a16:creationId xmlns:a16="http://schemas.microsoft.com/office/drawing/2014/main" id="{F6A5669E-B61B-4FF9-8070-490009B12AEA}"/>
              </a:ext>
            </a:extLst>
          </p:cNvPr>
          <p:cNvSpPr>
            <a:spLocks noGrp="1"/>
          </p:cNvSpPr>
          <p:nvPr>
            <p:ph type="subTitle" idx="1"/>
          </p:nvPr>
        </p:nvSpPr>
        <p:spPr>
          <a:xfrm>
            <a:off x="4511374" y="1872259"/>
            <a:ext cx="4013795" cy="1000219"/>
          </a:xfrm>
        </p:spPr>
        <p:txBody>
          <a:bodyPr/>
          <a:lstStyle/>
          <a:p>
            <a:r>
              <a:rPr lang="en-US" sz="2000" dirty="0"/>
              <a:t>Plain Language Summaries (PLS)              of publications:                                                    </a:t>
            </a:r>
          </a:p>
          <a:p>
            <a:r>
              <a:rPr lang="en-US" sz="2000" dirty="0"/>
              <a:t>Focus on practical application</a:t>
            </a:r>
          </a:p>
          <a:p>
            <a:endParaRPr lang="en-US" dirty="0"/>
          </a:p>
        </p:txBody>
      </p:sp>
      <p:sp>
        <p:nvSpPr>
          <p:cNvPr id="4" name="TextBox 3">
            <a:extLst>
              <a:ext uri="{FF2B5EF4-FFF2-40B4-BE49-F238E27FC236}">
                <a16:creationId xmlns:a16="http://schemas.microsoft.com/office/drawing/2014/main" id="{F0FD9C17-DA93-4646-8A02-B34096B5D343}"/>
              </a:ext>
            </a:extLst>
          </p:cNvPr>
          <p:cNvSpPr txBox="1"/>
          <p:nvPr/>
        </p:nvSpPr>
        <p:spPr>
          <a:xfrm>
            <a:off x="58782" y="3905795"/>
            <a:ext cx="1998618" cy="113107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Webinar will begin promptly at: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11 AM ET / 4 PM GMT</a:t>
            </a:r>
          </a:p>
        </p:txBody>
      </p:sp>
      <p:sp>
        <p:nvSpPr>
          <p:cNvPr id="5" name="TextBox 4">
            <a:extLst>
              <a:ext uri="{FF2B5EF4-FFF2-40B4-BE49-F238E27FC236}">
                <a16:creationId xmlns:a16="http://schemas.microsoft.com/office/drawing/2014/main" id="{B51E204F-7927-43EE-8EBD-37CA3BC7DC54}"/>
              </a:ext>
            </a:extLst>
          </p:cNvPr>
          <p:cNvSpPr txBox="1"/>
          <p:nvPr/>
        </p:nvSpPr>
        <p:spPr>
          <a:xfrm>
            <a:off x="4669878" y="3340458"/>
            <a:ext cx="3696789" cy="338554"/>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Franklin Gothic Book" panose="020B0503020102020204"/>
                <a:ea typeface="+mn-ea"/>
                <a:cs typeface="+mn-cs"/>
              </a:rPr>
              <a:t>February</a:t>
            </a:r>
            <a:r>
              <a:rPr lang="en-US" sz="1600" b="1" dirty="0">
                <a:solidFill>
                  <a:prstClr val="black"/>
                </a:solidFill>
                <a:latin typeface="Franklin Gothic Book" panose="020B0503020102020204"/>
              </a:rPr>
              <a:t> 2</a:t>
            </a:r>
            <a:r>
              <a:rPr kumimoji="0" lang="en-US" sz="1600" b="1" i="0" u="none" strike="noStrike" kern="1200" cap="none" spc="0" normalizeH="0" baseline="0" noProof="0" dirty="0">
                <a:ln>
                  <a:noFill/>
                </a:ln>
                <a:solidFill>
                  <a:prstClr val="black"/>
                </a:solidFill>
                <a:effectLst/>
                <a:uLnTx/>
                <a:uFillTx/>
                <a:latin typeface="Franklin Gothic Book" panose="020B0503020102020204"/>
                <a:ea typeface="+mn-ea"/>
                <a:cs typeface="+mn-cs"/>
              </a:rPr>
              <a:t>, 2022</a:t>
            </a:r>
          </a:p>
        </p:txBody>
      </p:sp>
      <p:pic>
        <p:nvPicPr>
          <p:cNvPr id="7" name="Picture 6" descr="A close up of a sign&#10;&#10;Description automatically generated">
            <a:extLst>
              <a:ext uri="{FF2B5EF4-FFF2-40B4-BE49-F238E27FC236}">
                <a16:creationId xmlns:a16="http://schemas.microsoft.com/office/drawing/2014/main" id="{AFBD653C-86B6-49C3-9674-63C430726F0E}"/>
              </a:ext>
            </a:extLst>
          </p:cNvPr>
          <p:cNvPicPr>
            <a:picLocks noChangeAspect="1"/>
          </p:cNvPicPr>
          <p:nvPr/>
        </p:nvPicPr>
        <p:blipFill>
          <a:blip r:embed="rId3"/>
          <a:stretch>
            <a:fillRect/>
          </a:stretch>
        </p:blipFill>
        <p:spPr>
          <a:xfrm>
            <a:off x="5407178" y="320839"/>
            <a:ext cx="696251" cy="696251"/>
          </a:xfrm>
          <a:prstGeom prst="rect">
            <a:avLst/>
          </a:prstGeom>
        </p:spPr>
      </p:pic>
      <p:sp>
        <p:nvSpPr>
          <p:cNvPr id="8" name="Plus Sign 7">
            <a:extLst>
              <a:ext uri="{FF2B5EF4-FFF2-40B4-BE49-F238E27FC236}">
                <a16:creationId xmlns:a16="http://schemas.microsoft.com/office/drawing/2014/main" id="{7697EEA5-09DA-4234-BF38-6B90153E7B0F}"/>
              </a:ext>
            </a:extLst>
          </p:cNvPr>
          <p:cNvSpPr/>
          <p:nvPr/>
        </p:nvSpPr>
        <p:spPr>
          <a:xfrm>
            <a:off x="6265266" y="501823"/>
            <a:ext cx="506023" cy="4130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9" name="Picture 8">
            <a:extLst>
              <a:ext uri="{FF2B5EF4-FFF2-40B4-BE49-F238E27FC236}">
                <a16:creationId xmlns:a16="http://schemas.microsoft.com/office/drawing/2014/main" id="{FCBFCC8E-C30E-4D8F-AA73-663C1BE95284}"/>
              </a:ext>
            </a:extLst>
          </p:cNvPr>
          <p:cNvPicPr>
            <a:picLocks noChangeAspect="1"/>
          </p:cNvPicPr>
          <p:nvPr/>
        </p:nvPicPr>
        <p:blipFill>
          <a:blip r:embed="rId4"/>
          <a:stretch>
            <a:fillRect/>
          </a:stretch>
        </p:blipFill>
        <p:spPr>
          <a:xfrm>
            <a:off x="6863226" y="354328"/>
            <a:ext cx="799153" cy="597740"/>
          </a:xfrm>
          <a:prstGeom prst="rect">
            <a:avLst/>
          </a:prstGeom>
        </p:spPr>
      </p:pic>
    </p:spTree>
    <p:extLst>
      <p:ext uri="{BB962C8B-B14F-4D97-AF65-F5344CB8AC3E}">
        <p14:creationId xmlns:p14="http://schemas.microsoft.com/office/powerpoint/2010/main" val="26241144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1FFB4F5D-2FD5-43FA-B06E-6A6C21C67116}"/>
              </a:ext>
            </a:extLst>
          </p:cNvPr>
          <p:cNvSpPr/>
          <p:nvPr/>
        </p:nvSpPr>
        <p:spPr>
          <a:xfrm>
            <a:off x="0" y="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6" name="Picture 5">
            <a:extLst>
              <a:ext uri="{FF2B5EF4-FFF2-40B4-BE49-F238E27FC236}">
                <a16:creationId xmlns:a16="http://schemas.microsoft.com/office/drawing/2014/main" id="{6A20A544-A7E1-4CD1-80C8-0D9321081114}"/>
              </a:ext>
            </a:extLst>
          </p:cNvPr>
          <p:cNvPicPr>
            <a:picLocks noChangeAspect="1"/>
          </p:cNvPicPr>
          <p:nvPr/>
        </p:nvPicPr>
        <p:blipFill>
          <a:blip r:embed="rId2"/>
          <a:stretch>
            <a:fillRect/>
          </a:stretch>
        </p:blipFill>
        <p:spPr>
          <a:xfrm>
            <a:off x="512672" y="242349"/>
            <a:ext cx="2828502" cy="4008516"/>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93017297-D921-443F-986B-9017A4A671EA}"/>
              </a:ext>
            </a:extLst>
          </p:cNvPr>
          <p:cNvPicPr>
            <a:picLocks noChangeAspect="1"/>
          </p:cNvPicPr>
          <p:nvPr/>
        </p:nvPicPr>
        <p:blipFill rotWithShape="1">
          <a:blip r:embed="rId3"/>
          <a:srcRect l="1449" t="1133"/>
          <a:stretch/>
        </p:blipFill>
        <p:spPr>
          <a:xfrm>
            <a:off x="3177862" y="577205"/>
            <a:ext cx="2824126" cy="4008516"/>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99FC78C2-E844-496D-869F-CD21178857B0}"/>
              </a:ext>
            </a:extLst>
          </p:cNvPr>
          <p:cNvPicPr>
            <a:picLocks noChangeAspect="1"/>
          </p:cNvPicPr>
          <p:nvPr/>
        </p:nvPicPr>
        <p:blipFill>
          <a:blip r:embed="rId4"/>
          <a:stretch>
            <a:fillRect/>
          </a:stretch>
        </p:blipFill>
        <p:spPr>
          <a:xfrm>
            <a:off x="5838677" y="912060"/>
            <a:ext cx="2827985" cy="4008515"/>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CA8E96DF-F3BA-4B73-9EEF-1A387AA5ED6D}"/>
              </a:ext>
            </a:extLst>
          </p:cNvPr>
          <p:cNvSpPr txBox="1"/>
          <p:nvPr/>
        </p:nvSpPr>
        <p:spPr>
          <a:xfrm>
            <a:off x="0" y="4889585"/>
            <a:ext cx="6858000"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rPr>
              <a:t>Lobban D, Gardner J, Matheis R. </a:t>
            </a:r>
            <a:r>
              <a:rPr kumimoji="0" lang="en-GB" sz="1000" b="0" i="0" u="none" strike="noStrike" kern="1200" cap="none" spc="0" normalizeH="0" baseline="0" noProof="0" dirty="0" err="1">
                <a:ln>
                  <a:noFill/>
                </a:ln>
                <a:solidFill>
                  <a:prstClr val="black"/>
                </a:solidFill>
                <a:effectLst/>
                <a:uLnTx/>
                <a:uFillTx/>
                <a:latin typeface="Franklin Gothic Book" panose="020B0503020102020204"/>
                <a:ea typeface="+mn-ea"/>
                <a:cs typeface="+mn-cs"/>
              </a:rPr>
              <a:t>Curr</a:t>
            </a:r>
            <a:r>
              <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rPr>
              <a:t> Med Res </a:t>
            </a:r>
            <a:r>
              <a:rPr kumimoji="0" lang="en-GB" sz="1000" b="0" i="0" u="none" strike="noStrike" kern="1200" cap="none" spc="0" normalizeH="0" baseline="0" noProof="0" dirty="0" err="1">
                <a:ln>
                  <a:noFill/>
                </a:ln>
                <a:solidFill>
                  <a:prstClr val="black"/>
                </a:solidFill>
                <a:effectLst/>
                <a:uLnTx/>
                <a:uFillTx/>
                <a:latin typeface="Franklin Gothic Book" panose="020B0503020102020204"/>
                <a:ea typeface="+mn-ea"/>
                <a:cs typeface="+mn-cs"/>
              </a:rPr>
              <a:t>Opin</a:t>
            </a:r>
            <a:r>
              <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rPr>
              <a:t>. 2021 Nov 4:1-12</a:t>
            </a:r>
          </a:p>
        </p:txBody>
      </p:sp>
    </p:spTree>
    <p:extLst>
      <p:ext uri="{BB962C8B-B14F-4D97-AF65-F5344CB8AC3E}">
        <p14:creationId xmlns:p14="http://schemas.microsoft.com/office/powerpoint/2010/main" val="7166034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1FFB4F5D-2FD5-43FA-B06E-6A6C21C67116}"/>
              </a:ext>
            </a:extLst>
          </p:cNvPr>
          <p:cNvSpPr/>
          <p:nvPr/>
        </p:nvSpPr>
        <p:spPr>
          <a:xfrm>
            <a:off x="0" y="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4" name="Picture 2" descr="A visual abstract summarizing the key findings of the article titled “Optimizing Readability and Format of Plain Language Summaries for Medical Research Articles: Cross-sectional Survey Study” published in the Journal of Medical Internet Research in 2022. The study found that patients and caregivers surveyed here prefer to read about medical research in a graphical format or as a textual summary corresponding to a reading age of 14-17 years.">
            <a:extLst>
              <a:ext uri="{FF2B5EF4-FFF2-40B4-BE49-F238E27FC236}">
                <a16:creationId xmlns:a16="http://schemas.microsoft.com/office/drawing/2014/main" id="{068F65FC-161F-4CD8-BF92-478624BAAB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2940" y="472455"/>
            <a:ext cx="5598120" cy="41985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C467D6E-7934-4017-A4CC-CDCEC943811D}"/>
              </a:ext>
            </a:extLst>
          </p:cNvPr>
          <p:cNvSpPr txBox="1"/>
          <p:nvPr/>
        </p:nvSpPr>
        <p:spPr>
          <a:xfrm>
            <a:off x="0" y="4889585"/>
            <a:ext cx="6858000" cy="253916"/>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rPr>
              <a:t>Martínez Silvagnoli L, Shepherd C, Pritchett J, Gardner J. J Med Internet Res. 2022 Jan 11;24(1):e22122</a:t>
            </a:r>
          </a:p>
        </p:txBody>
      </p:sp>
    </p:spTree>
    <p:extLst>
      <p:ext uri="{BB962C8B-B14F-4D97-AF65-F5344CB8AC3E}">
        <p14:creationId xmlns:p14="http://schemas.microsoft.com/office/powerpoint/2010/main" val="27001952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1FFB4F5D-2FD5-43FA-B06E-6A6C21C67116}"/>
              </a:ext>
            </a:extLst>
          </p:cNvPr>
          <p:cNvSpPr/>
          <p:nvPr/>
        </p:nvSpPr>
        <p:spPr>
          <a:xfrm>
            <a:off x="0" y="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nvGrpSpPr>
          <p:cNvPr id="4" name="Group 3">
            <a:extLst>
              <a:ext uri="{FF2B5EF4-FFF2-40B4-BE49-F238E27FC236}">
                <a16:creationId xmlns:a16="http://schemas.microsoft.com/office/drawing/2014/main" id="{9C1C71E4-5ECD-44EF-A5EA-16F851B29688}"/>
              </a:ext>
            </a:extLst>
          </p:cNvPr>
          <p:cNvGrpSpPr/>
          <p:nvPr/>
        </p:nvGrpSpPr>
        <p:grpSpPr>
          <a:xfrm>
            <a:off x="588480" y="333789"/>
            <a:ext cx="7967039" cy="4529873"/>
            <a:chOff x="524417" y="361855"/>
            <a:chExt cx="7359962" cy="4184703"/>
          </a:xfrm>
        </p:grpSpPr>
        <p:pic>
          <p:nvPicPr>
            <p:cNvPr id="5" name="Picture 4">
              <a:extLst>
                <a:ext uri="{FF2B5EF4-FFF2-40B4-BE49-F238E27FC236}">
                  <a16:creationId xmlns:a16="http://schemas.microsoft.com/office/drawing/2014/main" id="{48AB5567-01AE-4771-B41E-5F7DA55B3D1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345219" y="1088747"/>
              <a:ext cx="2539160" cy="3457811"/>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220F2A34-AEA4-4195-B7D8-127FC9D9913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738286" y="846450"/>
              <a:ext cx="2539159" cy="3443775"/>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473DB09C-0D5E-44EF-931C-4809242AFAE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131352" y="604152"/>
              <a:ext cx="2539159" cy="3443775"/>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31CE0F10-A805-42C9-8707-9B2DF55CAE7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24417" y="361855"/>
              <a:ext cx="2539160" cy="3443775"/>
            </a:xfrm>
            <a:prstGeom prst="rect">
              <a:avLst/>
            </a:prstGeom>
            <a:ln>
              <a:noFill/>
            </a:ln>
            <a:effectLst>
              <a:outerShdw blurRad="292100" dist="139700" dir="2700000" algn="tl" rotWithShape="0">
                <a:srgbClr val="333333">
                  <a:alpha val="65000"/>
                </a:srgbClr>
              </a:outerShdw>
            </a:effectLst>
          </p:spPr>
        </p:pic>
      </p:grpSp>
      <p:sp>
        <p:nvSpPr>
          <p:cNvPr id="11" name="TextBox 10">
            <a:extLst>
              <a:ext uri="{FF2B5EF4-FFF2-40B4-BE49-F238E27FC236}">
                <a16:creationId xmlns:a16="http://schemas.microsoft.com/office/drawing/2014/main" id="{8F717672-CF67-4F66-8587-E727F6CBFE5B}"/>
              </a:ext>
            </a:extLst>
          </p:cNvPr>
          <p:cNvSpPr txBox="1"/>
          <p:nvPr/>
        </p:nvSpPr>
        <p:spPr>
          <a:xfrm>
            <a:off x="0" y="4889585"/>
            <a:ext cx="6858000"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rPr>
              <a:t>Tap W. Future Oncol. 2020 Sep;16(25):1875-1878</a:t>
            </a:r>
          </a:p>
        </p:txBody>
      </p:sp>
    </p:spTree>
    <p:extLst>
      <p:ext uri="{BB962C8B-B14F-4D97-AF65-F5344CB8AC3E}">
        <p14:creationId xmlns:p14="http://schemas.microsoft.com/office/powerpoint/2010/main" val="25670800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58" name="Picture 57" descr="A picture containing icon&#10;&#10;Description automatically generated">
            <a:extLst>
              <a:ext uri="{FF2B5EF4-FFF2-40B4-BE49-F238E27FC236}">
                <a16:creationId xmlns:a16="http://schemas.microsoft.com/office/drawing/2014/main" id="{47B85F55-EAB3-4011-9BA1-5456E93DABBF}"/>
              </a:ext>
            </a:extLst>
          </p:cNvPr>
          <p:cNvPicPr>
            <a:picLocks noChangeAspect="1"/>
          </p:cNvPicPr>
          <p:nvPr/>
        </p:nvPicPr>
        <p:blipFill>
          <a:blip r:embed="rId2">
            <a:duotone>
              <a:schemeClr val="accent6">
                <a:shade val="45000"/>
                <a:satMod val="135000"/>
              </a:schemeClr>
              <a:prstClr val="white"/>
            </a:duotone>
          </a:blip>
          <a:stretch>
            <a:fillRect/>
          </a:stretch>
        </p:blipFill>
        <p:spPr>
          <a:xfrm>
            <a:off x="206824" y="1772325"/>
            <a:ext cx="629120" cy="576000"/>
          </a:xfrm>
          <a:prstGeom prst="rect">
            <a:avLst/>
          </a:prstGeom>
        </p:spPr>
      </p:pic>
      <p:pic>
        <p:nvPicPr>
          <p:cNvPr id="60" name="Picture 59" descr="A picture containing icon&#10;&#10;Description automatically generated">
            <a:extLst>
              <a:ext uri="{FF2B5EF4-FFF2-40B4-BE49-F238E27FC236}">
                <a16:creationId xmlns:a16="http://schemas.microsoft.com/office/drawing/2014/main" id="{1C1DA6D9-EB07-4BDC-8F24-61A4AD3E5F65}"/>
              </a:ext>
            </a:extLst>
          </p:cNvPr>
          <p:cNvPicPr>
            <a:picLocks noChangeAspect="1"/>
          </p:cNvPicPr>
          <p:nvPr/>
        </p:nvPicPr>
        <p:blipFill>
          <a:blip r:embed="rId2">
            <a:duotone>
              <a:schemeClr val="accent6">
                <a:shade val="45000"/>
                <a:satMod val="135000"/>
              </a:schemeClr>
              <a:prstClr val="white"/>
            </a:duotone>
          </a:blip>
          <a:stretch>
            <a:fillRect/>
          </a:stretch>
        </p:blipFill>
        <p:spPr>
          <a:xfrm>
            <a:off x="856991" y="1999303"/>
            <a:ext cx="629120" cy="576000"/>
          </a:xfrm>
          <a:prstGeom prst="rect">
            <a:avLst/>
          </a:prstGeom>
        </p:spPr>
      </p:pic>
      <p:pic>
        <p:nvPicPr>
          <p:cNvPr id="61" name="Picture 60" descr="A picture containing icon&#10;&#10;Description automatically generated">
            <a:extLst>
              <a:ext uri="{FF2B5EF4-FFF2-40B4-BE49-F238E27FC236}">
                <a16:creationId xmlns:a16="http://schemas.microsoft.com/office/drawing/2014/main" id="{436DC158-E7BC-41ED-9EB1-5F9F8D727E3E}"/>
              </a:ext>
            </a:extLst>
          </p:cNvPr>
          <p:cNvPicPr>
            <a:picLocks noChangeAspect="1"/>
          </p:cNvPicPr>
          <p:nvPr/>
        </p:nvPicPr>
        <p:blipFill>
          <a:blip r:embed="rId2">
            <a:duotone>
              <a:schemeClr val="accent6">
                <a:shade val="45000"/>
                <a:satMod val="135000"/>
              </a:schemeClr>
              <a:prstClr val="white"/>
            </a:duotone>
          </a:blip>
          <a:stretch>
            <a:fillRect/>
          </a:stretch>
        </p:blipFill>
        <p:spPr>
          <a:xfrm>
            <a:off x="1507159" y="2226281"/>
            <a:ext cx="629120" cy="576000"/>
          </a:xfrm>
          <a:prstGeom prst="rect">
            <a:avLst/>
          </a:prstGeom>
        </p:spPr>
      </p:pic>
      <p:pic>
        <p:nvPicPr>
          <p:cNvPr id="62" name="Picture 61" descr="A picture containing icon&#10;&#10;Description automatically generated">
            <a:extLst>
              <a:ext uri="{FF2B5EF4-FFF2-40B4-BE49-F238E27FC236}">
                <a16:creationId xmlns:a16="http://schemas.microsoft.com/office/drawing/2014/main" id="{C4D03529-32C3-499B-B4DB-C2ED33B5713A}"/>
              </a:ext>
            </a:extLst>
          </p:cNvPr>
          <p:cNvPicPr>
            <a:picLocks noChangeAspect="1"/>
          </p:cNvPicPr>
          <p:nvPr/>
        </p:nvPicPr>
        <p:blipFill>
          <a:blip r:embed="rId2">
            <a:duotone>
              <a:schemeClr val="accent6">
                <a:shade val="45000"/>
                <a:satMod val="135000"/>
              </a:schemeClr>
              <a:prstClr val="white"/>
            </a:duotone>
          </a:blip>
          <a:stretch>
            <a:fillRect/>
          </a:stretch>
        </p:blipFill>
        <p:spPr>
          <a:xfrm>
            <a:off x="4129810" y="2680237"/>
            <a:ext cx="629120" cy="576000"/>
          </a:xfrm>
          <a:prstGeom prst="rect">
            <a:avLst/>
          </a:prstGeom>
        </p:spPr>
      </p:pic>
      <p:pic>
        <p:nvPicPr>
          <p:cNvPr id="63" name="Picture 62" descr="A picture containing icon&#10;&#10;Description automatically generated">
            <a:extLst>
              <a:ext uri="{FF2B5EF4-FFF2-40B4-BE49-F238E27FC236}">
                <a16:creationId xmlns:a16="http://schemas.microsoft.com/office/drawing/2014/main" id="{300634FB-EE71-4822-9544-135873AE080D}"/>
              </a:ext>
            </a:extLst>
          </p:cNvPr>
          <p:cNvPicPr>
            <a:picLocks noChangeAspect="1"/>
          </p:cNvPicPr>
          <p:nvPr/>
        </p:nvPicPr>
        <p:blipFill>
          <a:blip r:embed="rId2">
            <a:duotone>
              <a:schemeClr val="accent6">
                <a:shade val="45000"/>
                <a:satMod val="135000"/>
              </a:schemeClr>
              <a:prstClr val="white"/>
            </a:duotone>
          </a:blip>
          <a:stretch>
            <a:fillRect/>
          </a:stretch>
        </p:blipFill>
        <p:spPr>
          <a:xfrm>
            <a:off x="4783641" y="2907215"/>
            <a:ext cx="629120" cy="576000"/>
          </a:xfrm>
          <a:prstGeom prst="rect">
            <a:avLst/>
          </a:prstGeom>
          <a:solidFill>
            <a:schemeClr val="accent2"/>
          </a:solidFill>
        </p:spPr>
      </p:pic>
      <p:pic>
        <p:nvPicPr>
          <p:cNvPr id="64" name="Picture 63" descr="A picture containing icon&#10;&#10;Description automatically generated">
            <a:extLst>
              <a:ext uri="{FF2B5EF4-FFF2-40B4-BE49-F238E27FC236}">
                <a16:creationId xmlns:a16="http://schemas.microsoft.com/office/drawing/2014/main" id="{B28364D6-F2FF-4C28-A714-46C2DB8D84D2}"/>
              </a:ext>
            </a:extLst>
          </p:cNvPr>
          <p:cNvPicPr>
            <a:picLocks noChangeAspect="1"/>
          </p:cNvPicPr>
          <p:nvPr/>
        </p:nvPicPr>
        <p:blipFill>
          <a:blip r:embed="rId2">
            <a:duotone>
              <a:schemeClr val="accent6">
                <a:shade val="45000"/>
                <a:satMod val="135000"/>
              </a:schemeClr>
              <a:prstClr val="white"/>
            </a:duotone>
          </a:blip>
          <a:stretch>
            <a:fillRect/>
          </a:stretch>
        </p:blipFill>
        <p:spPr>
          <a:xfrm>
            <a:off x="6090526" y="3134193"/>
            <a:ext cx="629120" cy="576000"/>
          </a:xfrm>
          <a:prstGeom prst="rect">
            <a:avLst/>
          </a:prstGeom>
        </p:spPr>
      </p:pic>
      <p:pic>
        <p:nvPicPr>
          <p:cNvPr id="65" name="Picture 64" descr="A picture containing icon&#10;&#10;Description automatically generated">
            <a:extLst>
              <a:ext uri="{FF2B5EF4-FFF2-40B4-BE49-F238E27FC236}">
                <a16:creationId xmlns:a16="http://schemas.microsoft.com/office/drawing/2014/main" id="{32D00BDF-B37E-4C6E-A715-352DB0B6DD17}"/>
              </a:ext>
            </a:extLst>
          </p:cNvPr>
          <p:cNvPicPr>
            <a:picLocks noChangeAspect="1"/>
          </p:cNvPicPr>
          <p:nvPr/>
        </p:nvPicPr>
        <p:blipFill>
          <a:blip r:embed="rId2">
            <a:duotone>
              <a:schemeClr val="accent6">
                <a:shade val="45000"/>
                <a:satMod val="135000"/>
              </a:schemeClr>
              <a:prstClr val="white"/>
            </a:duotone>
          </a:blip>
          <a:stretch>
            <a:fillRect/>
          </a:stretch>
        </p:blipFill>
        <p:spPr>
          <a:xfrm>
            <a:off x="7390731" y="3361171"/>
            <a:ext cx="629120" cy="576000"/>
          </a:xfrm>
          <a:prstGeom prst="rect">
            <a:avLst/>
          </a:prstGeom>
        </p:spPr>
      </p:pic>
      <p:pic>
        <p:nvPicPr>
          <p:cNvPr id="66" name="Picture 65" descr="A picture containing icon&#10;&#10;Description automatically generated">
            <a:extLst>
              <a:ext uri="{FF2B5EF4-FFF2-40B4-BE49-F238E27FC236}">
                <a16:creationId xmlns:a16="http://schemas.microsoft.com/office/drawing/2014/main" id="{80610001-5C68-4A00-A9C1-E38036CB47CC}"/>
              </a:ext>
            </a:extLst>
          </p:cNvPr>
          <p:cNvPicPr>
            <a:picLocks noChangeAspect="1"/>
          </p:cNvPicPr>
          <p:nvPr/>
        </p:nvPicPr>
        <p:blipFill>
          <a:blip r:embed="rId2">
            <a:duotone>
              <a:schemeClr val="accent6">
                <a:shade val="45000"/>
                <a:satMod val="135000"/>
              </a:schemeClr>
              <a:prstClr val="white"/>
            </a:duotone>
          </a:blip>
          <a:stretch>
            <a:fillRect/>
          </a:stretch>
        </p:blipFill>
        <p:spPr>
          <a:xfrm>
            <a:off x="8052796" y="3588148"/>
            <a:ext cx="629120" cy="576000"/>
          </a:xfrm>
          <a:prstGeom prst="rect">
            <a:avLst/>
          </a:prstGeom>
        </p:spPr>
      </p:pic>
      <p:grpSp>
        <p:nvGrpSpPr>
          <p:cNvPr id="2" name="Group 1">
            <a:extLst>
              <a:ext uri="{FF2B5EF4-FFF2-40B4-BE49-F238E27FC236}">
                <a16:creationId xmlns:a16="http://schemas.microsoft.com/office/drawing/2014/main" id="{9955F9E0-35A3-4D44-A144-98E6BC7F01F5}"/>
              </a:ext>
            </a:extLst>
          </p:cNvPr>
          <p:cNvGrpSpPr/>
          <p:nvPr/>
        </p:nvGrpSpPr>
        <p:grpSpPr>
          <a:xfrm>
            <a:off x="249703" y="653734"/>
            <a:ext cx="8295995" cy="907590"/>
            <a:chOff x="249703" y="653734"/>
            <a:chExt cx="8295995" cy="907590"/>
          </a:xfrm>
        </p:grpSpPr>
        <p:sp>
          <p:nvSpPr>
            <p:cNvPr id="19" name="TextBox 18">
              <a:extLst>
                <a:ext uri="{FF2B5EF4-FFF2-40B4-BE49-F238E27FC236}">
                  <a16:creationId xmlns:a16="http://schemas.microsoft.com/office/drawing/2014/main" id="{1CD3D999-1A37-4300-AAC9-4A73AD522F6C}"/>
                </a:ext>
              </a:extLst>
            </p:cNvPr>
            <p:cNvSpPr txBox="1"/>
            <p:nvPr/>
          </p:nvSpPr>
          <p:spPr>
            <a:xfrm>
              <a:off x="24970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20" name="Straight Connector 19">
              <a:extLst>
                <a:ext uri="{FF2B5EF4-FFF2-40B4-BE49-F238E27FC236}">
                  <a16:creationId xmlns:a16="http://schemas.microsoft.com/office/drawing/2014/main" id="{48A0F121-E71A-4296-A86A-3CDD33A385F1}"/>
                </a:ext>
              </a:extLst>
            </p:cNvPr>
            <p:cNvCxnSpPr>
              <a:cxnSpLocks/>
            </p:cNvCxnSpPr>
            <p:nvPr/>
          </p:nvCxnSpPr>
          <p:spPr>
            <a:xfrm>
              <a:off x="47408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B886FAB2-85A7-46B7-85FC-443D555AEE66}"/>
                </a:ext>
              </a:extLst>
            </p:cNvPr>
            <p:cNvCxnSpPr>
              <a:cxnSpLocks/>
            </p:cNvCxnSpPr>
            <p:nvPr/>
          </p:nvCxnSpPr>
          <p:spPr>
            <a:xfrm>
              <a:off x="832006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56EE0CBE-53E7-476E-B232-A73826296E97}"/>
                </a:ext>
              </a:extLst>
            </p:cNvPr>
            <p:cNvCxnSpPr>
              <a:cxnSpLocks/>
            </p:cNvCxnSpPr>
            <p:nvPr/>
          </p:nvCxnSpPr>
          <p:spPr>
            <a:xfrm>
              <a:off x="1127919"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87D4C4F7-3EB2-4301-BB8C-ADA4BD89AA76}"/>
                </a:ext>
              </a:extLst>
            </p:cNvPr>
            <p:cNvCxnSpPr>
              <a:cxnSpLocks/>
            </p:cNvCxnSpPr>
            <p:nvPr/>
          </p:nvCxnSpPr>
          <p:spPr>
            <a:xfrm>
              <a:off x="178175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AC9184F6-1896-4DAD-B10E-18780A816A5B}"/>
                </a:ext>
              </a:extLst>
            </p:cNvPr>
            <p:cNvCxnSpPr>
              <a:cxnSpLocks/>
            </p:cNvCxnSpPr>
            <p:nvPr/>
          </p:nvCxnSpPr>
          <p:spPr>
            <a:xfrm>
              <a:off x="2435581"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01D1D33F-3466-4628-8810-0107FE91CC42}"/>
                </a:ext>
              </a:extLst>
            </p:cNvPr>
            <p:cNvCxnSpPr>
              <a:cxnSpLocks/>
            </p:cNvCxnSpPr>
            <p:nvPr/>
          </p:nvCxnSpPr>
          <p:spPr>
            <a:xfrm>
              <a:off x="3089412"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A394B51F-6876-48A6-953A-F92ECCD60141}"/>
                </a:ext>
              </a:extLst>
            </p:cNvPr>
            <p:cNvCxnSpPr>
              <a:cxnSpLocks/>
            </p:cNvCxnSpPr>
            <p:nvPr/>
          </p:nvCxnSpPr>
          <p:spPr>
            <a:xfrm>
              <a:off x="3743243"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3EE2AA40-C4FD-4DAC-AAEF-E7516E988C27}"/>
                </a:ext>
              </a:extLst>
            </p:cNvPr>
            <p:cNvCxnSpPr>
              <a:cxnSpLocks/>
            </p:cNvCxnSpPr>
            <p:nvPr/>
          </p:nvCxnSpPr>
          <p:spPr>
            <a:xfrm>
              <a:off x="4397074"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F2B2B729-579A-4B2E-9379-4B328D783949}"/>
                </a:ext>
              </a:extLst>
            </p:cNvPr>
            <p:cNvCxnSpPr>
              <a:cxnSpLocks/>
            </p:cNvCxnSpPr>
            <p:nvPr/>
          </p:nvCxnSpPr>
          <p:spPr>
            <a:xfrm>
              <a:off x="5050905"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D6258FFA-7938-4ADA-8DCE-18D28DCC9060}"/>
                </a:ext>
              </a:extLst>
            </p:cNvPr>
            <p:cNvCxnSpPr>
              <a:cxnSpLocks/>
            </p:cNvCxnSpPr>
            <p:nvPr/>
          </p:nvCxnSpPr>
          <p:spPr>
            <a:xfrm>
              <a:off x="5704736"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11FC8EEE-46DC-490D-8717-3AE5E0F1C284}"/>
                </a:ext>
              </a:extLst>
            </p:cNvPr>
            <p:cNvCxnSpPr>
              <a:cxnSpLocks/>
            </p:cNvCxnSpPr>
            <p:nvPr/>
          </p:nvCxnSpPr>
          <p:spPr>
            <a:xfrm>
              <a:off x="6358567"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B4628BEB-BDE3-4BD6-8C76-5B5F7EC08014}"/>
                </a:ext>
              </a:extLst>
            </p:cNvPr>
            <p:cNvCxnSpPr>
              <a:cxnSpLocks/>
            </p:cNvCxnSpPr>
            <p:nvPr/>
          </p:nvCxnSpPr>
          <p:spPr>
            <a:xfrm>
              <a:off x="701239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C40B19A6-F62A-4BF5-AA13-62F4FD69617E}"/>
                </a:ext>
              </a:extLst>
            </p:cNvPr>
            <p:cNvCxnSpPr>
              <a:cxnSpLocks/>
            </p:cNvCxnSpPr>
            <p:nvPr/>
          </p:nvCxnSpPr>
          <p:spPr>
            <a:xfrm>
              <a:off x="7666229" y="1001373"/>
              <a:ext cx="0" cy="252249"/>
            </a:xfrm>
            <a:prstGeom prst="line">
              <a:avLst/>
            </a:prstGeom>
            <a:ln w="19050"/>
          </p:spPr>
          <p:style>
            <a:lnRef idx="1">
              <a:schemeClr val="dk1"/>
            </a:lnRef>
            <a:fillRef idx="0">
              <a:schemeClr val="dk1"/>
            </a:fillRef>
            <a:effectRef idx="0">
              <a:schemeClr val="dk1"/>
            </a:effectRef>
            <a:fontRef idx="minor">
              <a:schemeClr val="tx1"/>
            </a:fontRef>
          </p:style>
        </p:cxnSp>
        <p:sp>
          <p:nvSpPr>
            <p:cNvPr id="34" name="TextBox 33">
              <a:extLst>
                <a:ext uri="{FF2B5EF4-FFF2-40B4-BE49-F238E27FC236}">
                  <a16:creationId xmlns:a16="http://schemas.microsoft.com/office/drawing/2014/main" id="{6C62E434-BDB7-4656-A61D-C9AB29EEAFA3}"/>
                </a:ext>
              </a:extLst>
            </p:cNvPr>
            <p:cNvSpPr txBox="1"/>
            <p:nvPr/>
          </p:nvSpPr>
          <p:spPr>
            <a:xfrm>
              <a:off x="514449" y="653734"/>
              <a:ext cx="582532"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1</a:t>
              </a:r>
            </a:p>
          </p:txBody>
        </p:sp>
        <p:sp>
          <p:nvSpPr>
            <p:cNvPr id="35" name="TextBox 34">
              <a:extLst>
                <a:ext uri="{FF2B5EF4-FFF2-40B4-BE49-F238E27FC236}">
                  <a16:creationId xmlns:a16="http://schemas.microsoft.com/office/drawing/2014/main" id="{2934498A-5C77-46B1-880B-071BB0DCFC99}"/>
                </a:ext>
              </a:extLst>
            </p:cNvPr>
            <p:cNvSpPr txBox="1"/>
            <p:nvPr/>
          </p:nvSpPr>
          <p:spPr>
            <a:xfrm>
              <a:off x="7685631" y="656093"/>
              <a:ext cx="588623"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2</a:t>
              </a:r>
            </a:p>
          </p:txBody>
        </p:sp>
        <p:sp>
          <p:nvSpPr>
            <p:cNvPr id="36" name="TextBox 35">
              <a:extLst>
                <a:ext uri="{FF2B5EF4-FFF2-40B4-BE49-F238E27FC236}">
                  <a16:creationId xmlns:a16="http://schemas.microsoft.com/office/drawing/2014/main" id="{9E86D17D-15BF-4C39-912D-6102887B3E57}"/>
                </a:ext>
              </a:extLst>
            </p:cNvPr>
            <p:cNvSpPr txBox="1"/>
            <p:nvPr/>
          </p:nvSpPr>
          <p:spPr>
            <a:xfrm>
              <a:off x="90323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r</a:t>
              </a:r>
            </a:p>
          </p:txBody>
        </p:sp>
        <p:sp>
          <p:nvSpPr>
            <p:cNvPr id="37" name="TextBox 36">
              <a:extLst>
                <a:ext uri="{FF2B5EF4-FFF2-40B4-BE49-F238E27FC236}">
                  <a16:creationId xmlns:a16="http://schemas.microsoft.com/office/drawing/2014/main" id="{821A7A88-B032-4866-B035-A7198D30134C}"/>
                </a:ext>
              </a:extLst>
            </p:cNvPr>
            <p:cNvSpPr txBox="1"/>
            <p:nvPr/>
          </p:nvSpPr>
          <p:spPr>
            <a:xfrm>
              <a:off x="1556769"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pr</a:t>
              </a:r>
            </a:p>
          </p:txBody>
        </p:sp>
        <p:sp>
          <p:nvSpPr>
            <p:cNvPr id="38" name="TextBox 37">
              <a:extLst>
                <a:ext uri="{FF2B5EF4-FFF2-40B4-BE49-F238E27FC236}">
                  <a16:creationId xmlns:a16="http://schemas.microsoft.com/office/drawing/2014/main" id="{21BEAF58-515C-4A46-A1C1-B6AB6B568304}"/>
                </a:ext>
              </a:extLst>
            </p:cNvPr>
            <p:cNvSpPr txBox="1"/>
            <p:nvPr/>
          </p:nvSpPr>
          <p:spPr>
            <a:xfrm>
              <a:off x="2210302"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y</a:t>
              </a:r>
            </a:p>
          </p:txBody>
        </p:sp>
        <p:sp>
          <p:nvSpPr>
            <p:cNvPr id="39" name="TextBox 38">
              <a:extLst>
                <a:ext uri="{FF2B5EF4-FFF2-40B4-BE49-F238E27FC236}">
                  <a16:creationId xmlns:a16="http://schemas.microsoft.com/office/drawing/2014/main" id="{09B27178-DEF9-48B5-AFAC-08B1B2EF999D}"/>
                </a:ext>
              </a:extLst>
            </p:cNvPr>
            <p:cNvSpPr txBox="1"/>
            <p:nvPr/>
          </p:nvSpPr>
          <p:spPr>
            <a:xfrm>
              <a:off x="2863835"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n</a:t>
              </a:r>
            </a:p>
          </p:txBody>
        </p:sp>
        <p:sp>
          <p:nvSpPr>
            <p:cNvPr id="40" name="TextBox 39">
              <a:extLst>
                <a:ext uri="{FF2B5EF4-FFF2-40B4-BE49-F238E27FC236}">
                  <a16:creationId xmlns:a16="http://schemas.microsoft.com/office/drawing/2014/main" id="{3C1E8E56-7347-4518-838F-0C14E005AD86}"/>
                </a:ext>
              </a:extLst>
            </p:cNvPr>
            <p:cNvSpPr txBox="1"/>
            <p:nvPr/>
          </p:nvSpPr>
          <p:spPr>
            <a:xfrm>
              <a:off x="351736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l</a:t>
              </a:r>
            </a:p>
          </p:txBody>
        </p:sp>
        <p:sp>
          <p:nvSpPr>
            <p:cNvPr id="41" name="TextBox 40">
              <a:extLst>
                <a:ext uri="{FF2B5EF4-FFF2-40B4-BE49-F238E27FC236}">
                  <a16:creationId xmlns:a16="http://schemas.microsoft.com/office/drawing/2014/main" id="{936D7B2B-FB93-4EB6-A0D5-1C4C4044A854}"/>
                </a:ext>
              </a:extLst>
            </p:cNvPr>
            <p:cNvSpPr txBox="1"/>
            <p:nvPr/>
          </p:nvSpPr>
          <p:spPr>
            <a:xfrm>
              <a:off x="4170901"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ug</a:t>
              </a:r>
            </a:p>
          </p:txBody>
        </p:sp>
        <p:sp>
          <p:nvSpPr>
            <p:cNvPr id="42" name="TextBox 41">
              <a:extLst>
                <a:ext uri="{FF2B5EF4-FFF2-40B4-BE49-F238E27FC236}">
                  <a16:creationId xmlns:a16="http://schemas.microsoft.com/office/drawing/2014/main" id="{079F6C58-8875-41C7-8367-3A2E651E296E}"/>
                </a:ext>
              </a:extLst>
            </p:cNvPr>
            <p:cNvSpPr txBox="1"/>
            <p:nvPr/>
          </p:nvSpPr>
          <p:spPr>
            <a:xfrm>
              <a:off x="4824434"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Sep</a:t>
              </a:r>
            </a:p>
          </p:txBody>
        </p:sp>
        <p:sp>
          <p:nvSpPr>
            <p:cNvPr id="43" name="TextBox 42">
              <a:extLst>
                <a:ext uri="{FF2B5EF4-FFF2-40B4-BE49-F238E27FC236}">
                  <a16:creationId xmlns:a16="http://schemas.microsoft.com/office/drawing/2014/main" id="{2A0DD9B2-6A20-4462-B110-5D53A01EE061}"/>
                </a:ext>
              </a:extLst>
            </p:cNvPr>
            <p:cNvSpPr txBox="1"/>
            <p:nvPr/>
          </p:nvSpPr>
          <p:spPr>
            <a:xfrm>
              <a:off x="5477967"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Oct</a:t>
              </a:r>
            </a:p>
          </p:txBody>
        </p:sp>
        <p:sp>
          <p:nvSpPr>
            <p:cNvPr id="44" name="TextBox 43">
              <a:extLst>
                <a:ext uri="{FF2B5EF4-FFF2-40B4-BE49-F238E27FC236}">
                  <a16:creationId xmlns:a16="http://schemas.microsoft.com/office/drawing/2014/main" id="{5BEBA09D-96A9-4A5D-BEE6-233AFAFFA930}"/>
                </a:ext>
              </a:extLst>
            </p:cNvPr>
            <p:cNvSpPr txBox="1"/>
            <p:nvPr/>
          </p:nvSpPr>
          <p:spPr>
            <a:xfrm>
              <a:off x="6131500"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Nov</a:t>
              </a:r>
            </a:p>
          </p:txBody>
        </p:sp>
        <p:sp>
          <p:nvSpPr>
            <p:cNvPr id="45" name="TextBox 44">
              <a:extLst>
                <a:ext uri="{FF2B5EF4-FFF2-40B4-BE49-F238E27FC236}">
                  <a16:creationId xmlns:a16="http://schemas.microsoft.com/office/drawing/2014/main" id="{CA19EC60-4E4C-4B13-B49F-4D073B58254E}"/>
                </a:ext>
              </a:extLst>
            </p:cNvPr>
            <p:cNvSpPr txBox="1"/>
            <p:nvPr/>
          </p:nvSpPr>
          <p:spPr>
            <a:xfrm>
              <a:off x="678503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Dec</a:t>
              </a:r>
            </a:p>
          </p:txBody>
        </p:sp>
        <p:sp>
          <p:nvSpPr>
            <p:cNvPr id="46" name="TextBox 45">
              <a:extLst>
                <a:ext uri="{FF2B5EF4-FFF2-40B4-BE49-F238E27FC236}">
                  <a16:creationId xmlns:a16="http://schemas.microsoft.com/office/drawing/2014/main" id="{1A6625E5-E4D9-4A1C-AC6F-C0F5804E567E}"/>
                </a:ext>
              </a:extLst>
            </p:cNvPr>
            <p:cNvSpPr txBox="1"/>
            <p:nvPr/>
          </p:nvSpPr>
          <p:spPr>
            <a:xfrm>
              <a:off x="743856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an</a:t>
              </a:r>
            </a:p>
          </p:txBody>
        </p:sp>
        <p:sp>
          <p:nvSpPr>
            <p:cNvPr id="47" name="TextBox 46">
              <a:extLst>
                <a:ext uri="{FF2B5EF4-FFF2-40B4-BE49-F238E27FC236}">
                  <a16:creationId xmlns:a16="http://schemas.microsoft.com/office/drawing/2014/main" id="{243B0A98-523A-4FD7-A235-C85D94E331D8}"/>
                </a:ext>
              </a:extLst>
            </p:cNvPr>
            <p:cNvSpPr txBox="1"/>
            <p:nvPr/>
          </p:nvSpPr>
          <p:spPr>
            <a:xfrm>
              <a:off x="809209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48" name="Straight Connector 47">
              <a:extLst>
                <a:ext uri="{FF2B5EF4-FFF2-40B4-BE49-F238E27FC236}">
                  <a16:creationId xmlns:a16="http://schemas.microsoft.com/office/drawing/2014/main" id="{0903A660-A345-437E-9CB2-685DF741ADD0}"/>
                </a:ext>
              </a:extLst>
            </p:cNvPr>
            <p:cNvCxnSpPr>
              <a:cxnSpLocks/>
            </p:cNvCxnSpPr>
            <p:nvPr/>
          </p:nvCxnSpPr>
          <p:spPr>
            <a:xfrm>
              <a:off x="7666229" y="756744"/>
              <a:ext cx="0" cy="252249"/>
            </a:xfrm>
            <a:prstGeom prst="line">
              <a:avLst/>
            </a:prstGeom>
            <a:ln w="19050"/>
          </p:spPr>
          <p:style>
            <a:lnRef idx="1">
              <a:schemeClr val="dk1"/>
            </a:lnRef>
            <a:fillRef idx="0">
              <a:schemeClr val="dk1"/>
            </a:fillRef>
            <a:effectRef idx="0">
              <a:schemeClr val="dk1"/>
            </a:effectRef>
            <a:fontRef idx="minor">
              <a:schemeClr val="tx1"/>
            </a:fontRef>
          </p:style>
        </p:cxnSp>
      </p:grpSp>
      <p:pic>
        <p:nvPicPr>
          <p:cNvPr id="49" name="Picture 48" descr="A picture containing icon&#10;&#10;Description automatically generated">
            <a:extLst>
              <a:ext uri="{FF2B5EF4-FFF2-40B4-BE49-F238E27FC236}">
                <a16:creationId xmlns:a16="http://schemas.microsoft.com/office/drawing/2014/main" id="{2808234D-9C65-42D9-A2C4-080128919715}"/>
              </a:ext>
            </a:extLst>
          </p:cNvPr>
          <p:cNvPicPr>
            <a:picLocks noChangeAspect="1"/>
          </p:cNvPicPr>
          <p:nvPr/>
        </p:nvPicPr>
        <p:blipFill>
          <a:blip r:embed="rId2">
            <a:duotone>
              <a:schemeClr val="accent6">
                <a:shade val="45000"/>
                <a:satMod val="135000"/>
              </a:schemeClr>
              <a:prstClr val="white"/>
            </a:duotone>
          </a:blip>
          <a:stretch>
            <a:fillRect/>
          </a:stretch>
        </p:blipFill>
        <p:spPr>
          <a:xfrm>
            <a:off x="2818484" y="2453259"/>
            <a:ext cx="629120" cy="576000"/>
          </a:xfrm>
          <a:prstGeom prst="rect">
            <a:avLst/>
          </a:prstGeom>
        </p:spPr>
      </p:pic>
    </p:spTree>
    <p:extLst>
      <p:ext uri="{BB962C8B-B14F-4D97-AF65-F5344CB8AC3E}">
        <p14:creationId xmlns:p14="http://schemas.microsoft.com/office/powerpoint/2010/main" val="2687545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F0A2D8-7623-4301-B998-023057049D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6" imgH="275" progId="TCLayout.ActiveDocument.1">
                  <p:embed/>
                </p:oleObj>
              </mc:Choice>
              <mc:Fallback>
                <p:oleObj name="think-cell Slide" r:id="rId3" imgW="276" imgH="275" progId="TCLayout.ActiveDocument.1">
                  <p:embed/>
                  <p:pic>
                    <p:nvPicPr>
                      <p:cNvPr id="2" name="Object 1" hidden="1">
                        <a:extLst>
                          <a:ext uri="{FF2B5EF4-FFF2-40B4-BE49-F238E27FC236}">
                            <a16:creationId xmlns:a16="http://schemas.microsoft.com/office/drawing/2014/main" id="{39F0A2D8-7623-4301-B998-023057049D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0" name="Oval 9">
            <a:extLst>
              <a:ext uri="{FF2B5EF4-FFF2-40B4-BE49-F238E27FC236}">
                <a16:creationId xmlns:a16="http://schemas.microsoft.com/office/drawing/2014/main" id="{B7081A4C-E33D-4EE6-A610-E99ADC656637}"/>
              </a:ext>
            </a:extLst>
          </p:cNvPr>
          <p:cNvSpPr/>
          <p:nvPr/>
        </p:nvSpPr>
        <p:spPr>
          <a:xfrm>
            <a:off x="1534882" y="2612309"/>
            <a:ext cx="759060" cy="759060"/>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180000" bIns="0" rtlCol="0" anchor="ctr">
            <a:noAutofit/>
          </a:bodyPr>
          <a:lstStyle>
            <a:defPPr>
              <a:defRPr lang="en-US"/>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3200" b="1" i="1" u="none" strike="noStrike" kern="1200" cap="none" spc="0" normalizeH="0" baseline="0" noProof="0" dirty="0">
                <a:ln>
                  <a:noFill/>
                </a:ln>
                <a:solidFill>
                  <a:srgbClr val="ED7D31">
                    <a:lumMod val="20000"/>
                    <a:lumOff val="80000"/>
                  </a:srgbClr>
                </a:solidFill>
                <a:effectLst/>
                <a:uLnTx/>
                <a:uFillTx/>
                <a:latin typeface="Franklin Gothic Medium" panose="020B0603020102020204"/>
                <a:ea typeface="+mn-ea"/>
                <a:cs typeface="+mn-cs"/>
              </a:rPr>
              <a:t> 1</a:t>
            </a:r>
          </a:p>
        </p:txBody>
      </p:sp>
      <p:sp>
        <p:nvSpPr>
          <p:cNvPr id="11" name="Oval 10">
            <a:extLst>
              <a:ext uri="{FF2B5EF4-FFF2-40B4-BE49-F238E27FC236}">
                <a16:creationId xmlns:a16="http://schemas.microsoft.com/office/drawing/2014/main" id="{58354646-C500-4736-96AB-C325A91573A1}"/>
              </a:ext>
            </a:extLst>
          </p:cNvPr>
          <p:cNvSpPr/>
          <p:nvPr/>
        </p:nvSpPr>
        <p:spPr>
          <a:xfrm>
            <a:off x="4195423" y="2612309"/>
            <a:ext cx="759060" cy="759060"/>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180000" bIns="0" rtlCol="0" anchor="ctr">
            <a:noAutofit/>
          </a:bodyPr>
          <a:lstStyle>
            <a:defPPr>
              <a:defRPr lang="en-US"/>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3200" b="1" i="1" u="none" strike="noStrike" kern="1200" cap="none" spc="0" normalizeH="0" baseline="0" noProof="0" dirty="0">
                <a:ln>
                  <a:noFill/>
                </a:ln>
                <a:solidFill>
                  <a:srgbClr val="ED7D31">
                    <a:lumMod val="20000"/>
                    <a:lumOff val="80000"/>
                  </a:srgbClr>
                </a:solidFill>
                <a:effectLst/>
                <a:uLnTx/>
                <a:uFillTx/>
                <a:latin typeface="Franklin Gothic Medium" panose="020B0603020102020204"/>
                <a:ea typeface="+mn-ea"/>
                <a:cs typeface="+mn-cs"/>
              </a:rPr>
              <a:t> 2</a:t>
            </a:r>
          </a:p>
        </p:txBody>
      </p:sp>
      <p:sp>
        <p:nvSpPr>
          <p:cNvPr id="12" name="Oval 11">
            <a:extLst>
              <a:ext uri="{FF2B5EF4-FFF2-40B4-BE49-F238E27FC236}">
                <a16:creationId xmlns:a16="http://schemas.microsoft.com/office/drawing/2014/main" id="{3768D88F-2DA2-4998-A841-B1D4C41805ED}"/>
              </a:ext>
            </a:extLst>
          </p:cNvPr>
          <p:cNvSpPr/>
          <p:nvPr/>
        </p:nvSpPr>
        <p:spPr>
          <a:xfrm>
            <a:off x="6856144" y="2612309"/>
            <a:ext cx="759060" cy="759060"/>
          </a:xfrm>
          <a:prstGeom prst="ellips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180000" bIns="0" rtlCol="0" anchor="ctr">
            <a:noAutofit/>
          </a:bodyPr>
          <a:lstStyle>
            <a:defPPr>
              <a:defRPr lang="en-US"/>
            </a:defPPr>
            <a:lvl1pPr marL="0" algn="l" defTabSz="1828800" rtl="0" eaLnBrk="1" latinLnBrk="0" hangingPunct="1">
              <a:defRPr sz="3600" kern="1200">
                <a:solidFill>
                  <a:schemeClr val="lt1"/>
                </a:solidFill>
                <a:latin typeface="+mn-lt"/>
                <a:ea typeface="+mn-ea"/>
                <a:cs typeface="+mn-cs"/>
              </a:defRPr>
            </a:lvl1pPr>
            <a:lvl2pPr marL="914400" algn="l" defTabSz="1828800" rtl="0" eaLnBrk="1" latinLnBrk="0" hangingPunct="1">
              <a:defRPr sz="3600" kern="1200">
                <a:solidFill>
                  <a:schemeClr val="lt1"/>
                </a:solidFill>
                <a:latin typeface="+mn-lt"/>
                <a:ea typeface="+mn-ea"/>
                <a:cs typeface="+mn-cs"/>
              </a:defRPr>
            </a:lvl2pPr>
            <a:lvl3pPr marL="1828800" algn="l" defTabSz="1828800" rtl="0" eaLnBrk="1" latinLnBrk="0" hangingPunct="1">
              <a:defRPr sz="3600" kern="1200">
                <a:solidFill>
                  <a:schemeClr val="lt1"/>
                </a:solidFill>
                <a:latin typeface="+mn-lt"/>
                <a:ea typeface="+mn-ea"/>
                <a:cs typeface="+mn-cs"/>
              </a:defRPr>
            </a:lvl3pPr>
            <a:lvl4pPr marL="2743200" algn="l" defTabSz="1828800" rtl="0" eaLnBrk="1" latinLnBrk="0" hangingPunct="1">
              <a:defRPr sz="3600" kern="1200">
                <a:solidFill>
                  <a:schemeClr val="lt1"/>
                </a:solidFill>
                <a:latin typeface="+mn-lt"/>
                <a:ea typeface="+mn-ea"/>
                <a:cs typeface="+mn-cs"/>
              </a:defRPr>
            </a:lvl4pPr>
            <a:lvl5pPr marL="3657600" algn="l" defTabSz="1828800" rtl="0" eaLnBrk="1" latinLnBrk="0" hangingPunct="1">
              <a:defRPr sz="3600" kern="1200">
                <a:solidFill>
                  <a:schemeClr val="lt1"/>
                </a:solidFill>
                <a:latin typeface="+mn-lt"/>
                <a:ea typeface="+mn-ea"/>
                <a:cs typeface="+mn-cs"/>
              </a:defRPr>
            </a:lvl5pPr>
            <a:lvl6pPr marL="4572000" algn="l" defTabSz="1828800" rtl="0" eaLnBrk="1" latinLnBrk="0" hangingPunct="1">
              <a:defRPr sz="3600" kern="1200">
                <a:solidFill>
                  <a:schemeClr val="lt1"/>
                </a:solidFill>
                <a:latin typeface="+mn-lt"/>
                <a:ea typeface="+mn-ea"/>
                <a:cs typeface="+mn-cs"/>
              </a:defRPr>
            </a:lvl6pPr>
            <a:lvl7pPr marL="5486400" algn="l" defTabSz="1828800" rtl="0" eaLnBrk="1" latinLnBrk="0" hangingPunct="1">
              <a:defRPr sz="3600" kern="1200">
                <a:solidFill>
                  <a:schemeClr val="lt1"/>
                </a:solidFill>
                <a:latin typeface="+mn-lt"/>
                <a:ea typeface="+mn-ea"/>
                <a:cs typeface="+mn-cs"/>
              </a:defRPr>
            </a:lvl7pPr>
            <a:lvl8pPr marL="6400800" algn="l" defTabSz="1828800" rtl="0" eaLnBrk="1" latinLnBrk="0" hangingPunct="1">
              <a:defRPr sz="3600" kern="1200">
                <a:solidFill>
                  <a:schemeClr val="lt1"/>
                </a:solidFill>
                <a:latin typeface="+mn-lt"/>
                <a:ea typeface="+mn-ea"/>
                <a:cs typeface="+mn-cs"/>
              </a:defRPr>
            </a:lvl8pPr>
            <a:lvl9pPr marL="7315200" algn="l" defTabSz="1828800" rtl="0" eaLnBrk="1" latinLnBrk="0" hangingPunct="1">
              <a:defRPr sz="3600" kern="1200">
                <a:solidFill>
                  <a:schemeClr val="lt1"/>
                </a:solidFill>
                <a:latin typeface="+mn-lt"/>
                <a:ea typeface="+mn-ea"/>
                <a:cs typeface="+mn-cs"/>
              </a:defRPr>
            </a:lvl9pP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3200" b="1" i="1" u="none" strike="noStrike" kern="1200" cap="none" spc="0" normalizeH="0" baseline="0" noProof="0" dirty="0">
                <a:ln>
                  <a:noFill/>
                </a:ln>
                <a:solidFill>
                  <a:srgbClr val="ED7D31">
                    <a:lumMod val="20000"/>
                    <a:lumOff val="80000"/>
                  </a:srgbClr>
                </a:solidFill>
                <a:effectLst/>
                <a:uLnTx/>
                <a:uFillTx/>
                <a:latin typeface="Franklin Gothic Medium" panose="020B0603020102020204"/>
                <a:ea typeface="+mn-ea"/>
                <a:cs typeface="+mn-cs"/>
              </a:rPr>
              <a:t> 3</a:t>
            </a:r>
          </a:p>
        </p:txBody>
      </p:sp>
      <p:sp>
        <p:nvSpPr>
          <p:cNvPr id="13" name="Content Placeholder 2">
            <a:extLst>
              <a:ext uri="{FF2B5EF4-FFF2-40B4-BE49-F238E27FC236}">
                <a16:creationId xmlns:a16="http://schemas.microsoft.com/office/drawing/2014/main" id="{7E4F304B-0873-48E5-96C5-B808FC16FC98}"/>
              </a:ext>
            </a:extLst>
          </p:cNvPr>
          <p:cNvSpPr txBox="1">
            <a:spLocks/>
          </p:cNvSpPr>
          <p:nvPr/>
        </p:nvSpPr>
        <p:spPr>
          <a:xfrm>
            <a:off x="702831" y="3176321"/>
            <a:ext cx="2422800" cy="1178438"/>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lstStyle>
            <a:defPPr>
              <a:defRPr lang="en-US"/>
            </a:defPPr>
            <a:lvl1pPr algn="ctr" defTabSz="914240">
              <a:defRPr sz="2100">
                <a:solidFill>
                  <a:srgbClr val="FFFFFF"/>
                </a:solidFill>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Understand the top </a:t>
            </a:r>
            <a:b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b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10 key questions to be addressed relating to </a:t>
            </a:r>
            <a:b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b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PLS of publications</a:t>
            </a:r>
          </a:p>
        </p:txBody>
      </p:sp>
      <p:sp>
        <p:nvSpPr>
          <p:cNvPr id="14" name="Content Placeholder 2">
            <a:extLst>
              <a:ext uri="{FF2B5EF4-FFF2-40B4-BE49-F238E27FC236}">
                <a16:creationId xmlns:a16="http://schemas.microsoft.com/office/drawing/2014/main" id="{93671550-AB91-4C01-B28C-41FB4B09B991}"/>
              </a:ext>
            </a:extLst>
          </p:cNvPr>
          <p:cNvSpPr txBox="1">
            <a:spLocks/>
          </p:cNvSpPr>
          <p:nvPr/>
        </p:nvSpPr>
        <p:spPr>
          <a:xfrm>
            <a:off x="3363553" y="3176321"/>
            <a:ext cx="2422800" cy="1178438"/>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lstStyle>
            <a:defPPr>
              <a:defRPr lang="en-US"/>
            </a:defPPr>
            <a:lvl1pPr algn="ctr" defTabSz="914240">
              <a:defRPr sz="2100">
                <a:solidFill>
                  <a:srgbClr val="FFFFFF"/>
                </a:solidFill>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Identify the opportunities for accelerating the uptake of PLS of publications, as identified by 6 key stakeholder groups </a:t>
            </a:r>
          </a:p>
        </p:txBody>
      </p:sp>
      <p:sp>
        <p:nvSpPr>
          <p:cNvPr id="15" name="Content Placeholder 2">
            <a:extLst>
              <a:ext uri="{FF2B5EF4-FFF2-40B4-BE49-F238E27FC236}">
                <a16:creationId xmlns:a16="http://schemas.microsoft.com/office/drawing/2014/main" id="{F626F5A7-5978-4179-B9C1-E7CEEFE9A652}"/>
              </a:ext>
            </a:extLst>
          </p:cNvPr>
          <p:cNvSpPr txBox="1">
            <a:spLocks/>
          </p:cNvSpPr>
          <p:nvPr/>
        </p:nvSpPr>
        <p:spPr>
          <a:xfrm>
            <a:off x="6024274" y="3176321"/>
            <a:ext cx="2422800" cy="1178438"/>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ctr"/>
          <a:lstStyle>
            <a:defPPr>
              <a:defRPr lang="en-US"/>
            </a:defPPr>
            <a:lvl1pPr algn="ctr" defTabSz="914240">
              <a:defRPr sz="2100">
                <a:solidFill>
                  <a:srgbClr val="FFFFFF"/>
                </a:solidFill>
                <a:latin typeface="Calibri"/>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1" indent="0" algn="ctr"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Consider how future </a:t>
            </a:r>
            <a:b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b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guidance about PLS </a:t>
            </a:r>
            <a:b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b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may be relevant to you and your organization</a:t>
            </a:r>
          </a:p>
        </p:txBody>
      </p:sp>
      <p:sp>
        <p:nvSpPr>
          <p:cNvPr id="18" name="TextBox 17">
            <a:extLst>
              <a:ext uri="{FF2B5EF4-FFF2-40B4-BE49-F238E27FC236}">
                <a16:creationId xmlns:a16="http://schemas.microsoft.com/office/drawing/2014/main" id="{A94B1379-742D-4A99-B921-D3C15DCA5A42}"/>
              </a:ext>
            </a:extLst>
          </p:cNvPr>
          <p:cNvSpPr txBox="1"/>
          <p:nvPr/>
        </p:nvSpPr>
        <p:spPr>
          <a:xfrm>
            <a:off x="-1" y="4756538"/>
            <a:ext cx="4572000" cy="276999"/>
          </a:xfrm>
          <a:prstGeom prst="rect">
            <a:avLst/>
          </a:prstGeom>
          <a:noFill/>
        </p:spPr>
        <p:txBody>
          <a:bodyPr wrap="square">
            <a:spAutoFit/>
          </a:bodyPr>
          <a:lstStyle>
            <a:defPPr>
              <a:defRPr lang="en-US"/>
            </a:defPPr>
            <a:lvl1pPr>
              <a:defRPr sz="1000"/>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rPr>
              <a:t>https://www.ismpp.org/complimentary-ismpp-u-webinars</a:t>
            </a:r>
          </a:p>
        </p:txBody>
      </p:sp>
      <p:grpSp>
        <p:nvGrpSpPr>
          <p:cNvPr id="46" name="Group 45">
            <a:extLst>
              <a:ext uri="{FF2B5EF4-FFF2-40B4-BE49-F238E27FC236}">
                <a16:creationId xmlns:a16="http://schemas.microsoft.com/office/drawing/2014/main" id="{C5197FA6-7332-4223-9C9A-9ECA8EFD380D}"/>
              </a:ext>
            </a:extLst>
          </p:cNvPr>
          <p:cNvGrpSpPr/>
          <p:nvPr/>
        </p:nvGrpSpPr>
        <p:grpSpPr>
          <a:xfrm>
            <a:off x="249703" y="653734"/>
            <a:ext cx="8295995" cy="907590"/>
            <a:chOff x="249703" y="653734"/>
            <a:chExt cx="8295995" cy="907590"/>
          </a:xfrm>
        </p:grpSpPr>
        <p:sp>
          <p:nvSpPr>
            <p:cNvPr id="47" name="TextBox 46">
              <a:extLst>
                <a:ext uri="{FF2B5EF4-FFF2-40B4-BE49-F238E27FC236}">
                  <a16:creationId xmlns:a16="http://schemas.microsoft.com/office/drawing/2014/main" id="{4337CF9F-4435-4B4D-B860-A484CF3A943B}"/>
                </a:ext>
              </a:extLst>
            </p:cNvPr>
            <p:cNvSpPr txBox="1"/>
            <p:nvPr/>
          </p:nvSpPr>
          <p:spPr>
            <a:xfrm>
              <a:off x="24970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48" name="Straight Connector 47">
              <a:extLst>
                <a:ext uri="{FF2B5EF4-FFF2-40B4-BE49-F238E27FC236}">
                  <a16:creationId xmlns:a16="http://schemas.microsoft.com/office/drawing/2014/main" id="{94F0D44E-B083-4BDF-986F-F0EE369A7E4A}"/>
                </a:ext>
              </a:extLst>
            </p:cNvPr>
            <p:cNvCxnSpPr>
              <a:cxnSpLocks/>
            </p:cNvCxnSpPr>
            <p:nvPr/>
          </p:nvCxnSpPr>
          <p:spPr>
            <a:xfrm>
              <a:off x="47408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6747DBBF-DEA8-4DA6-9D5A-69F786C47B4E}"/>
                </a:ext>
              </a:extLst>
            </p:cNvPr>
            <p:cNvCxnSpPr>
              <a:cxnSpLocks/>
            </p:cNvCxnSpPr>
            <p:nvPr/>
          </p:nvCxnSpPr>
          <p:spPr>
            <a:xfrm>
              <a:off x="832006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1FA9C835-0EF0-4E35-AD42-750EF9CB4170}"/>
                </a:ext>
              </a:extLst>
            </p:cNvPr>
            <p:cNvCxnSpPr>
              <a:cxnSpLocks/>
            </p:cNvCxnSpPr>
            <p:nvPr/>
          </p:nvCxnSpPr>
          <p:spPr>
            <a:xfrm>
              <a:off x="1127919"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14C55DE6-E432-488F-9874-CEC2034590A1}"/>
                </a:ext>
              </a:extLst>
            </p:cNvPr>
            <p:cNvCxnSpPr>
              <a:cxnSpLocks/>
            </p:cNvCxnSpPr>
            <p:nvPr/>
          </p:nvCxnSpPr>
          <p:spPr>
            <a:xfrm>
              <a:off x="178175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8C531EB8-737A-475F-9F1C-08DA9341A886}"/>
                </a:ext>
              </a:extLst>
            </p:cNvPr>
            <p:cNvCxnSpPr>
              <a:cxnSpLocks/>
            </p:cNvCxnSpPr>
            <p:nvPr/>
          </p:nvCxnSpPr>
          <p:spPr>
            <a:xfrm>
              <a:off x="2435581"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C804D1C1-829F-460D-9563-784D59F5B974}"/>
                </a:ext>
              </a:extLst>
            </p:cNvPr>
            <p:cNvCxnSpPr>
              <a:cxnSpLocks/>
            </p:cNvCxnSpPr>
            <p:nvPr/>
          </p:nvCxnSpPr>
          <p:spPr>
            <a:xfrm>
              <a:off x="3089412"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19A6B28E-6051-43AA-9EF7-9CE05D3457C3}"/>
                </a:ext>
              </a:extLst>
            </p:cNvPr>
            <p:cNvCxnSpPr>
              <a:cxnSpLocks/>
            </p:cNvCxnSpPr>
            <p:nvPr/>
          </p:nvCxnSpPr>
          <p:spPr>
            <a:xfrm>
              <a:off x="3743243"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7B206B7A-BC45-48D9-A2D7-23154E288EB0}"/>
                </a:ext>
              </a:extLst>
            </p:cNvPr>
            <p:cNvCxnSpPr>
              <a:cxnSpLocks/>
            </p:cNvCxnSpPr>
            <p:nvPr/>
          </p:nvCxnSpPr>
          <p:spPr>
            <a:xfrm>
              <a:off x="4397074"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51C51034-F570-4E54-A9FB-48A67DE0D164}"/>
                </a:ext>
              </a:extLst>
            </p:cNvPr>
            <p:cNvCxnSpPr>
              <a:cxnSpLocks/>
            </p:cNvCxnSpPr>
            <p:nvPr/>
          </p:nvCxnSpPr>
          <p:spPr>
            <a:xfrm>
              <a:off x="5050905"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8F353009-724B-4623-947B-A5DD530365CB}"/>
                </a:ext>
              </a:extLst>
            </p:cNvPr>
            <p:cNvCxnSpPr>
              <a:cxnSpLocks/>
            </p:cNvCxnSpPr>
            <p:nvPr/>
          </p:nvCxnSpPr>
          <p:spPr>
            <a:xfrm>
              <a:off x="5704736"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81572F0-9327-439E-8477-B9A49E88DB56}"/>
                </a:ext>
              </a:extLst>
            </p:cNvPr>
            <p:cNvCxnSpPr>
              <a:cxnSpLocks/>
            </p:cNvCxnSpPr>
            <p:nvPr/>
          </p:nvCxnSpPr>
          <p:spPr>
            <a:xfrm>
              <a:off x="6358567"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9B4DAE49-2DDE-48D6-BBEC-68F26BCCE05D}"/>
                </a:ext>
              </a:extLst>
            </p:cNvPr>
            <p:cNvCxnSpPr>
              <a:cxnSpLocks/>
            </p:cNvCxnSpPr>
            <p:nvPr/>
          </p:nvCxnSpPr>
          <p:spPr>
            <a:xfrm>
              <a:off x="701239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D766993-7F17-4E61-A855-26709553CB23}"/>
                </a:ext>
              </a:extLst>
            </p:cNvPr>
            <p:cNvCxnSpPr>
              <a:cxnSpLocks/>
            </p:cNvCxnSpPr>
            <p:nvPr/>
          </p:nvCxnSpPr>
          <p:spPr>
            <a:xfrm>
              <a:off x="7666229" y="1001373"/>
              <a:ext cx="0" cy="252249"/>
            </a:xfrm>
            <a:prstGeom prst="line">
              <a:avLst/>
            </a:prstGeom>
            <a:ln w="19050"/>
          </p:spPr>
          <p:style>
            <a:lnRef idx="1">
              <a:schemeClr val="dk1"/>
            </a:lnRef>
            <a:fillRef idx="0">
              <a:schemeClr val="dk1"/>
            </a:fillRef>
            <a:effectRef idx="0">
              <a:schemeClr val="dk1"/>
            </a:effectRef>
            <a:fontRef idx="minor">
              <a:schemeClr val="tx1"/>
            </a:fontRef>
          </p:style>
        </p:cxnSp>
        <p:sp>
          <p:nvSpPr>
            <p:cNvPr id="61" name="TextBox 60">
              <a:extLst>
                <a:ext uri="{FF2B5EF4-FFF2-40B4-BE49-F238E27FC236}">
                  <a16:creationId xmlns:a16="http://schemas.microsoft.com/office/drawing/2014/main" id="{5A545487-5507-4CFF-9DFC-EF6ED6715A4E}"/>
                </a:ext>
              </a:extLst>
            </p:cNvPr>
            <p:cNvSpPr txBox="1"/>
            <p:nvPr/>
          </p:nvSpPr>
          <p:spPr>
            <a:xfrm>
              <a:off x="514449" y="653734"/>
              <a:ext cx="582532"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1</a:t>
              </a:r>
            </a:p>
          </p:txBody>
        </p:sp>
        <p:sp>
          <p:nvSpPr>
            <p:cNvPr id="62" name="TextBox 61">
              <a:extLst>
                <a:ext uri="{FF2B5EF4-FFF2-40B4-BE49-F238E27FC236}">
                  <a16:creationId xmlns:a16="http://schemas.microsoft.com/office/drawing/2014/main" id="{27326092-B36C-4CEB-AD3B-DFC42CACE30F}"/>
                </a:ext>
              </a:extLst>
            </p:cNvPr>
            <p:cNvSpPr txBox="1"/>
            <p:nvPr/>
          </p:nvSpPr>
          <p:spPr>
            <a:xfrm>
              <a:off x="7685631" y="656093"/>
              <a:ext cx="588623"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2</a:t>
              </a:r>
            </a:p>
          </p:txBody>
        </p:sp>
        <p:sp>
          <p:nvSpPr>
            <p:cNvPr id="63" name="TextBox 62">
              <a:extLst>
                <a:ext uri="{FF2B5EF4-FFF2-40B4-BE49-F238E27FC236}">
                  <a16:creationId xmlns:a16="http://schemas.microsoft.com/office/drawing/2014/main" id="{8CA8F930-E99B-4005-A471-79CDEE5F049A}"/>
                </a:ext>
              </a:extLst>
            </p:cNvPr>
            <p:cNvSpPr txBox="1"/>
            <p:nvPr/>
          </p:nvSpPr>
          <p:spPr>
            <a:xfrm>
              <a:off x="90323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r</a:t>
              </a:r>
            </a:p>
          </p:txBody>
        </p:sp>
        <p:sp>
          <p:nvSpPr>
            <p:cNvPr id="64" name="TextBox 63">
              <a:extLst>
                <a:ext uri="{FF2B5EF4-FFF2-40B4-BE49-F238E27FC236}">
                  <a16:creationId xmlns:a16="http://schemas.microsoft.com/office/drawing/2014/main" id="{1F2948B8-30AC-472E-A4FE-B572076109EC}"/>
                </a:ext>
              </a:extLst>
            </p:cNvPr>
            <p:cNvSpPr txBox="1"/>
            <p:nvPr/>
          </p:nvSpPr>
          <p:spPr>
            <a:xfrm>
              <a:off x="1556769"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pr</a:t>
              </a:r>
            </a:p>
          </p:txBody>
        </p:sp>
        <p:sp>
          <p:nvSpPr>
            <p:cNvPr id="65" name="TextBox 64">
              <a:extLst>
                <a:ext uri="{FF2B5EF4-FFF2-40B4-BE49-F238E27FC236}">
                  <a16:creationId xmlns:a16="http://schemas.microsoft.com/office/drawing/2014/main" id="{F1A8D6FE-1DAC-48BF-9B49-29ED3AF5BC16}"/>
                </a:ext>
              </a:extLst>
            </p:cNvPr>
            <p:cNvSpPr txBox="1"/>
            <p:nvPr/>
          </p:nvSpPr>
          <p:spPr>
            <a:xfrm>
              <a:off x="2210302"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y</a:t>
              </a:r>
            </a:p>
          </p:txBody>
        </p:sp>
        <p:sp>
          <p:nvSpPr>
            <p:cNvPr id="66" name="TextBox 65">
              <a:extLst>
                <a:ext uri="{FF2B5EF4-FFF2-40B4-BE49-F238E27FC236}">
                  <a16:creationId xmlns:a16="http://schemas.microsoft.com/office/drawing/2014/main" id="{0261D4F8-0959-4BAC-8C23-3F1B41550BF2}"/>
                </a:ext>
              </a:extLst>
            </p:cNvPr>
            <p:cNvSpPr txBox="1"/>
            <p:nvPr/>
          </p:nvSpPr>
          <p:spPr>
            <a:xfrm>
              <a:off x="2863835"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n</a:t>
              </a:r>
            </a:p>
          </p:txBody>
        </p:sp>
        <p:sp>
          <p:nvSpPr>
            <p:cNvPr id="67" name="TextBox 66">
              <a:extLst>
                <a:ext uri="{FF2B5EF4-FFF2-40B4-BE49-F238E27FC236}">
                  <a16:creationId xmlns:a16="http://schemas.microsoft.com/office/drawing/2014/main" id="{3E285AF2-B990-4E98-8977-A9A854B918B4}"/>
                </a:ext>
              </a:extLst>
            </p:cNvPr>
            <p:cNvSpPr txBox="1"/>
            <p:nvPr/>
          </p:nvSpPr>
          <p:spPr>
            <a:xfrm>
              <a:off x="351736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l</a:t>
              </a:r>
            </a:p>
          </p:txBody>
        </p:sp>
        <p:sp>
          <p:nvSpPr>
            <p:cNvPr id="68" name="TextBox 67">
              <a:extLst>
                <a:ext uri="{FF2B5EF4-FFF2-40B4-BE49-F238E27FC236}">
                  <a16:creationId xmlns:a16="http://schemas.microsoft.com/office/drawing/2014/main" id="{A0E85BBF-EC4A-46C9-A739-32D69117B2BD}"/>
                </a:ext>
              </a:extLst>
            </p:cNvPr>
            <p:cNvSpPr txBox="1"/>
            <p:nvPr/>
          </p:nvSpPr>
          <p:spPr>
            <a:xfrm>
              <a:off x="4170901"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ug</a:t>
              </a:r>
            </a:p>
          </p:txBody>
        </p:sp>
        <p:sp>
          <p:nvSpPr>
            <p:cNvPr id="69" name="TextBox 68">
              <a:extLst>
                <a:ext uri="{FF2B5EF4-FFF2-40B4-BE49-F238E27FC236}">
                  <a16:creationId xmlns:a16="http://schemas.microsoft.com/office/drawing/2014/main" id="{3B310B09-EBBD-438D-8F56-A46890F969DC}"/>
                </a:ext>
              </a:extLst>
            </p:cNvPr>
            <p:cNvSpPr txBox="1"/>
            <p:nvPr/>
          </p:nvSpPr>
          <p:spPr>
            <a:xfrm>
              <a:off x="4824434"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Sep</a:t>
              </a:r>
            </a:p>
          </p:txBody>
        </p:sp>
        <p:sp>
          <p:nvSpPr>
            <p:cNvPr id="70" name="TextBox 69">
              <a:extLst>
                <a:ext uri="{FF2B5EF4-FFF2-40B4-BE49-F238E27FC236}">
                  <a16:creationId xmlns:a16="http://schemas.microsoft.com/office/drawing/2014/main" id="{2669A396-4F15-40FF-BA8E-0967A5608500}"/>
                </a:ext>
              </a:extLst>
            </p:cNvPr>
            <p:cNvSpPr txBox="1"/>
            <p:nvPr/>
          </p:nvSpPr>
          <p:spPr>
            <a:xfrm>
              <a:off x="5477967"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Oct</a:t>
              </a:r>
            </a:p>
          </p:txBody>
        </p:sp>
        <p:sp>
          <p:nvSpPr>
            <p:cNvPr id="71" name="TextBox 70">
              <a:extLst>
                <a:ext uri="{FF2B5EF4-FFF2-40B4-BE49-F238E27FC236}">
                  <a16:creationId xmlns:a16="http://schemas.microsoft.com/office/drawing/2014/main" id="{40A92C0D-90BC-400C-A0CE-30F5BC494340}"/>
                </a:ext>
              </a:extLst>
            </p:cNvPr>
            <p:cNvSpPr txBox="1"/>
            <p:nvPr/>
          </p:nvSpPr>
          <p:spPr>
            <a:xfrm>
              <a:off x="6131500"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Nov</a:t>
              </a:r>
            </a:p>
          </p:txBody>
        </p:sp>
        <p:sp>
          <p:nvSpPr>
            <p:cNvPr id="72" name="TextBox 71">
              <a:extLst>
                <a:ext uri="{FF2B5EF4-FFF2-40B4-BE49-F238E27FC236}">
                  <a16:creationId xmlns:a16="http://schemas.microsoft.com/office/drawing/2014/main" id="{B53C2CBB-3C21-4D6B-BCA4-76C8D9B462DF}"/>
                </a:ext>
              </a:extLst>
            </p:cNvPr>
            <p:cNvSpPr txBox="1"/>
            <p:nvPr/>
          </p:nvSpPr>
          <p:spPr>
            <a:xfrm>
              <a:off x="678503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Dec</a:t>
              </a:r>
            </a:p>
          </p:txBody>
        </p:sp>
        <p:sp>
          <p:nvSpPr>
            <p:cNvPr id="73" name="TextBox 72">
              <a:extLst>
                <a:ext uri="{FF2B5EF4-FFF2-40B4-BE49-F238E27FC236}">
                  <a16:creationId xmlns:a16="http://schemas.microsoft.com/office/drawing/2014/main" id="{8F42F38B-3058-4348-8CC1-6A5BA052A068}"/>
                </a:ext>
              </a:extLst>
            </p:cNvPr>
            <p:cNvSpPr txBox="1"/>
            <p:nvPr/>
          </p:nvSpPr>
          <p:spPr>
            <a:xfrm>
              <a:off x="743856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an</a:t>
              </a:r>
            </a:p>
          </p:txBody>
        </p:sp>
        <p:sp>
          <p:nvSpPr>
            <p:cNvPr id="74" name="TextBox 73">
              <a:extLst>
                <a:ext uri="{FF2B5EF4-FFF2-40B4-BE49-F238E27FC236}">
                  <a16:creationId xmlns:a16="http://schemas.microsoft.com/office/drawing/2014/main" id="{ED8C9F97-2DF4-4F64-BDE1-4A15A31C6CC8}"/>
                </a:ext>
              </a:extLst>
            </p:cNvPr>
            <p:cNvSpPr txBox="1"/>
            <p:nvPr/>
          </p:nvSpPr>
          <p:spPr>
            <a:xfrm>
              <a:off x="809209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75" name="Straight Connector 74">
              <a:extLst>
                <a:ext uri="{FF2B5EF4-FFF2-40B4-BE49-F238E27FC236}">
                  <a16:creationId xmlns:a16="http://schemas.microsoft.com/office/drawing/2014/main" id="{0EB033D6-1D5D-4333-882F-63D52A306E2F}"/>
                </a:ext>
              </a:extLst>
            </p:cNvPr>
            <p:cNvCxnSpPr>
              <a:cxnSpLocks/>
            </p:cNvCxnSpPr>
            <p:nvPr/>
          </p:nvCxnSpPr>
          <p:spPr>
            <a:xfrm>
              <a:off x="7666229" y="756744"/>
              <a:ext cx="0" cy="252249"/>
            </a:xfrm>
            <a:prstGeom prst="line">
              <a:avLst/>
            </a:prstGeom>
            <a:ln w="19050"/>
          </p:spPr>
          <p:style>
            <a:lnRef idx="1">
              <a:schemeClr val="dk1"/>
            </a:lnRef>
            <a:fillRef idx="0">
              <a:schemeClr val="dk1"/>
            </a:fillRef>
            <a:effectRef idx="0">
              <a:schemeClr val="dk1"/>
            </a:effectRef>
            <a:fontRef idx="minor">
              <a:schemeClr val="tx1"/>
            </a:fontRef>
          </p:style>
        </p:cxnSp>
      </p:grpSp>
      <p:sp>
        <p:nvSpPr>
          <p:cNvPr id="4" name="TextBox 3">
            <a:extLst>
              <a:ext uri="{FF2B5EF4-FFF2-40B4-BE49-F238E27FC236}">
                <a16:creationId xmlns:a16="http://schemas.microsoft.com/office/drawing/2014/main" id="{AABBF272-8AC4-4BEB-96A0-B30E5A847A27}"/>
              </a:ext>
            </a:extLst>
          </p:cNvPr>
          <p:cNvSpPr txBox="1"/>
          <p:nvPr/>
        </p:nvSpPr>
        <p:spPr>
          <a:xfrm>
            <a:off x="249704" y="1586605"/>
            <a:ext cx="8218041" cy="903700"/>
          </a:xfrm>
          <a:prstGeom prst="rect">
            <a:avLst/>
          </a:prstGeom>
          <a:solidFill>
            <a:schemeClr val="bg1"/>
          </a:solidFill>
          <a:ln>
            <a:noFill/>
          </a:ln>
          <a:effectLst>
            <a:outerShdw blurRad="50800" dist="38100" dir="2700000" algn="tl" rotWithShape="0">
              <a:prstClr val="black">
                <a:alpha val="40000"/>
              </a:prstClr>
            </a:outerShdw>
          </a:effectLst>
        </p:spPr>
        <p:txBody>
          <a:bodyPr wrap="square" tIns="36000" bIns="3600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70AD47"/>
                </a:solidFill>
                <a:effectLst/>
                <a:uLnTx/>
                <a:uFillTx/>
                <a:latin typeface="Franklin Gothic Book" panose="020B0503020102020204"/>
                <a:ea typeface="+mn-ea"/>
                <a:cs typeface="+mn-cs"/>
              </a:rPr>
              <a:t>Complimentary ISMPP U Webinar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472C4"/>
                </a:solidFill>
                <a:effectLst/>
                <a:uLnTx/>
                <a:uFillTx/>
                <a:latin typeface="Franklin Gothic Book" panose="020B0503020102020204"/>
                <a:ea typeface="+mn-ea"/>
                <a:cs typeface="+mn-cs"/>
              </a:rPr>
              <a:t>Plain Language Summaries (PLS) of Publications: Perspectives that will shape the future</a:t>
            </a:r>
          </a:p>
        </p:txBody>
      </p:sp>
      <p:sp>
        <p:nvSpPr>
          <p:cNvPr id="17" name="TextBox 16">
            <a:extLst>
              <a:ext uri="{FF2B5EF4-FFF2-40B4-BE49-F238E27FC236}">
                <a16:creationId xmlns:a16="http://schemas.microsoft.com/office/drawing/2014/main" id="{950A5CBE-2B06-41F3-923B-69B8DC40C08D}"/>
              </a:ext>
            </a:extLst>
          </p:cNvPr>
          <p:cNvSpPr txBox="1"/>
          <p:nvPr/>
        </p:nvSpPr>
        <p:spPr>
          <a:xfrm>
            <a:off x="249704" y="1261242"/>
            <a:ext cx="452111" cy="300082"/>
          </a:xfrm>
          <a:prstGeom prst="rect">
            <a:avLst/>
          </a:prstGeom>
          <a:solidFill>
            <a:schemeClr val="accent2"/>
          </a:solid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white"/>
                </a:solidFill>
                <a:effectLst/>
                <a:uLnTx/>
                <a:uFillTx/>
                <a:latin typeface="Franklin Gothic Book" panose="020B0503020102020204"/>
                <a:ea typeface="+mn-ea"/>
                <a:cs typeface="+mn-cs"/>
              </a:rPr>
              <a:t>Feb</a:t>
            </a:r>
          </a:p>
        </p:txBody>
      </p:sp>
    </p:spTree>
    <p:extLst>
      <p:ext uri="{BB962C8B-B14F-4D97-AF65-F5344CB8AC3E}">
        <p14:creationId xmlns:p14="http://schemas.microsoft.com/office/powerpoint/2010/main" val="15607935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93C3E0F-68B6-44E2-BDDC-3BD80AB90F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6" imgH="275" progId="TCLayout.ActiveDocument.1">
                  <p:embed/>
                </p:oleObj>
              </mc:Choice>
              <mc:Fallback>
                <p:oleObj name="think-cell Slide" r:id="rId3" imgW="276" imgH="275" progId="TCLayout.ActiveDocument.1">
                  <p:embed/>
                  <p:pic>
                    <p:nvPicPr>
                      <p:cNvPr id="6" name="Object 5" hidden="1">
                        <a:extLst>
                          <a:ext uri="{FF2B5EF4-FFF2-40B4-BE49-F238E27FC236}">
                            <a16:creationId xmlns:a16="http://schemas.microsoft.com/office/drawing/2014/main" id="{293C3E0F-68B6-44E2-BDDC-3BD80AB90F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4" name="Group 43">
            <a:extLst>
              <a:ext uri="{FF2B5EF4-FFF2-40B4-BE49-F238E27FC236}">
                <a16:creationId xmlns:a16="http://schemas.microsoft.com/office/drawing/2014/main" id="{735E718C-BFCF-4E29-9869-17545955C386}"/>
              </a:ext>
            </a:extLst>
          </p:cNvPr>
          <p:cNvGrpSpPr/>
          <p:nvPr/>
        </p:nvGrpSpPr>
        <p:grpSpPr>
          <a:xfrm>
            <a:off x="249703" y="653734"/>
            <a:ext cx="8295995" cy="907590"/>
            <a:chOff x="249703" y="653734"/>
            <a:chExt cx="8295995" cy="907590"/>
          </a:xfrm>
        </p:grpSpPr>
        <p:sp>
          <p:nvSpPr>
            <p:cNvPr id="45" name="TextBox 44">
              <a:extLst>
                <a:ext uri="{FF2B5EF4-FFF2-40B4-BE49-F238E27FC236}">
                  <a16:creationId xmlns:a16="http://schemas.microsoft.com/office/drawing/2014/main" id="{C9E81B74-EFED-4487-81CA-3E780460BE68}"/>
                </a:ext>
              </a:extLst>
            </p:cNvPr>
            <p:cNvSpPr txBox="1"/>
            <p:nvPr/>
          </p:nvSpPr>
          <p:spPr>
            <a:xfrm>
              <a:off x="24970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46" name="Straight Connector 45">
              <a:extLst>
                <a:ext uri="{FF2B5EF4-FFF2-40B4-BE49-F238E27FC236}">
                  <a16:creationId xmlns:a16="http://schemas.microsoft.com/office/drawing/2014/main" id="{243C8BAB-B92E-4098-8C88-40EBA345D1E1}"/>
                </a:ext>
              </a:extLst>
            </p:cNvPr>
            <p:cNvCxnSpPr>
              <a:cxnSpLocks/>
            </p:cNvCxnSpPr>
            <p:nvPr/>
          </p:nvCxnSpPr>
          <p:spPr>
            <a:xfrm>
              <a:off x="47408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8121AA20-9945-4CA7-AFA8-333A724743EB}"/>
                </a:ext>
              </a:extLst>
            </p:cNvPr>
            <p:cNvCxnSpPr>
              <a:cxnSpLocks/>
            </p:cNvCxnSpPr>
            <p:nvPr/>
          </p:nvCxnSpPr>
          <p:spPr>
            <a:xfrm>
              <a:off x="832006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6C9A0151-DFF1-451C-9E7D-94D3ED77142E}"/>
                </a:ext>
              </a:extLst>
            </p:cNvPr>
            <p:cNvCxnSpPr>
              <a:cxnSpLocks/>
            </p:cNvCxnSpPr>
            <p:nvPr/>
          </p:nvCxnSpPr>
          <p:spPr>
            <a:xfrm>
              <a:off x="1127919"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0C7A5394-475A-4B47-8A56-53056E1B0C81}"/>
                </a:ext>
              </a:extLst>
            </p:cNvPr>
            <p:cNvCxnSpPr>
              <a:cxnSpLocks/>
            </p:cNvCxnSpPr>
            <p:nvPr/>
          </p:nvCxnSpPr>
          <p:spPr>
            <a:xfrm>
              <a:off x="178175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16A642FB-7632-41CD-B439-308B186F70C8}"/>
                </a:ext>
              </a:extLst>
            </p:cNvPr>
            <p:cNvCxnSpPr>
              <a:cxnSpLocks/>
            </p:cNvCxnSpPr>
            <p:nvPr/>
          </p:nvCxnSpPr>
          <p:spPr>
            <a:xfrm>
              <a:off x="2435581"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55B609A3-3CCD-45FB-8EAE-A1E91E5FF99D}"/>
                </a:ext>
              </a:extLst>
            </p:cNvPr>
            <p:cNvCxnSpPr>
              <a:cxnSpLocks/>
            </p:cNvCxnSpPr>
            <p:nvPr/>
          </p:nvCxnSpPr>
          <p:spPr>
            <a:xfrm>
              <a:off x="3089412"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C3820E47-ED6D-4F60-879D-1F73134B8A42}"/>
                </a:ext>
              </a:extLst>
            </p:cNvPr>
            <p:cNvCxnSpPr>
              <a:cxnSpLocks/>
            </p:cNvCxnSpPr>
            <p:nvPr/>
          </p:nvCxnSpPr>
          <p:spPr>
            <a:xfrm>
              <a:off x="3743243"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5C19EE83-F676-4CE6-867A-9995640D2C2E}"/>
                </a:ext>
              </a:extLst>
            </p:cNvPr>
            <p:cNvCxnSpPr>
              <a:cxnSpLocks/>
            </p:cNvCxnSpPr>
            <p:nvPr/>
          </p:nvCxnSpPr>
          <p:spPr>
            <a:xfrm>
              <a:off x="4397074"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6DCF4E75-63E5-4C5E-9069-F5AF9776A468}"/>
                </a:ext>
              </a:extLst>
            </p:cNvPr>
            <p:cNvCxnSpPr>
              <a:cxnSpLocks/>
            </p:cNvCxnSpPr>
            <p:nvPr/>
          </p:nvCxnSpPr>
          <p:spPr>
            <a:xfrm>
              <a:off x="5050905"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84EFFF5C-A8B1-4B60-B0DC-3A7736A17433}"/>
                </a:ext>
              </a:extLst>
            </p:cNvPr>
            <p:cNvCxnSpPr>
              <a:cxnSpLocks/>
            </p:cNvCxnSpPr>
            <p:nvPr/>
          </p:nvCxnSpPr>
          <p:spPr>
            <a:xfrm>
              <a:off x="5704736"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027CAE54-6C4B-43DE-B099-AA16F89B7C72}"/>
                </a:ext>
              </a:extLst>
            </p:cNvPr>
            <p:cNvCxnSpPr>
              <a:cxnSpLocks/>
            </p:cNvCxnSpPr>
            <p:nvPr/>
          </p:nvCxnSpPr>
          <p:spPr>
            <a:xfrm>
              <a:off x="6358567"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5557A64-ED0E-4C3F-B393-31ACA079643F}"/>
                </a:ext>
              </a:extLst>
            </p:cNvPr>
            <p:cNvCxnSpPr>
              <a:cxnSpLocks/>
            </p:cNvCxnSpPr>
            <p:nvPr/>
          </p:nvCxnSpPr>
          <p:spPr>
            <a:xfrm>
              <a:off x="701239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620D3CDC-6410-42C8-A414-31F957CCF357}"/>
                </a:ext>
              </a:extLst>
            </p:cNvPr>
            <p:cNvCxnSpPr>
              <a:cxnSpLocks/>
            </p:cNvCxnSpPr>
            <p:nvPr/>
          </p:nvCxnSpPr>
          <p:spPr>
            <a:xfrm>
              <a:off x="7666229" y="1001373"/>
              <a:ext cx="0" cy="252249"/>
            </a:xfrm>
            <a:prstGeom prst="line">
              <a:avLst/>
            </a:prstGeom>
            <a:ln w="19050"/>
          </p:spPr>
          <p:style>
            <a:lnRef idx="1">
              <a:schemeClr val="dk1"/>
            </a:lnRef>
            <a:fillRef idx="0">
              <a:schemeClr val="dk1"/>
            </a:fillRef>
            <a:effectRef idx="0">
              <a:schemeClr val="dk1"/>
            </a:effectRef>
            <a:fontRef idx="minor">
              <a:schemeClr val="tx1"/>
            </a:fontRef>
          </p:style>
        </p:cxnSp>
        <p:sp>
          <p:nvSpPr>
            <p:cNvPr id="59" name="TextBox 58">
              <a:extLst>
                <a:ext uri="{FF2B5EF4-FFF2-40B4-BE49-F238E27FC236}">
                  <a16:creationId xmlns:a16="http://schemas.microsoft.com/office/drawing/2014/main" id="{715359DE-D372-4D99-8D42-0B85254A9FB6}"/>
                </a:ext>
              </a:extLst>
            </p:cNvPr>
            <p:cNvSpPr txBox="1"/>
            <p:nvPr/>
          </p:nvSpPr>
          <p:spPr>
            <a:xfrm>
              <a:off x="514449" y="653734"/>
              <a:ext cx="582532"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1</a:t>
              </a:r>
            </a:p>
          </p:txBody>
        </p:sp>
        <p:sp>
          <p:nvSpPr>
            <p:cNvPr id="60" name="TextBox 59">
              <a:extLst>
                <a:ext uri="{FF2B5EF4-FFF2-40B4-BE49-F238E27FC236}">
                  <a16:creationId xmlns:a16="http://schemas.microsoft.com/office/drawing/2014/main" id="{CD3EF8E0-B21B-4563-A2FD-643E0B3D222E}"/>
                </a:ext>
              </a:extLst>
            </p:cNvPr>
            <p:cNvSpPr txBox="1"/>
            <p:nvPr/>
          </p:nvSpPr>
          <p:spPr>
            <a:xfrm>
              <a:off x="7685631" y="656093"/>
              <a:ext cx="588623"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2</a:t>
              </a:r>
            </a:p>
          </p:txBody>
        </p:sp>
        <p:sp>
          <p:nvSpPr>
            <p:cNvPr id="61" name="TextBox 60">
              <a:extLst>
                <a:ext uri="{FF2B5EF4-FFF2-40B4-BE49-F238E27FC236}">
                  <a16:creationId xmlns:a16="http://schemas.microsoft.com/office/drawing/2014/main" id="{4E7CCA5F-D1E5-4238-A82F-588758E34DDF}"/>
                </a:ext>
              </a:extLst>
            </p:cNvPr>
            <p:cNvSpPr txBox="1"/>
            <p:nvPr/>
          </p:nvSpPr>
          <p:spPr>
            <a:xfrm>
              <a:off x="90323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r</a:t>
              </a:r>
            </a:p>
          </p:txBody>
        </p:sp>
        <p:sp>
          <p:nvSpPr>
            <p:cNvPr id="62" name="TextBox 61">
              <a:extLst>
                <a:ext uri="{FF2B5EF4-FFF2-40B4-BE49-F238E27FC236}">
                  <a16:creationId xmlns:a16="http://schemas.microsoft.com/office/drawing/2014/main" id="{609CBF5A-E5FD-4FA4-84B9-AD406426D20D}"/>
                </a:ext>
              </a:extLst>
            </p:cNvPr>
            <p:cNvSpPr txBox="1"/>
            <p:nvPr/>
          </p:nvSpPr>
          <p:spPr>
            <a:xfrm>
              <a:off x="1556769"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pr</a:t>
              </a:r>
            </a:p>
          </p:txBody>
        </p:sp>
        <p:sp>
          <p:nvSpPr>
            <p:cNvPr id="63" name="TextBox 62">
              <a:extLst>
                <a:ext uri="{FF2B5EF4-FFF2-40B4-BE49-F238E27FC236}">
                  <a16:creationId xmlns:a16="http://schemas.microsoft.com/office/drawing/2014/main" id="{D9DAB0CE-5547-4536-974B-2DAC09E431E6}"/>
                </a:ext>
              </a:extLst>
            </p:cNvPr>
            <p:cNvSpPr txBox="1"/>
            <p:nvPr/>
          </p:nvSpPr>
          <p:spPr>
            <a:xfrm>
              <a:off x="2210302"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y</a:t>
              </a:r>
            </a:p>
          </p:txBody>
        </p:sp>
        <p:sp>
          <p:nvSpPr>
            <p:cNvPr id="64" name="TextBox 63">
              <a:extLst>
                <a:ext uri="{FF2B5EF4-FFF2-40B4-BE49-F238E27FC236}">
                  <a16:creationId xmlns:a16="http://schemas.microsoft.com/office/drawing/2014/main" id="{36829D14-FE74-4EFB-B8F7-C8475F0E99C2}"/>
                </a:ext>
              </a:extLst>
            </p:cNvPr>
            <p:cNvSpPr txBox="1"/>
            <p:nvPr/>
          </p:nvSpPr>
          <p:spPr>
            <a:xfrm>
              <a:off x="2863835"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n</a:t>
              </a:r>
            </a:p>
          </p:txBody>
        </p:sp>
        <p:sp>
          <p:nvSpPr>
            <p:cNvPr id="65" name="TextBox 64">
              <a:extLst>
                <a:ext uri="{FF2B5EF4-FFF2-40B4-BE49-F238E27FC236}">
                  <a16:creationId xmlns:a16="http://schemas.microsoft.com/office/drawing/2014/main" id="{CACEF871-9A88-43D0-844E-45875A4E3214}"/>
                </a:ext>
              </a:extLst>
            </p:cNvPr>
            <p:cNvSpPr txBox="1"/>
            <p:nvPr/>
          </p:nvSpPr>
          <p:spPr>
            <a:xfrm>
              <a:off x="351736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l</a:t>
              </a:r>
            </a:p>
          </p:txBody>
        </p:sp>
        <p:sp>
          <p:nvSpPr>
            <p:cNvPr id="66" name="TextBox 65">
              <a:extLst>
                <a:ext uri="{FF2B5EF4-FFF2-40B4-BE49-F238E27FC236}">
                  <a16:creationId xmlns:a16="http://schemas.microsoft.com/office/drawing/2014/main" id="{D236E609-A3B6-4C4F-8EE6-F23CCDC83197}"/>
                </a:ext>
              </a:extLst>
            </p:cNvPr>
            <p:cNvSpPr txBox="1"/>
            <p:nvPr/>
          </p:nvSpPr>
          <p:spPr>
            <a:xfrm>
              <a:off x="4170901"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ug</a:t>
              </a:r>
            </a:p>
          </p:txBody>
        </p:sp>
        <p:sp>
          <p:nvSpPr>
            <p:cNvPr id="67" name="TextBox 66">
              <a:extLst>
                <a:ext uri="{FF2B5EF4-FFF2-40B4-BE49-F238E27FC236}">
                  <a16:creationId xmlns:a16="http://schemas.microsoft.com/office/drawing/2014/main" id="{45A75C19-CB5F-4776-8034-91C84D25DBC8}"/>
                </a:ext>
              </a:extLst>
            </p:cNvPr>
            <p:cNvSpPr txBox="1"/>
            <p:nvPr/>
          </p:nvSpPr>
          <p:spPr>
            <a:xfrm>
              <a:off x="4824434"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Sep</a:t>
              </a:r>
            </a:p>
          </p:txBody>
        </p:sp>
        <p:sp>
          <p:nvSpPr>
            <p:cNvPr id="68" name="TextBox 67">
              <a:extLst>
                <a:ext uri="{FF2B5EF4-FFF2-40B4-BE49-F238E27FC236}">
                  <a16:creationId xmlns:a16="http://schemas.microsoft.com/office/drawing/2014/main" id="{E1E1D8FA-8F33-4EFC-A164-BA2E96C825F1}"/>
                </a:ext>
              </a:extLst>
            </p:cNvPr>
            <p:cNvSpPr txBox="1"/>
            <p:nvPr/>
          </p:nvSpPr>
          <p:spPr>
            <a:xfrm>
              <a:off x="5477967"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Oct</a:t>
              </a:r>
            </a:p>
          </p:txBody>
        </p:sp>
        <p:sp>
          <p:nvSpPr>
            <p:cNvPr id="69" name="TextBox 68">
              <a:extLst>
                <a:ext uri="{FF2B5EF4-FFF2-40B4-BE49-F238E27FC236}">
                  <a16:creationId xmlns:a16="http://schemas.microsoft.com/office/drawing/2014/main" id="{1A871782-384A-4614-9CF0-6BDD115BA08A}"/>
                </a:ext>
              </a:extLst>
            </p:cNvPr>
            <p:cNvSpPr txBox="1"/>
            <p:nvPr/>
          </p:nvSpPr>
          <p:spPr>
            <a:xfrm>
              <a:off x="6131500"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Nov</a:t>
              </a:r>
            </a:p>
          </p:txBody>
        </p:sp>
        <p:sp>
          <p:nvSpPr>
            <p:cNvPr id="70" name="TextBox 69">
              <a:extLst>
                <a:ext uri="{FF2B5EF4-FFF2-40B4-BE49-F238E27FC236}">
                  <a16:creationId xmlns:a16="http://schemas.microsoft.com/office/drawing/2014/main" id="{4EF2D775-E917-45CF-BD2C-7BCBE6FAB00C}"/>
                </a:ext>
              </a:extLst>
            </p:cNvPr>
            <p:cNvSpPr txBox="1"/>
            <p:nvPr/>
          </p:nvSpPr>
          <p:spPr>
            <a:xfrm>
              <a:off x="678503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Dec</a:t>
              </a:r>
            </a:p>
          </p:txBody>
        </p:sp>
        <p:sp>
          <p:nvSpPr>
            <p:cNvPr id="71" name="TextBox 70">
              <a:extLst>
                <a:ext uri="{FF2B5EF4-FFF2-40B4-BE49-F238E27FC236}">
                  <a16:creationId xmlns:a16="http://schemas.microsoft.com/office/drawing/2014/main" id="{51380970-C866-4408-936A-E98D3D71DF42}"/>
                </a:ext>
              </a:extLst>
            </p:cNvPr>
            <p:cNvSpPr txBox="1"/>
            <p:nvPr/>
          </p:nvSpPr>
          <p:spPr>
            <a:xfrm>
              <a:off x="743856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an</a:t>
              </a:r>
            </a:p>
          </p:txBody>
        </p:sp>
        <p:sp>
          <p:nvSpPr>
            <p:cNvPr id="72" name="TextBox 71">
              <a:extLst>
                <a:ext uri="{FF2B5EF4-FFF2-40B4-BE49-F238E27FC236}">
                  <a16:creationId xmlns:a16="http://schemas.microsoft.com/office/drawing/2014/main" id="{1405CAB9-A540-4171-8381-0B9206DDC405}"/>
                </a:ext>
              </a:extLst>
            </p:cNvPr>
            <p:cNvSpPr txBox="1"/>
            <p:nvPr/>
          </p:nvSpPr>
          <p:spPr>
            <a:xfrm>
              <a:off x="809209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73" name="Straight Connector 72">
              <a:extLst>
                <a:ext uri="{FF2B5EF4-FFF2-40B4-BE49-F238E27FC236}">
                  <a16:creationId xmlns:a16="http://schemas.microsoft.com/office/drawing/2014/main" id="{3C6DE033-9590-4253-A026-9355290A9CF4}"/>
                </a:ext>
              </a:extLst>
            </p:cNvPr>
            <p:cNvCxnSpPr>
              <a:cxnSpLocks/>
            </p:cNvCxnSpPr>
            <p:nvPr/>
          </p:nvCxnSpPr>
          <p:spPr>
            <a:xfrm>
              <a:off x="7666229" y="756744"/>
              <a:ext cx="0" cy="252249"/>
            </a:xfrm>
            <a:prstGeom prst="line">
              <a:avLst/>
            </a:prstGeom>
            <a:ln w="19050"/>
          </p:spPr>
          <p:style>
            <a:lnRef idx="1">
              <a:schemeClr val="dk1"/>
            </a:lnRef>
            <a:fillRef idx="0">
              <a:schemeClr val="dk1"/>
            </a:fillRef>
            <a:effectRef idx="0">
              <a:schemeClr val="dk1"/>
            </a:effectRef>
            <a:fontRef idx="minor">
              <a:schemeClr val="tx1"/>
            </a:fontRef>
          </p:style>
        </p:cxnSp>
      </p:grpSp>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2050" name="Picture 2">
            <a:extLst>
              <a:ext uri="{FF2B5EF4-FFF2-40B4-BE49-F238E27FC236}">
                <a16:creationId xmlns:a16="http://schemas.microsoft.com/office/drawing/2014/main" id="{E4C9D767-71C4-4C96-BEBF-B7277D0CD7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898593"/>
            <a:ext cx="3838904" cy="95972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2165F5AC-85D3-482D-ADBE-F33CDCA45308}"/>
              </a:ext>
            </a:extLst>
          </p:cNvPr>
          <p:cNvPicPr>
            <a:picLocks noChangeAspect="1"/>
          </p:cNvPicPr>
          <p:nvPr/>
        </p:nvPicPr>
        <p:blipFill>
          <a:blip r:embed="rId6"/>
          <a:stretch>
            <a:fillRect/>
          </a:stretch>
        </p:blipFill>
        <p:spPr>
          <a:xfrm>
            <a:off x="3739490" y="1726323"/>
            <a:ext cx="4771176" cy="2687762"/>
          </a:xfrm>
          <a:prstGeom prst="rect">
            <a:avLst/>
          </a:prstGeom>
          <a:ln>
            <a:noFill/>
          </a:ln>
          <a:effectLst>
            <a:outerShdw blurRad="292100" dist="139700" dir="2700000" algn="tl" rotWithShape="0">
              <a:srgbClr val="333333">
                <a:alpha val="65000"/>
              </a:srgbClr>
            </a:outerShdw>
          </a:effectLst>
        </p:spPr>
      </p:pic>
      <p:sp>
        <p:nvSpPr>
          <p:cNvPr id="33" name="TextBox 32">
            <a:extLst>
              <a:ext uri="{FF2B5EF4-FFF2-40B4-BE49-F238E27FC236}">
                <a16:creationId xmlns:a16="http://schemas.microsoft.com/office/drawing/2014/main" id="{0088D27F-E957-4FB6-B489-5E7CFD76FE5A}"/>
              </a:ext>
            </a:extLst>
          </p:cNvPr>
          <p:cNvSpPr txBox="1"/>
          <p:nvPr/>
        </p:nvSpPr>
        <p:spPr>
          <a:xfrm>
            <a:off x="1555756" y="1261242"/>
            <a:ext cx="453600" cy="300082"/>
          </a:xfrm>
          <a:prstGeom prst="rect">
            <a:avLst/>
          </a:prstGeom>
          <a:solidFill>
            <a:schemeClr val="accent2"/>
          </a:solid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white"/>
                </a:solidFill>
                <a:effectLst/>
                <a:uLnTx/>
                <a:uFillTx/>
                <a:latin typeface="Franklin Gothic Book" panose="020B0503020102020204"/>
                <a:ea typeface="+mn-ea"/>
                <a:cs typeface="+mn-cs"/>
              </a:rPr>
              <a:t>Apr</a:t>
            </a:r>
          </a:p>
        </p:txBody>
      </p:sp>
    </p:spTree>
    <p:extLst>
      <p:ext uri="{BB962C8B-B14F-4D97-AF65-F5344CB8AC3E}">
        <p14:creationId xmlns:p14="http://schemas.microsoft.com/office/powerpoint/2010/main" val="5162809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342E97-D8B8-478F-9379-983DE027CD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6" imgH="275" progId="TCLayout.ActiveDocument.1">
                  <p:embed/>
                </p:oleObj>
              </mc:Choice>
              <mc:Fallback>
                <p:oleObj name="think-cell Slide" r:id="rId3" imgW="276" imgH="275" progId="TCLayout.ActiveDocument.1">
                  <p:embed/>
                  <p:pic>
                    <p:nvPicPr>
                      <p:cNvPr id="4" name="Object 3" hidden="1">
                        <a:extLst>
                          <a:ext uri="{FF2B5EF4-FFF2-40B4-BE49-F238E27FC236}">
                            <a16:creationId xmlns:a16="http://schemas.microsoft.com/office/drawing/2014/main" id="{56342E97-D8B8-478F-9379-983DE027CD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5" name="Group 44">
            <a:extLst>
              <a:ext uri="{FF2B5EF4-FFF2-40B4-BE49-F238E27FC236}">
                <a16:creationId xmlns:a16="http://schemas.microsoft.com/office/drawing/2014/main" id="{394865D6-4071-4D50-9A57-7B10DAFA1669}"/>
              </a:ext>
            </a:extLst>
          </p:cNvPr>
          <p:cNvGrpSpPr/>
          <p:nvPr/>
        </p:nvGrpSpPr>
        <p:grpSpPr>
          <a:xfrm>
            <a:off x="249703" y="653734"/>
            <a:ext cx="8295995" cy="907590"/>
            <a:chOff x="249703" y="653734"/>
            <a:chExt cx="8295995" cy="907590"/>
          </a:xfrm>
        </p:grpSpPr>
        <p:sp>
          <p:nvSpPr>
            <p:cNvPr id="46" name="TextBox 45">
              <a:extLst>
                <a:ext uri="{FF2B5EF4-FFF2-40B4-BE49-F238E27FC236}">
                  <a16:creationId xmlns:a16="http://schemas.microsoft.com/office/drawing/2014/main" id="{F0F58740-0422-48B1-BE34-345D545AB645}"/>
                </a:ext>
              </a:extLst>
            </p:cNvPr>
            <p:cNvSpPr txBox="1"/>
            <p:nvPr/>
          </p:nvSpPr>
          <p:spPr>
            <a:xfrm>
              <a:off x="24970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47" name="Straight Connector 46">
              <a:extLst>
                <a:ext uri="{FF2B5EF4-FFF2-40B4-BE49-F238E27FC236}">
                  <a16:creationId xmlns:a16="http://schemas.microsoft.com/office/drawing/2014/main" id="{E24219E1-2F6E-4A61-B22F-907B5167B468}"/>
                </a:ext>
              </a:extLst>
            </p:cNvPr>
            <p:cNvCxnSpPr>
              <a:cxnSpLocks/>
            </p:cNvCxnSpPr>
            <p:nvPr/>
          </p:nvCxnSpPr>
          <p:spPr>
            <a:xfrm>
              <a:off x="47408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A0C7F674-5007-42BA-AC79-DAF06BEF1231}"/>
                </a:ext>
              </a:extLst>
            </p:cNvPr>
            <p:cNvCxnSpPr>
              <a:cxnSpLocks/>
            </p:cNvCxnSpPr>
            <p:nvPr/>
          </p:nvCxnSpPr>
          <p:spPr>
            <a:xfrm>
              <a:off x="832006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3D721068-0FA1-4953-8865-E774D797B8D6}"/>
                </a:ext>
              </a:extLst>
            </p:cNvPr>
            <p:cNvCxnSpPr>
              <a:cxnSpLocks/>
            </p:cNvCxnSpPr>
            <p:nvPr/>
          </p:nvCxnSpPr>
          <p:spPr>
            <a:xfrm>
              <a:off x="1127919"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9346C794-59B4-4C76-A10E-B39516032EF4}"/>
                </a:ext>
              </a:extLst>
            </p:cNvPr>
            <p:cNvCxnSpPr>
              <a:cxnSpLocks/>
            </p:cNvCxnSpPr>
            <p:nvPr/>
          </p:nvCxnSpPr>
          <p:spPr>
            <a:xfrm>
              <a:off x="178175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F6D7F7AE-1245-4329-8023-EF92B61BAF66}"/>
                </a:ext>
              </a:extLst>
            </p:cNvPr>
            <p:cNvCxnSpPr>
              <a:cxnSpLocks/>
            </p:cNvCxnSpPr>
            <p:nvPr/>
          </p:nvCxnSpPr>
          <p:spPr>
            <a:xfrm>
              <a:off x="2435581"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718690BC-1E99-4CAF-BEEF-5EF2EDBB4917}"/>
                </a:ext>
              </a:extLst>
            </p:cNvPr>
            <p:cNvCxnSpPr>
              <a:cxnSpLocks/>
            </p:cNvCxnSpPr>
            <p:nvPr/>
          </p:nvCxnSpPr>
          <p:spPr>
            <a:xfrm>
              <a:off x="3089412"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44142594-ADC4-4EE2-B12E-93C38629F6B6}"/>
                </a:ext>
              </a:extLst>
            </p:cNvPr>
            <p:cNvCxnSpPr>
              <a:cxnSpLocks/>
            </p:cNvCxnSpPr>
            <p:nvPr/>
          </p:nvCxnSpPr>
          <p:spPr>
            <a:xfrm>
              <a:off x="3743243"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7DBFEE2-5F58-46AB-80D6-673BDDEB6B9C}"/>
                </a:ext>
              </a:extLst>
            </p:cNvPr>
            <p:cNvCxnSpPr>
              <a:cxnSpLocks/>
            </p:cNvCxnSpPr>
            <p:nvPr/>
          </p:nvCxnSpPr>
          <p:spPr>
            <a:xfrm>
              <a:off x="4397074"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FE297332-7FED-48A1-9711-F28EA78850B9}"/>
                </a:ext>
              </a:extLst>
            </p:cNvPr>
            <p:cNvCxnSpPr>
              <a:cxnSpLocks/>
            </p:cNvCxnSpPr>
            <p:nvPr/>
          </p:nvCxnSpPr>
          <p:spPr>
            <a:xfrm>
              <a:off x="5050905"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27BB4950-9F30-4835-97BA-C51370520D72}"/>
                </a:ext>
              </a:extLst>
            </p:cNvPr>
            <p:cNvCxnSpPr>
              <a:cxnSpLocks/>
            </p:cNvCxnSpPr>
            <p:nvPr/>
          </p:nvCxnSpPr>
          <p:spPr>
            <a:xfrm>
              <a:off x="5704736"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29B1BABC-DC0B-44B1-A963-3E83CF5480B3}"/>
                </a:ext>
              </a:extLst>
            </p:cNvPr>
            <p:cNvCxnSpPr>
              <a:cxnSpLocks/>
            </p:cNvCxnSpPr>
            <p:nvPr/>
          </p:nvCxnSpPr>
          <p:spPr>
            <a:xfrm>
              <a:off x="6358567"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8BEB6FFC-2ADE-484D-80A2-0F84C949F112}"/>
                </a:ext>
              </a:extLst>
            </p:cNvPr>
            <p:cNvCxnSpPr>
              <a:cxnSpLocks/>
            </p:cNvCxnSpPr>
            <p:nvPr/>
          </p:nvCxnSpPr>
          <p:spPr>
            <a:xfrm>
              <a:off x="701239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0916A3AE-8BAE-43CE-B4BE-23489CFB38F7}"/>
                </a:ext>
              </a:extLst>
            </p:cNvPr>
            <p:cNvCxnSpPr>
              <a:cxnSpLocks/>
            </p:cNvCxnSpPr>
            <p:nvPr/>
          </p:nvCxnSpPr>
          <p:spPr>
            <a:xfrm>
              <a:off x="7666229" y="1001373"/>
              <a:ext cx="0" cy="252249"/>
            </a:xfrm>
            <a:prstGeom prst="line">
              <a:avLst/>
            </a:prstGeom>
            <a:ln w="19050"/>
          </p:spPr>
          <p:style>
            <a:lnRef idx="1">
              <a:schemeClr val="dk1"/>
            </a:lnRef>
            <a:fillRef idx="0">
              <a:schemeClr val="dk1"/>
            </a:fillRef>
            <a:effectRef idx="0">
              <a:schemeClr val="dk1"/>
            </a:effectRef>
            <a:fontRef idx="minor">
              <a:schemeClr val="tx1"/>
            </a:fontRef>
          </p:style>
        </p:cxnSp>
        <p:sp>
          <p:nvSpPr>
            <p:cNvPr id="60" name="TextBox 59">
              <a:extLst>
                <a:ext uri="{FF2B5EF4-FFF2-40B4-BE49-F238E27FC236}">
                  <a16:creationId xmlns:a16="http://schemas.microsoft.com/office/drawing/2014/main" id="{45A1B3E0-A4C7-44F9-8E76-61A19D351245}"/>
                </a:ext>
              </a:extLst>
            </p:cNvPr>
            <p:cNvSpPr txBox="1"/>
            <p:nvPr/>
          </p:nvSpPr>
          <p:spPr>
            <a:xfrm>
              <a:off x="514449" y="653734"/>
              <a:ext cx="582532"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1</a:t>
              </a:r>
            </a:p>
          </p:txBody>
        </p:sp>
        <p:sp>
          <p:nvSpPr>
            <p:cNvPr id="61" name="TextBox 60">
              <a:extLst>
                <a:ext uri="{FF2B5EF4-FFF2-40B4-BE49-F238E27FC236}">
                  <a16:creationId xmlns:a16="http://schemas.microsoft.com/office/drawing/2014/main" id="{4E6584B4-4886-449B-8FEC-ECEC9710E246}"/>
                </a:ext>
              </a:extLst>
            </p:cNvPr>
            <p:cNvSpPr txBox="1"/>
            <p:nvPr/>
          </p:nvSpPr>
          <p:spPr>
            <a:xfrm>
              <a:off x="7685631" y="656093"/>
              <a:ext cx="588623"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2</a:t>
              </a:r>
            </a:p>
          </p:txBody>
        </p:sp>
        <p:sp>
          <p:nvSpPr>
            <p:cNvPr id="62" name="TextBox 61">
              <a:extLst>
                <a:ext uri="{FF2B5EF4-FFF2-40B4-BE49-F238E27FC236}">
                  <a16:creationId xmlns:a16="http://schemas.microsoft.com/office/drawing/2014/main" id="{99864D66-38AF-4267-80E5-7DC9F1275DFE}"/>
                </a:ext>
              </a:extLst>
            </p:cNvPr>
            <p:cNvSpPr txBox="1"/>
            <p:nvPr/>
          </p:nvSpPr>
          <p:spPr>
            <a:xfrm>
              <a:off x="90323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r</a:t>
              </a:r>
            </a:p>
          </p:txBody>
        </p:sp>
        <p:sp>
          <p:nvSpPr>
            <p:cNvPr id="63" name="TextBox 62">
              <a:extLst>
                <a:ext uri="{FF2B5EF4-FFF2-40B4-BE49-F238E27FC236}">
                  <a16:creationId xmlns:a16="http://schemas.microsoft.com/office/drawing/2014/main" id="{78CCF448-2DB9-462E-8549-57B6170AE74D}"/>
                </a:ext>
              </a:extLst>
            </p:cNvPr>
            <p:cNvSpPr txBox="1"/>
            <p:nvPr/>
          </p:nvSpPr>
          <p:spPr>
            <a:xfrm>
              <a:off x="1556769"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pr</a:t>
              </a:r>
            </a:p>
          </p:txBody>
        </p:sp>
        <p:sp>
          <p:nvSpPr>
            <p:cNvPr id="64" name="TextBox 63">
              <a:extLst>
                <a:ext uri="{FF2B5EF4-FFF2-40B4-BE49-F238E27FC236}">
                  <a16:creationId xmlns:a16="http://schemas.microsoft.com/office/drawing/2014/main" id="{4351B07E-D4FE-4AD5-AADF-365859F1EE35}"/>
                </a:ext>
              </a:extLst>
            </p:cNvPr>
            <p:cNvSpPr txBox="1"/>
            <p:nvPr/>
          </p:nvSpPr>
          <p:spPr>
            <a:xfrm>
              <a:off x="2210302"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y</a:t>
              </a:r>
            </a:p>
          </p:txBody>
        </p:sp>
        <p:sp>
          <p:nvSpPr>
            <p:cNvPr id="65" name="TextBox 64">
              <a:extLst>
                <a:ext uri="{FF2B5EF4-FFF2-40B4-BE49-F238E27FC236}">
                  <a16:creationId xmlns:a16="http://schemas.microsoft.com/office/drawing/2014/main" id="{AC1D028E-BBCD-4D07-ABF4-185606F830A0}"/>
                </a:ext>
              </a:extLst>
            </p:cNvPr>
            <p:cNvSpPr txBox="1"/>
            <p:nvPr/>
          </p:nvSpPr>
          <p:spPr>
            <a:xfrm>
              <a:off x="2863835"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n</a:t>
              </a:r>
            </a:p>
          </p:txBody>
        </p:sp>
        <p:sp>
          <p:nvSpPr>
            <p:cNvPr id="66" name="TextBox 65">
              <a:extLst>
                <a:ext uri="{FF2B5EF4-FFF2-40B4-BE49-F238E27FC236}">
                  <a16:creationId xmlns:a16="http://schemas.microsoft.com/office/drawing/2014/main" id="{8E036883-1C3D-4A28-967F-F7944CD93962}"/>
                </a:ext>
              </a:extLst>
            </p:cNvPr>
            <p:cNvSpPr txBox="1"/>
            <p:nvPr/>
          </p:nvSpPr>
          <p:spPr>
            <a:xfrm>
              <a:off x="351736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l</a:t>
              </a:r>
            </a:p>
          </p:txBody>
        </p:sp>
        <p:sp>
          <p:nvSpPr>
            <p:cNvPr id="67" name="TextBox 66">
              <a:extLst>
                <a:ext uri="{FF2B5EF4-FFF2-40B4-BE49-F238E27FC236}">
                  <a16:creationId xmlns:a16="http://schemas.microsoft.com/office/drawing/2014/main" id="{380EB218-4AF3-4AD9-8AEC-14F93F3EB575}"/>
                </a:ext>
              </a:extLst>
            </p:cNvPr>
            <p:cNvSpPr txBox="1"/>
            <p:nvPr/>
          </p:nvSpPr>
          <p:spPr>
            <a:xfrm>
              <a:off x="4170901"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ug</a:t>
              </a:r>
            </a:p>
          </p:txBody>
        </p:sp>
        <p:sp>
          <p:nvSpPr>
            <p:cNvPr id="68" name="TextBox 67">
              <a:extLst>
                <a:ext uri="{FF2B5EF4-FFF2-40B4-BE49-F238E27FC236}">
                  <a16:creationId xmlns:a16="http://schemas.microsoft.com/office/drawing/2014/main" id="{3A71592A-900A-4DBD-BEED-E5C4DA51BE96}"/>
                </a:ext>
              </a:extLst>
            </p:cNvPr>
            <p:cNvSpPr txBox="1"/>
            <p:nvPr/>
          </p:nvSpPr>
          <p:spPr>
            <a:xfrm>
              <a:off x="4824434"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Sep</a:t>
              </a:r>
            </a:p>
          </p:txBody>
        </p:sp>
        <p:sp>
          <p:nvSpPr>
            <p:cNvPr id="69" name="TextBox 68">
              <a:extLst>
                <a:ext uri="{FF2B5EF4-FFF2-40B4-BE49-F238E27FC236}">
                  <a16:creationId xmlns:a16="http://schemas.microsoft.com/office/drawing/2014/main" id="{D2564A19-969A-4EFF-8C18-C99A45AD750E}"/>
                </a:ext>
              </a:extLst>
            </p:cNvPr>
            <p:cNvSpPr txBox="1"/>
            <p:nvPr/>
          </p:nvSpPr>
          <p:spPr>
            <a:xfrm>
              <a:off x="5477967"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Oct</a:t>
              </a:r>
            </a:p>
          </p:txBody>
        </p:sp>
        <p:sp>
          <p:nvSpPr>
            <p:cNvPr id="70" name="TextBox 69">
              <a:extLst>
                <a:ext uri="{FF2B5EF4-FFF2-40B4-BE49-F238E27FC236}">
                  <a16:creationId xmlns:a16="http://schemas.microsoft.com/office/drawing/2014/main" id="{835B0CD5-FC0A-489A-99DA-550B0E4E897B}"/>
                </a:ext>
              </a:extLst>
            </p:cNvPr>
            <p:cNvSpPr txBox="1"/>
            <p:nvPr/>
          </p:nvSpPr>
          <p:spPr>
            <a:xfrm>
              <a:off x="6131500"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Nov</a:t>
              </a:r>
            </a:p>
          </p:txBody>
        </p:sp>
        <p:sp>
          <p:nvSpPr>
            <p:cNvPr id="71" name="TextBox 70">
              <a:extLst>
                <a:ext uri="{FF2B5EF4-FFF2-40B4-BE49-F238E27FC236}">
                  <a16:creationId xmlns:a16="http://schemas.microsoft.com/office/drawing/2014/main" id="{FF390868-48CF-4456-AC81-12F7871D9857}"/>
                </a:ext>
              </a:extLst>
            </p:cNvPr>
            <p:cNvSpPr txBox="1"/>
            <p:nvPr/>
          </p:nvSpPr>
          <p:spPr>
            <a:xfrm>
              <a:off x="678503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Dec</a:t>
              </a:r>
            </a:p>
          </p:txBody>
        </p:sp>
        <p:sp>
          <p:nvSpPr>
            <p:cNvPr id="72" name="TextBox 71">
              <a:extLst>
                <a:ext uri="{FF2B5EF4-FFF2-40B4-BE49-F238E27FC236}">
                  <a16:creationId xmlns:a16="http://schemas.microsoft.com/office/drawing/2014/main" id="{C38F5C30-DE7D-4BB1-A6A9-59DEDC918BFE}"/>
                </a:ext>
              </a:extLst>
            </p:cNvPr>
            <p:cNvSpPr txBox="1"/>
            <p:nvPr/>
          </p:nvSpPr>
          <p:spPr>
            <a:xfrm>
              <a:off x="743856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an</a:t>
              </a:r>
            </a:p>
          </p:txBody>
        </p:sp>
        <p:sp>
          <p:nvSpPr>
            <p:cNvPr id="73" name="TextBox 72">
              <a:extLst>
                <a:ext uri="{FF2B5EF4-FFF2-40B4-BE49-F238E27FC236}">
                  <a16:creationId xmlns:a16="http://schemas.microsoft.com/office/drawing/2014/main" id="{954C1F95-C151-4C51-9DC2-579703DBB845}"/>
                </a:ext>
              </a:extLst>
            </p:cNvPr>
            <p:cNvSpPr txBox="1"/>
            <p:nvPr/>
          </p:nvSpPr>
          <p:spPr>
            <a:xfrm>
              <a:off x="809209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74" name="Straight Connector 73">
              <a:extLst>
                <a:ext uri="{FF2B5EF4-FFF2-40B4-BE49-F238E27FC236}">
                  <a16:creationId xmlns:a16="http://schemas.microsoft.com/office/drawing/2014/main" id="{A275C8AA-0444-43E4-B68F-0D5366CA16B7}"/>
                </a:ext>
              </a:extLst>
            </p:cNvPr>
            <p:cNvCxnSpPr>
              <a:cxnSpLocks/>
            </p:cNvCxnSpPr>
            <p:nvPr/>
          </p:nvCxnSpPr>
          <p:spPr>
            <a:xfrm>
              <a:off x="7666229" y="756744"/>
              <a:ext cx="0" cy="252249"/>
            </a:xfrm>
            <a:prstGeom prst="line">
              <a:avLst/>
            </a:prstGeom>
            <a:ln w="19050"/>
          </p:spPr>
          <p:style>
            <a:lnRef idx="1">
              <a:schemeClr val="dk1"/>
            </a:lnRef>
            <a:fillRef idx="0">
              <a:schemeClr val="dk1"/>
            </a:fillRef>
            <a:effectRef idx="0">
              <a:schemeClr val="dk1"/>
            </a:effectRef>
            <a:fontRef idx="minor">
              <a:schemeClr val="tx1"/>
            </a:fontRef>
          </p:style>
        </p:cxnSp>
      </p:grpSp>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0" name="TextBox 39">
            <a:extLst>
              <a:ext uri="{FF2B5EF4-FFF2-40B4-BE49-F238E27FC236}">
                <a16:creationId xmlns:a16="http://schemas.microsoft.com/office/drawing/2014/main" id="{970F30E7-8E1D-48DF-9649-AE4C9EE3D755}"/>
              </a:ext>
            </a:extLst>
          </p:cNvPr>
          <p:cNvSpPr txBox="1"/>
          <p:nvPr/>
        </p:nvSpPr>
        <p:spPr>
          <a:xfrm>
            <a:off x="6131975" y="1261242"/>
            <a:ext cx="453600" cy="300082"/>
          </a:xfrm>
          <a:prstGeom prst="rect">
            <a:avLst/>
          </a:prstGeom>
          <a:solidFill>
            <a:schemeClr val="accent2"/>
          </a:solid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white"/>
                </a:solidFill>
                <a:effectLst/>
                <a:uLnTx/>
                <a:uFillTx/>
                <a:latin typeface="Franklin Gothic Book" panose="020B0503020102020204"/>
                <a:ea typeface="+mn-ea"/>
                <a:cs typeface="+mn-cs"/>
              </a:rPr>
              <a:t>Nov</a:t>
            </a:r>
          </a:p>
        </p:txBody>
      </p:sp>
      <p:pic>
        <p:nvPicPr>
          <p:cNvPr id="44" name="Picture 43">
            <a:extLst>
              <a:ext uri="{FF2B5EF4-FFF2-40B4-BE49-F238E27FC236}">
                <a16:creationId xmlns:a16="http://schemas.microsoft.com/office/drawing/2014/main" id="{B59A2D9D-64F4-4429-81A2-17515387BC75}"/>
              </a:ext>
            </a:extLst>
          </p:cNvPr>
          <p:cNvPicPr>
            <a:picLocks noChangeAspect="1"/>
          </p:cNvPicPr>
          <p:nvPr/>
        </p:nvPicPr>
        <p:blipFill rotWithShape="1">
          <a:blip r:embed="rId5"/>
          <a:srcRect t="16553" b="8352"/>
          <a:stretch/>
        </p:blipFill>
        <p:spPr>
          <a:xfrm>
            <a:off x="992387" y="1711096"/>
            <a:ext cx="7159226" cy="302415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933459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E36B82-1D4D-411D-A7E6-EF07223817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6" imgH="275" progId="TCLayout.ActiveDocument.1">
                  <p:embed/>
                </p:oleObj>
              </mc:Choice>
              <mc:Fallback>
                <p:oleObj name="think-cell Slide" r:id="rId3" imgW="276" imgH="275" progId="TCLayout.ActiveDocument.1">
                  <p:embed/>
                  <p:pic>
                    <p:nvPicPr>
                      <p:cNvPr id="4" name="Object 3" hidden="1">
                        <a:extLst>
                          <a:ext uri="{FF2B5EF4-FFF2-40B4-BE49-F238E27FC236}">
                            <a16:creationId xmlns:a16="http://schemas.microsoft.com/office/drawing/2014/main" id="{C6E36B82-1D4D-411D-A7E6-EF07223817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5" name="Group 44">
            <a:extLst>
              <a:ext uri="{FF2B5EF4-FFF2-40B4-BE49-F238E27FC236}">
                <a16:creationId xmlns:a16="http://schemas.microsoft.com/office/drawing/2014/main" id="{F567A507-F5D9-4897-8EDE-BB3CC8EB9FAA}"/>
              </a:ext>
            </a:extLst>
          </p:cNvPr>
          <p:cNvGrpSpPr/>
          <p:nvPr/>
        </p:nvGrpSpPr>
        <p:grpSpPr>
          <a:xfrm>
            <a:off x="249703" y="653734"/>
            <a:ext cx="8295995" cy="907590"/>
            <a:chOff x="249703" y="653734"/>
            <a:chExt cx="8295995" cy="907590"/>
          </a:xfrm>
        </p:grpSpPr>
        <p:sp>
          <p:nvSpPr>
            <p:cNvPr id="46" name="TextBox 45">
              <a:extLst>
                <a:ext uri="{FF2B5EF4-FFF2-40B4-BE49-F238E27FC236}">
                  <a16:creationId xmlns:a16="http://schemas.microsoft.com/office/drawing/2014/main" id="{689F6832-B57D-4827-B6F8-D194F784FD33}"/>
                </a:ext>
              </a:extLst>
            </p:cNvPr>
            <p:cNvSpPr txBox="1"/>
            <p:nvPr/>
          </p:nvSpPr>
          <p:spPr>
            <a:xfrm>
              <a:off x="24970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47" name="Straight Connector 46">
              <a:extLst>
                <a:ext uri="{FF2B5EF4-FFF2-40B4-BE49-F238E27FC236}">
                  <a16:creationId xmlns:a16="http://schemas.microsoft.com/office/drawing/2014/main" id="{2E99B146-9742-4B43-ADA8-B3EDFCFC9C92}"/>
                </a:ext>
              </a:extLst>
            </p:cNvPr>
            <p:cNvCxnSpPr>
              <a:cxnSpLocks/>
            </p:cNvCxnSpPr>
            <p:nvPr/>
          </p:nvCxnSpPr>
          <p:spPr>
            <a:xfrm>
              <a:off x="47408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9589881F-7411-4026-91EE-899B17C04DA6}"/>
                </a:ext>
              </a:extLst>
            </p:cNvPr>
            <p:cNvCxnSpPr>
              <a:cxnSpLocks/>
            </p:cNvCxnSpPr>
            <p:nvPr/>
          </p:nvCxnSpPr>
          <p:spPr>
            <a:xfrm>
              <a:off x="832006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608DFB14-4DAB-47EF-AABA-817A976BF8E6}"/>
                </a:ext>
              </a:extLst>
            </p:cNvPr>
            <p:cNvCxnSpPr>
              <a:cxnSpLocks/>
            </p:cNvCxnSpPr>
            <p:nvPr/>
          </p:nvCxnSpPr>
          <p:spPr>
            <a:xfrm>
              <a:off x="1127919"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298CD816-AE65-4A46-86F7-31660363FCE7}"/>
                </a:ext>
              </a:extLst>
            </p:cNvPr>
            <p:cNvCxnSpPr>
              <a:cxnSpLocks/>
            </p:cNvCxnSpPr>
            <p:nvPr/>
          </p:nvCxnSpPr>
          <p:spPr>
            <a:xfrm>
              <a:off x="178175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198F71E9-A191-47FE-883E-5C12197A202F}"/>
                </a:ext>
              </a:extLst>
            </p:cNvPr>
            <p:cNvCxnSpPr>
              <a:cxnSpLocks/>
            </p:cNvCxnSpPr>
            <p:nvPr/>
          </p:nvCxnSpPr>
          <p:spPr>
            <a:xfrm>
              <a:off x="2435581"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EBA2C0C2-F99F-4B2D-91DF-6BBB99583E35}"/>
                </a:ext>
              </a:extLst>
            </p:cNvPr>
            <p:cNvCxnSpPr>
              <a:cxnSpLocks/>
            </p:cNvCxnSpPr>
            <p:nvPr/>
          </p:nvCxnSpPr>
          <p:spPr>
            <a:xfrm>
              <a:off x="3089412"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755D2592-FF4E-4892-8646-F829936B993A}"/>
                </a:ext>
              </a:extLst>
            </p:cNvPr>
            <p:cNvCxnSpPr>
              <a:cxnSpLocks/>
            </p:cNvCxnSpPr>
            <p:nvPr/>
          </p:nvCxnSpPr>
          <p:spPr>
            <a:xfrm>
              <a:off x="3743243"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43067785-3B67-4DE9-B78A-FF86119E7B94}"/>
                </a:ext>
              </a:extLst>
            </p:cNvPr>
            <p:cNvCxnSpPr>
              <a:cxnSpLocks/>
            </p:cNvCxnSpPr>
            <p:nvPr/>
          </p:nvCxnSpPr>
          <p:spPr>
            <a:xfrm>
              <a:off x="4397074"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3D5F1F79-C064-4E53-B831-6C852B16A4E8}"/>
                </a:ext>
              </a:extLst>
            </p:cNvPr>
            <p:cNvCxnSpPr>
              <a:cxnSpLocks/>
            </p:cNvCxnSpPr>
            <p:nvPr/>
          </p:nvCxnSpPr>
          <p:spPr>
            <a:xfrm>
              <a:off x="5050905"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EC59D843-C659-488B-8587-8EB67F8D70C1}"/>
                </a:ext>
              </a:extLst>
            </p:cNvPr>
            <p:cNvCxnSpPr>
              <a:cxnSpLocks/>
            </p:cNvCxnSpPr>
            <p:nvPr/>
          </p:nvCxnSpPr>
          <p:spPr>
            <a:xfrm>
              <a:off x="5704736"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8F3B917B-14DE-41D4-A851-1E3738B8A868}"/>
                </a:ext>
              </a:extLst>
            </p:cNvPr>
            <p:cNvCxnSpPr>
              <a:cxnSpLocks/>
            </p:cNvCxnSpPr>
            <p:nvPr/>
          </p:nvCxnSpPr>
          <p:spPr>
            <a:xfrm>
              <a:off x="6358567"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4515330C-BBFF-4FDF-AE7D-A90352A94AF1}"/>
                </a:ext>
              </a:extLst>
            </p:cNvPr>
            <p:cNvCxnSpPr>
              <a:cxnSpLocks/>
            </p:cNvCxnSpPr>
            <p:nvPr/>
          </p:nvCxnSpPr>
          <p:spPr>
            <a:xfrm>
              <a:off x="701239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A05DFE1E-045F-4997-BD0F-71B6C8AFCA6D}"/>
                </a:ext>
              </a:extLst>
            </p:cNvPr>
            <p:cNvCxnSpPr>
              <a:cxnSpLocks/>
            </p:cNvCxnSpPr>
            <p:nvPr/>
          </p:nvCxnSpPr>
          <p:spPr>
            <a:xfrm>
              <a:off x="7666229" y="1001373"/>
              <a:ext cx="0" cy="252249"/>
            </a:xfrm>
            <a:prstGeom prst="line">
              <a:avLst/>
            </a:prstGeom>
            <a:ln w="19050"/>
          </p:spPr>
          <p:style>
            <a:lnRef idx="1">
              <a:schemeClr val="dk1"/>
            </a:lnRef>
            <a:fillRef idx="0">
              <a:schemeClr val="dk1"/>
            </a:fillRef>
            <a:effectRef idx="0">
              <a:schemeClr val="dk1"/>
            </a:effectRef>
            <a:fontRef idx="minor">
              <a:schemeClr val="tx1"/>
            </a:fontRef>
          </p:style>
        </p:cxnSp>
        <p:sp>
          <p:nvSpPr>
            <p:cNvPr id="60" name="TextBox 59">
              <a:extLst>
                <a:ext uri="{FF2B5EF4-FFF2-40B4-BE49-F238E27FC236}">
                  <a16:creationId xmlns:a16="http://schemas.microsoft.com/office/drawing/2014/main" id="{B791D3F0-8DD2-4BAB-9ECA-6527190763CC}"/>
                </a:ext>
              </a:extLst>
            </p:cNvPr>
            <p:cNvSpPr txBox="1"/>
            <p:nvPr/>
          </p:nvSpPr>
          <p:spPr>
            <a:xfrm>
              <a:off x="514449" y="653734"/>
              <a:ext cx="582532"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1</a:t>
              </a:r>
            </a:p>
          </p:txBody>
        </p:sp>
        <p:sp>
          <p:nvSpPr>
            <p:cNvPr id="61" name="TextBox 60">
              <a:extLst>
                <a:ext uri="{FF2B5EF4-FFF2-40B4-BE49-F238E27FC236}">
                  <a16:creationId xmlns:a16="http://schemas.microsoft.com/office/drawing/2014/main" id="{1431CD56-9E2C-4923-BC3F-023653C536F9}"/>
                </a:ext>
              </a:extLst>
            </p:cNvPr>
            <p:cNvSpPr txBox="1"/>
            <p:nvPr/>
          </p:nvSpPr>
          <p:spPr>
            <a:xfrm>
              <a:off x="7685631" y="656093"/>
              <a:ext cx="588623"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2</a:t>
              </a:r>
            </a:p>
          </p:txBody>
        </p:sp>
        <p:sp>
          <p:nvSpPr>
            <p:cNvPr id="62" name="TextBox 61">
              <a:extLst>
                <a:ext uri="{FF2B5EF4-FFF2-40B4-BE49-F238E27FC236}">
                  <a16:creationId xmlns:a16="http://schemas.microsoft.com/office/drawing/2014/main" id="{649A49D3-8B05-4663-9934-9F04146A9675}"/>
                </a:ext>
              </a:extLst>
            </p:cNvPr>
            <p:cNvSpPr txBox="1"/>
            <p:nvPr/>
          </p:nvSpPr>
          <p:spPr>
            <a:xfrm>
              <a:off x="90323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r</a:t>
              </a:r>
            </a:p>
          </p:txBody>
        </p:sp>
        <p:sp>
          <p:nvSpPr>
            <p:cNvPr id="63" name="TextBox 62">
              <a:extLst>
                <a:ext uri="{FF2B5EF4-FFF2-40B4-BE49-F238E27FC236}">
                  <a16:creationId xmlns:a16="http://schemas.microsoft.com/office/drawing/2014/main" id="{99F625AE-CFB0-4428-B4BA-98151127EE77}"/>
                </a:ext>
              </a:extLst>
            </p:cNvPr>
            <p:cNvSpPr txBox="1"/>
            <p:nvPr/>
          </p:nvSpPr>
          <p:spPr>
            <a:xfrm>
              <a:off x="1556769"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pr</a:t>
              </a:r>
            </a:p>
          </p:txBody>
        </p:sp>
        <p:sp>
          <p:nvSpPr>
            <p:cNvPr id="64" name="TextBox 63">
              <a:extLst>
                <a:ext uri="{FF2B5EF4-FFF2-40B4-BE49-F238E27FC236}">
                  <a16:creationId xmlns:a16="http://schemas.microsoft.com/office/drawing/2014/main" id="{34711486-6078-45F5-A99B-A64575387DB6}"/>
                </a:ext>
              </a:extLst>
            </p:cNvPr>
            <p:cNvSpPr txBox="1"/>
            <p:nvPr/>
          </p:nvSpPr>
          <p:spPr>
            <a:xfrm>
              <a:off x="2210302"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y</a:t>
              </a:r>
            </a:p>
          </p:txBody>
        </p:sp>
        <p:sp>
          <p:nvSpPr>
            <p:cNvPr id="65" name="TextBox 64">
              <a:extLst>
                <a:ext uri="{FF2B5EF4-FFF2-40B4-BE49-F238E27FC236}">
                  <a16:creationId xmlns:a16="http://schemas.microsoft.com/office/drawing/2014/main" id="{ADB73C72-4CEE-4BFA-ADF0-056C9ACD3FAF}"/>
                </a:ext>
              </a:extLst>
            </p:cNvPr>
            <p:cNvSpPr txBox="1"/>
            <p:nvPr/>
          </p:nvSpPr>
          <p:spPr>
            <a:xfrm>
              <a:off x="2863835"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n</a:t>
              </a:r>
            </a:p>
          </p:txBody>
        </p:sp>
        <p:sp>
          <p:nvSpPr>
            <p:cNvPr id="66" name="TextBox 65">
              <a:extLst>
                <a:ext uri="{FF2B5EF4-FFF2-40B4-BE49-F238E27FC236}">
                  <a16:creationId xmlns:a16="http://schemas.microsoft.com/office/drawing/2014/main" id="{EA6FB7EC-B8C8-4235-B1BF-3AEBA2CD75B0}"/>
                </a:ext>
              </a:extLst>
            </p:cNvPr>
            <p:cNvSpPr txBox="1"/>
            <p:nvPr/>
          </p:nvSpPr>
          <p:spPr>
            <a:xfrm>
              <a:off x="351736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l</a:t>
              </a:r>
            </a:p>
          </p:txBody>
        </p:sp>
        <p:sp>
          <p:nvSpPr>
            <p:cNvPr id="67" name="TextBox 66">
              <a:extLst>
                <a:ext uri="{FF2B5EF4-FFF2-40B4-BE49-F238E27FC236}">
                  <a16:creationId xmlns:a16="http://schemas.microsoft.com/office/drawing/2014/main" id="{17C7709B-6F0B-428D-9537-C7EB6EE0BB61}"/>
                </a:ext>
              </a:extLst>
            </p:cNvPr>
            <p:cNvSpPr txBox="1"/>
            <p:nvPr/>
          </p:nvSpPr>
          <p:spPr>
            <a:xfrm>
              <a:off x="4170901"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ug</a:t>
              </a:r>
            </a:p>
          </p:txBody>
        </p:sp>
        <p:sp>
          <p:nvSpPr>
            <p:cNvPr id="68" name="TextBox 67">
              <a:extLst>
                <a:ext uri="{FF2B5EF4-FFF2-40B4-BE49-F238E27FC236}">
                  <a16:creationId xmlns:a16="http://schemas.microsoft.com/office/drawing/2014/main" id="{CA8A213F-1561-4C30-BD13-603B0EE6DBDE}"/>
                </a:ext>
              </a:extLst>
            </p:cNvPr>
            <p:cNvSpPr txBox="1"/>
            <p:nvPr/>
          </p:nvSpPr>
          <p:spPr>
            <a:xfrm>
              <a:off x="4824434"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Sep</a:t>
              </a:r>
            </a:p>
          </p:txBody>
        </p:sp>
        <p:sp>
          <p:nvSpPr>
            <p:cNvPr id="69" name="TextBox 68">
              <a:extLst>
                <a:ext uri="{FF2B5EF4-FFF2-40B4-BE49-F238E27FC236}">
                  <a16:creationId xmlns:a16="http://schemas.microsoft.com/office/drawing/2014/main" id="{CD8DFCD0-A401-4C6A-AA59-D6CC60C2F756}"/>
                </a:ext>
              </a:extLst>
            </p:cNvPr>
            <p:cNvSpPr txBox="1"/>
            <p:nvPr/>
          </p:nvSpPr>
          <p:spPr>
            <a:xfrm>
              <a:off x="5477967"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Oct</a:t>
              </a:r>
            </a:p>
          </p:txBody>
        </p:sp>
        <p:sp>
          <p:nvSpPr>
            <p:cNvPr id="70" name="TextBox 69">
              <a:extLst>
                <a:ext uri="{FF2B5EF4-FFF2-40B4-BE49-F238E27FC236}">
                  <a16:creationId xmlns:a16="http://schemas.microsoft.com/office/drawing/2014/main" id="{20B29F8E-EE95-4574-AAFF-60128777AB49}"/>
                </a:ext>
              </a:extLst>
            </p:cNvPr>
            <p:cNvSpPr txBox="1"/>
            <p:nvPr/>
          </p:nvSpPr>
          <p:spPr>
            <a:xfrm>
              <a:off x="6131500"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Nov</a:t>
              </a:r>
            </a:p>
          </p:txBody>
        </p:sp>
        <p:sp>
          <p:nvSpPr>
            <p:cNvPr id="71" name="TextBox 70">
              <a:extLst>
                <a:ext uri="{FF2B5EF4-FFF2-40B4-BE49-F238E27FC236}">
                  <a16:creationId xmlns:a16="http://schemas.microsoft.com/office/drawing/2014/main" id="{920C65CC-9F1E-4F0B-A4D9-C7520691E34B}"/>
                </a:ext>
              </a:extLst>
            </p:cNvPr>
            <p:cNvSpPr txBox="1"/>
            <p:nvPr/>
          </p:nvSpPr>
          <p:spPr>
            <a:xfrm>
              <a:off x="678503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Dec</a:t>
              </a:r>
            </a:p>
          </p:txBody>
        </p:sp>
        <p:sp>
          <p:nvSpPr>
            <p:cNvPr id="72" name="TextBox 71">
              <a:extLst>
                <a:ext uri="{FF2B5EF4-FFF2-40B4-BE49-F238E27FC236}">
                  <a16:creationId xmlns:a16="http://schemas.microsoft.com/office/drawing/2014/main" id="{3E1589C4-D448-47B0-9BAC-2549141682D0}"/>
                </a:ext>
              </a:extLst>
            </p:cNvPr>
            <p:cNvSpPr txBox="1"/>
            <p:nvPr/>
          </p:nvSpPr>
          <p:spPr>
            <a:xfrm>
              <a:off x="743856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an</a:t>
              </a:r>
            </a:p>
          </p:txBody>
        </p:sp>
        <p:sp>
          <p:nvSpPr>
            <p:cNvPr id="73" name="TextBox 72">
              <a:extLst>
                <a:ext uri="{FF2B5EF4-FFF2-40B4-BE49-F238E27FC236}">
                  <a16:creationId xmlns:a16="http://schemas.microsoft.com/office/drawing/2014/main" id="{58FCAD70-690B-4840-8035-7CCEAFD9EEA2}"/>
                </a:ext>
              </a:extLst>
            </p:cNvPr>
            <p:cNvSpPr txBox="1"/>
            <p:nvPr/>
          </p:nvSpPr>
          <p:spPr>
            <a:xfrm>
              <a:off x="809209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74" name="Straight Connector 73">
              <a:extLst>
                <a:ext uri="{FF2B5EF4-FFF2-40B4-BE49-F238E27FC236}">
                  <a16:creationId xmlns:a16="http://schemas.microsoft.com/office/drawing/2014/main" id="{8CDAEA8F-CC71-45E8-9E77-25AD390AF1DE}"/>
                </a:ext>
              </a:extLst>
            </p:cNvPr>
            <p:cNvCxnSpPr>
              <a:cxnSpLocks/>
            </p:cNvCxnSpPr>
            <p:nvPr/>
          </p:nvCxnSpPr>
          <p:spPr>
            <a:xfrm>
              <a:off x="7666229" y="756744"/>
              <a:ext cx="0" cy="252249"/>
            </a:xfrm>
            <a:prstGeom prst="line">
              <a:avLst/>
            </a:prstGeom>
            <a:ln w="19050"/>
          </p:spPr>
          <p:style>
            <a:lnRef idx="1">
              <a:schemeClr val="dk1"/>
            </a:lnRef>
            <a:fillRef idx="0">
              <a:schemeClr val="dk1"/>
            </a:fillRef>
            <a:effectRef idx="0">
              <a:schemeClr val="dk1"/>
            </a:effectRef>
            <a:fontRef idx="minor">
              <a:schemeClr val="tx1"/>
            </a:fontRef>
          </p:style>
        </p:cxnSp>
      </p:grpSp>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2" name="TextBox 31">
            <a:extLst>
              <a:ext uri="{FF2B5EF4-FFF2-40B4-BE49-F238E27FC236}">
                <a16:creationId xmlns:a16="http://schemas.microsoft.com/office/drawing/2014/main" id="{C282AFB7-0948-43EE-B391-54DC77D9DDD4}"/>
              </a:ext>
            </a:extLst>
          </p:cNvPr>
          <p:cNvSpPr txBox="1"/>
          <p:nvPr/>
        </p:nvSpPr>
        <p:spPr>
          <a:xfrm>
            <a:off x="891648" y="1261242"/>
            <a:ext cx="474810" cy="300082"/>
          </a:xfrm>
          <a:prstGeom prst="rect">
            <a:avLst/>
          </a:prstGeom>
          <a:solidFill>
            <a:schemeClr val="accent2"/>
          </a:solid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white"/>
                </a:solidFill>
                <a:effectLst/>
                <a:uLnTx/>
                <a:uFillTx/>
                <a:latin typeface="Franklin Gothic Book" panose="020B0503020102020204"/>
                <a:ea typeface="+mn-ea"/>
                <a:cs typeface="+mn-cs"/>
              </a:rPr>
              <a:t>Mar</a:t>
            </a:r>
          </a:p>
        </p:txBody>
      </p:sp>
      <p:pic>
        <p:nvPicPr>
          <p:cNvPr id="6" name="Picture 5">
            <a:extLst>
              <a:ext uri="{FF2B5EF4-FFF2-40B4-BE49-F238E27FC236}">
                <a16:creationId xmlns:a16="http://schemas.microsoft.com/office/drawing/2014/main" id="{D77A065B-485C-4626-B6B3-1329CD9FFB6D}"/>
              </a:ext>
            </a:extLst>
          </p:cNvPr>
          <p:cNvPicPr>
            <a:picLocks noChangeAspect="1"/>
          </p:cNvPicPr>
          <p:nvPr/>
        </p:nvPicPr>
        <p:blipFill rotWithShape="1">
          <a:blip r:embed="rId5"/>
          <a:srcRect t="17165" r="1811" b="12756"/>
          <a:stretch/>
        </p:blipFill>
        <p:spPr>
          <a:xfrm>
            <a:off x="959894" y="1708150"/>
            <a:ext cx="7224212" cy="2900269"/>
          </a:xfrm>
          <a:prstGeom prst="rect">
            <a:avLst/>
          </a:prstGeom>
          <a:ln>
            <a:noFill/>
          </a:ln>
          <a:effectLst>
            <a:outerShdw blurRad="292100" dist="139700" dir="2700000" algn="tl" rotWithShape="0">
              <a:srgbClr val="333333">
                <a:alpha val="65000"/>
              </a:srgbClr>
            </a:outerShdw>
          </a:effectLst>
        </p:spPr>
      </p:pic>
      <p:sp>
        <p:nvSpPr>
          <p:cNvPr id="44" name="TextBox 43">
            <a:extLst>
              <a:ext uri="{FF2B5EF4-FFF2-40B4-BE49-F238E27FC236}">
                <a16:creationId xmlns:a16="http://schemas.microsoft.com/office/drawing/2014/main" id="{B4CCDE21-271D-4E57-B39F-2C11196C8952}"/>
              </a:ext>
            </a:extLst>
          </p:cNvPr>
          <p:cNvSpPr txBox="1"/>
          <p:nvPr/>
        </p:nvSpPr>
        <p:spPr>
          <a:xfrm>
            <a:off x="0" y="4681835"/>
            <a:ext cx="6354758" cy="400110"/>
          </a:xfrm>
          <a:prstGeom prst="rect">
            <a:avLst/>
          </a:prstGeom>
          <a:noFill/>
        </p:spPr>
        <p:txBody>
          <a:bodyPr wrap="square">
            <a:spAutoFit/>
          </a:bodyPr>
          <a:lstStyle>
            <a:defPPr>
              <a:defRPr lang="en-US"/>
            </a:defPPr>
            <a:lvl1pPr>
              <a:defRPr sz="1000"/>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rPr>
              <a:t>https://www.openpharma.blog/blog/news/introducing-the-open-pharma-recommendations-for-multi-stakeholder-plain-language-summaries-of-publications-now-inviting-public-consultation/</a:t>
            </a:r>
          </a:p>
        </p:txBody>
      </p:sp>
    </p:spTree>
    <p:extLst>
      <p:ext uri="{BB962C8B-B14F-4D97-AF65-F5344CB8AC3E}">
        <p14:creationId xmlns:p14="http://schemas.microsoft.com/office/powerpoint/2010/main" val="2234853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B07560-B916-44D9-ABFB-69B6634D45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6" imgH="275" progId="TCLayout.ActiveDocument.1">
                  <p:embed/>
                </p:oleObj>
              </mc:Choice>
              <mc:Fallback>
                <p:oleObj name="think-cell Slide" r:id="rId3" imgW="276" imgH="275" progId="TCLayout.ActiveDocument.1">
                  <p:embed/>
                  <p:pic>
                    <p:nvPicPr>
                      <p:cNvPr id="4" name="Object 3" hidden="1">
                        <a:extLst>
                          <a:ext uri="{FF2B5EF4-FFF2-40B4-BE49-F238E27FC236}">
                            <a16:creationId xmlns:a16="http://schemas.microsoft.com/office/drawing/2014/main" id="{F1B07560-B916-44D9-ABFB-69B6634D45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4" name="Group 43">
            <a:extLst>
              <a:ext uri="{FF2B5EF4-FFF2-40B4-BE49-F238E27FC236}">
                <a16:creationId xmlns:a16="http://schemas.microsoft.com/office/drawing/2014/main" id="{91E36AD0-96E7-4CC4-B23C-769C0AF75AAE}"/>
              </a:ext>
            </a:extLst>
          </p:cNvPr>
          <p:cNvGrpSpPr/>
          <p:nvPr/>
        </p:nvGrpSpPr>
        <p:grpSpPr>
          <a:xfrm>
            <a:off x="249703" y="653734"/>
            <a:ext cx="8295995" cy="907590"/>
            <a:chOff x="249703" y="653734"/>
            <a:chExt cx="8295995" cy="907590"/>
          </a:xfrm>
        </p:grpSpPr>
        <p:sp>
          <p:nvSpPr>
            <p:cNvPr id="45" name="TextBox 44">
              <a:extLst>
                <a:ext uri="{FF2B5EF4-FFF2-40B4-BE49-F238E27FC236}">
                  <a16:creationId xmlns:a16="http://schemas.microsoft.com/office/drawing/2014/main" id="{6060C98E-5D62-4611-B286-6CAFBE1F52F9}"/>
                </a:ext>
              </a:extLst>
            </p:cNvPr>
            <p:cNvSpPr txBox="1"/>
            <p:nvPr/>
          </p:nvSpPr>
          <p:spPr>
            <a:xfrm>
              <a:off x="24970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46" name="Straight Connector 45">
              <a:extLst>
                <a:ext uri="{FF2B5EF4-FFF2-40B4-BE49-F238E27FC236}">
                  <a16:creationId xmlns:a16="http://schemas.microsoft.com/office/drawing/2014/main" id="{F96A488F-69DA-40F6-ABE2-A01FCCE3971E}"/>
                </a:ext>
              </a:extLst>
            </p:cNvPr>
            <p:cNvCxnSpPr>
              <a:cxnSpLocks/>
            </p:cNvCxnSpPr>
            <p:nvPr/>
          </p:nvCxnSpPr>
          <p:spPr>
            <a:xfrm>
              <a:off x="47408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26820269-2120-40E4-BF22-32926D0CF8E7}"/>
                </a:ext>
              </a:extLst>
            </p:cNvPr>
            <p:cNvCxnSpPr>
              <a:cxnSpLocks/>
            </p:cNvCxnSpPr>
            <p:nvPr/>
          </p:nvCxnSpPr>
          <p:spPr>
            <a:xfrm>
              <a:off x="832006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0AB588B0-BD6E-4095-9A35-013511A75477}"/>
                </a:ext>
              </a:extLst>
            </p:cNvPr>
            <p:cNvCxnSpPr>
              <a:cxnSpLocks/>
            </p:cNvCxnSpPr>
            <p:nvPr/>
          </p:nvCxnSpPr>
          <p:spPr>
            <a:xfrm>
              <a:off x="1127919"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1FE9412E-148F-4291-B4BD-FC9D6078AA71}"/>
                </a:ext>
              </a:extLst>
            </p:cNvPr>
            <p:cNvCxnSpPr>
              <a:cxnSpLocks/>
            </p:cNvCxnSpPr>
            <p:nvPr/>
          </p:nvCxnSpPr>
          <p:spPr>
            <a:xfrm>
              <a:off x="178175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45D60186-55A3-49B6-9BC8-286C52E91695}"/>
                </a:ext>
              </a:extLst>
            </p:cNvPr>
            <p:cNvCxnSpPr>
              <a:cxnSpLocks/>
            </p:cNvCxnSpPr>
            <p:nvPr/>
          </p:nvCxnSpPr>
          <p:spPr>
            <a:xfrm>
              <a:off x="2435581"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DC66AAB7-664B-4F31-8121-A9F77E82828B}"/>
                </a:ext>
              </a:extLst>
            </p:cNvPr>
            <p:cNvCxnSpPr>
              <a:cxnSpLocks/>
            </p:cNvCxnSpPr>
            <p:nvPr/>
          </p:nvCxnSpPr>
          <p:spPr>
            <a:xfrm>
              <a:off x="3089412"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B9EA3E04-52E1-4B34-BA0B-48F9B27CB2A9}"/>
                </a:ext>
              </a:extLst>
            </p:cNvPr>
            <p:cNvCxnSpPr>
              <a:cxnSpLocks/>
            </p:cNvCxnSpPr>
            <p:nvPr/>
          </p:nvCxnSpPr>
          <p:spPr>
            <a:xfrm>
              <a:off x="3743243"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D8BDD8D0-6244-4034-BC34-F383E7B33A74}"/>
                </a:ext>
              </a:extLst>
            </p:cNvPr>
            <p:cNvCxnSpPr>
              <a:cxnSpLocks/>
            </p:cNvCxnSpPr>
            <p:nvPr/>
          </p:nvCxnSpPr>
          <p:spPr>
            <a:xfrm>
              <a:off x="4397074"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8EFA352-1B38-476A-8111-7E66D217D430}"/>
                </a:ext>
              </a:extLst>
            </p:cNvPr>
            <p:cNvCxnSpPr>
              <a:cxnSpLocks/>
            </p:cNvCxnSpPr>
            <p:nvPr/>
          </p:nvCxnSpPr>
          <p:spPr>
            <a:xfrm>
              <a:off x="5050905"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6248BB4C-D494-40EC-8505-47253FDAF88A}"/>
                </a:ext>
              </a:extLst>
            </p:cNvPr>
            <p:cNvCxnSpPr>
              <a:cxnSpLocks/>
            </p:cNvCxnSpPr>
            <p:nvPr/>
          </p:nvCxnSpPr>
          <p:spPr>
            <a:xfrm>
              <a:off x="5704736"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F16C6538-AD88-482F-9559-FA68D03C55CB}"/>
                </a:ext>
              </a:extLst>
            </p:cNvPr>
            <p:cNvCxnSpPr>
              <a:cxnSpLocks/>
            </p:cNvCxnSpPr>
            <p:nvPr/>
          </p:nvCxnSpPr>
          <p:spPr>
            <a:xfrm>
              <a:off x="6358567"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6EBF379-7B14-48A1-AD06-F69EBF92605C}"/>
                </a:ext>
              </a:extLst>
            </p:cNvPr>
            <p:cNvCxnSpPr>
              <a:cxnSpLocks/>
            </p:cNvCxnSpPr>
            <p:nvPr/>
          </p:nvCxnSpPr>
          <p:spPr>
            <a:xfrm>
              <a:off x="701239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36810118-6F00-466A-87C5-FD3ECB9F32E5}"/>
                </a:ext>
              </a:extLst>
            </p:cNvPr>
            <p:cNvCxnSpPr>
              <a:cxnSpLocks/>
            </p:cNvCxnSpPr>
            <p:nvPr/>
          </p:nvCxnSpPr>
          <p:spPr>
            <a:xfrm>
              <a:off x="7666229" y="1001373"/>
              <a:ext cx="0" cy="252249"/>
            </a:xfrm>
            <a:prstGeom prst="line">
              <a:avLst/>
            </a:prstGeom>
            <a:ln w="19050"/>
          </p:spPr>
          <p:style>
            <a:lnRef idx="1">
              <a:schemeClr val="dk1"/>
            </a:lnRef>
            <a:fillRef idx="0">
              <a:schemeClr val="dk1"/>
            </a:fillRef>
            <a:effectRef idx="0">
              <a:schemeClr val="dk1"/>
            </a:effectRef>
            <a:fontRef idx="minor">
              <a:schemeClr val="tx1"/>
            </a:fontRef>
          </p:style>
        </p:cxnSp>
        <p:sp>
          <p:nvSpPr>
            <p:cNvPr id="59" name="TextBox 58">
              <a:extLst>
                <a:ext uri="{FF2B5EF4-FFF2-40B4-BE49-F238E27FC236}">
                  <a16:creationId xmlns:a16="http://schemas.microsoft.com/office/drawing/2014/main" id="{5EDE4829-5F11-42CC-9553-8D777FB156AD}"/>
                </a:ext>
              </a:extLst>
            </p:cNvPr>
            <p:cNvSpPr txBox="1"/>
            <p:nvPr/>
          </p:nvSpPr>
          <p:spPr>
            <a:xfrm>
              <a:off x="514449" y="653734"/>
              <a:ext cx="582532"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1</a:t>
              </a:r>
            </a:p>
          </p:txBody>
        </p:sp>
        <p:sp>
          <p:nvSpPr>
            <p:cNvPr id="60" name="TextBox 59">
              <a:extLst>
                <a:ext uri="{FF2B5EF4-FFF2-40B4-BE49-F238E27FC236}">
                  <a16:creationId xmlns:a16="http://schemas.microsoft.com/office/drawing/2014/main" id="{A92585E0-6E54-4626-8EF3-13A98D156C66}"/>
                </a:ext>
              </a:extLst>
            </p:cNvPr>
            <p:cNvSpPr txBox="1"/>
            <p:nvPr/>
          </p:nvSpPr>
          <p:spPr>
            <a:xfrm>
              <a:off x="7685631" y="656093"/>
              <a:ext cx="588623"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2</a:t>
              </a:r>
            </a:p>
          </p:txBody>
        </p:sp>
        <p:sp>
          <p:nvSpPr>
            <p:cNvPr id="61" name="TextBox 60">
              <a:extLst>
                <a:ext uri="{FF2B5EF4-FFF2-40B4-BE49-F238E27FC236}">
                  <a16:creationId xmlns:a16="http://schemas.microsoft.com/office/drawing/2014/main" id="{7FC4B2C8-0F96-4556-8A46-ACAEF7A5A767}"/>
                </a:ext>
              </a:extLst>
            </p:cNvPr>
            <p:cNvSpPr txBox="1"/>
            <p:nvPr/>
          </p:nvSpPr>
          <p:spPr>
            <a:xfrm>
              <a:off x="90323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r</a:t>
              </a:r>
            </a:p>
          </p:txBody>
        </p:sp>
        <p:sp>
          <p:nvSpPr>
            <p:cNvPr id="62" name="TextBox 61">
              <a:extLst>
                <a:ext uri="{FF2B5EF4-FFF2-40B4-BE49-F238E27FC236}">
                  <a16:creationId xmlns:a16="http://schemas.microsoft.com/office/drawing/2014/main" id="{AAEEB52F-699B-44DC-8228-BB1F85822433}"/>
                </a:ext>
              </a:extLst>
            </p:cNvPr>
            <p:cNvSpPr txBox="1"/>
            <p:nvPr/>
          </p:nvSpPr>
          <p:spPr>
            <a:xfrm>
              <a:off x="1556769"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pr</a:t>
              </a:r>
            </a:p>
          </p:txBody>
        </p:sp>
        <p:sp>
          <p:nvSpPr>
            <p:cNvPr id="63" name="TextBox 62">
              <a:extLst>
                <a:ext uri="{FF2B5EF4-FFF2-40B4-BE49-F238E27FC236}">
                  <a16:creationId xmlns:a16="http://schemas.microsoft.com/office/drawing/2014/main" id="{182D35DB-B073-41C5-AE49-C313D8CBBF08}"/>
                </a:ext>
              </a:extLst>
            </p:cNvPr>
            <p:cNvSpPr txBox="1"/>
            <p:nvPr/>
          </p:nvSpPr>
          <p:spPr>
            <a:xfrm>
              <a:off x="2210302"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y</a:t>
              </a:r>
            </a:p>
          </p:txBody>
        </p:sp>
        <p:sp>
          <p:nvSpPr>
            <p:cNvPr id="64" name="TextBox 63">
              <a:extLst>
                <a:ext uri="{FF2B5EF4-FFF2-40B4-BE49-F238E27FC236}">
                  <a16:creationId xmlns:a16="http://schemas.microsoft.com/office/drawing/2014/main" id="{566050DC-674C-4039-9F38-80DD1A78258D}"/>
                </a:ext>
              </a:extLst>
            </p:cNvPr>
            <p:cNvSpPr txBox="1"/>
            <p:nvPr/>
          </p:nvSpPr>
          <p:spPr>
            <a:xfrm>
              <a:off x="2863835"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n</a:t>
              </a:r>
            </a:p>
          </p:txBody>
        </p:sp>
        <p:sp>
          <p:nvSpPr>
            <p:cNvPr id="65" name="TextBox 64">
              <a:extLst>
                <a:ext uri="{FF2B5EF4-FFF2-40B4-BE49-F238E27FC236}">
                  <a16:creationId xmlns:a16="http://schemas.microsoft.com/office/drawing/2014/main" id="{5F774CCA-A34A-44D3-924E-15A1DB032D58}"/>
                </a:ext>
              </a:extLst>
            </p:cNvPr>
            <p:cNvSpPr txBox="1"/>
            <p:nvPr/>
          </p:nvSpPr>
          <p:spPr>
            <a:xfrm>
              <a:off x="351736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l</a:t>
              </a:r>
            </a:p>
          </p:txBody>
        </p:sp>
        <p:sp>
          <p:nvSpPr>
            <p:cNvPr id="66" name="TextBox 65">
              <a:extLst>
                <a:ext uri="{FF2B5EF4-FFF2-40B4-BE49-F238E27FC236}">
                  <a16:creationId xmlns:a16="http://schemas.microsoft.com/office/drawing/2014/main" id="{5AAD1044-733C-453B-BBD4-A96BAE15EA60}"/>
                </a:ext>
              </a:extLst>
            </p:cNvPr>
            <p:cNvSpPr txBox="1"/>
            <p:nvPr/>
          </p:nvSpPr>
          <p:spPr>
            <a:xfrm>
              <a:off x="4170901"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ug</a:t>
              </a:r>
            </a:p>
          </p:txBody>
        </p:sp>
        <p:sp>
          <p:nvSpPr>
            <p:cNvPr id="67" name="TextBox 66">
              <a:extLst>
                <a:ext uri="{FF2B5EF4-FFF2-40B4-BE49-F238E27FC236}">
                  <a16:creationId xmlns:a16="http://schemas.microsoft.com/office/drawing/2014/main" id="{8E39EE61-0F3F-43AC-B165-B7F221B99CA6}"/>
                </a:ext>
              </a:extLst>
            </p:cNvPr>
            <p:cNvSpPr txBox="1"/>
            <p:nvPr/>
          </p:nvSpPr>
          <p:spPr>
            <a:xfrm>
              <a:off x="4824434"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Sep</a:t>
              </a:r>
            </a:p>
          </p:txBody>
        </p:sp>
        <p:sp>
          <p:nvSpPr>
            <p:cNvPr id="68" name="TextBox 67">
              <a:extLst>
                <a:ext uri="{FF2B5EF4-FFF2-40B4-BE49-F238E27FC236}">
                  <a16:creationId xmlns:a16="http://schemas.microsoft.com/office/drawing/2014/main" id="{206C5D83-AC69-4581-B07A-BC7F8CB5C895}"/>
                </a:ext>
              </a:extLst>
            </p:cNvPr>
            <p:cNvSpPr txBox="1"/>
            <p:nvPr/>
          </p:nvSpPr>
          <p:spPr>
            <a:xfrm>
              <a:off x="5477967"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Oct</a:t>
              </a:r>
            </a:p>
          </p:txBody>
        </p:sp>
        <p:sp>
          <p:nvSpPr>
            <p:cNvPr id="69" name="TextBox 68">
              <a:extLst>
                <a:ext uri="{FF2B5EF4-FFF2-40B4-BE49-F238E27FC236}">
                  <a16:creationId xmlns:a16="http://schemas.microsoft.com/office/drawing/2014/main" id="{39A1C563-6B24-45D0-A9E8-062D7D68AD02}"/>
                </a:ext>
              </a:extLst>
            </p:cNvPr>
            <p:cNvSpPr txBox="1"/>
            <p:nvPr/>
          </p:nvSpPr>
          <p:spPr>
            <a:xfrm>
              <a:off x="6131500"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Nov</a:t>
              </a:r>
            </a:p>
          </p:txBody>
        </p:sp>
        <p:sp>
          <p:nvSpPr>
            <p:cNvPr id="70" name="TextBox 69">
              <a:extLst>
                <a:ext uri="{FF2B5EF4-FFF2-40B4-BE49-F238E27FC236}">
                  <a16:creationId xmlns:a16="http://schemas.microsoft.com/office/drawing/2014/main" id="{ABC2C28D-F939-46DE-B35D-19D005450DB7}"/>
                </a:ext>
              </a:extLst>
            </p:cNvPr>
            <p:cNvSpPr txBox="1"/>
            <p:nvPr/>
          </p:nvSpPr>
          <p:spPr>
            <a:xfrm>
              <a:off x="678503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Dec</a:t>
              </a:r>
            </a:p>
          </p:txBody>
        </p:sp>
        <p:sp>
          <p:nvSpPr>
            <p:cNvPr id="71" name="TextBox 70">
              <a:extLst>
                <a:ext uri="{FF2B5EF4-FFF2-40B4-BE49-F238E27FC236}">
                  <a16:creationId xmlns:a16="http://schemas.microsoft.com/office/drawing/2014/main" id="{2F7B2564-4B6B-4C74-8D63-4D9D4D0F40C3}"/>
                </a:ext>
              </a:extLst>
            </p:cNvPr>
            <p:cNvSpPr txBox="1"/>
            <p:nvPr/>
          </p:nvSpPr>
          <p:spPr>
            <a:xfrm>
              <a:off x="743856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an</a:t>
              </a:r>
            </a:p>
          </p:txBody>
        </p:sp>
        <p:sp>
          <p:nvSpPr>
            <p:cNvPr id="72" name="TextBox 71">
              <a:extLst>
                <a:ext uri="{FF2B5EF4-FFF2-40B4-BE49-F238E27FC236}">
                  <a16:creationId xmlns:a16="http://schemas.microsoft.com/office/drawing/2014/main" id="{CB54714C-4C8B-4D3C-B83B-13DBF75836DC}"/>
                </a:ext>
              </a:extLst>
            </p:cNvPr>
            <p:cNvSpPr txBox="1"/>
            <p:nvPr/>
          </p:nvSpPr>
          <p:spPr>
            <a:xfrm>
              <a:off x="809209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73" name="Straight Connector 72">
              <a:extLst>
                <a:ext uri="{FF2B5EF4-FFF2-40B4-BE49-F238E27FC236}">
                  <a16:creationId xmlns:a16="http://schemas.microsoft.com/office/drawing/2014/main" id="{501EF62F-8F50-4A71-9D59-E6FE4AE89732}"/>
                </a:ext>
              </a:extLst>
            </p:cNvPr>
            <p:cNvCxnSpPr>
              <a:cxnSpLocks/>
            </p:cNvCxnSpPr>
            <p:nvPr/>
          </p:nvCxnSpPr>
          <p:spPr>
            <a:xfrm>
              <a:off x="7666229" y="756744"/>
              <a:ext cx="0" cy="252249"/>
            </a:xfrm>
            <a:prstGeom prst="line">
              <a:avLst/>
            </a:prstGeom>
            <a:ln w="19050"/>
          </p:spPr>
          <p:style>
            <a:lnRef idx="1">
              <a:schemeClr val="dk1"/>
            </a:lnRef>
            <a:fillRef idx="0">
              <a:schemeClr val="dk1"/>
            </a:fillRef>
            <a:effectRef idx="0">
              <a:schemeClr val="dk1"/>
            </a:effectRef>
            <a:fontRef idx="minor">
              <a:schemeClr val="tx1"/>
            </a:fontRef>
          </p:style>
        </p:cxnSp>
      </p:grpSp>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8" name="TextBox 37">
            <a:extLst>
              <a:ext uri="{FF2B5EF4-FFF2-40B4-BE49-F238E27FC236}">
                <a16:creationId xmlns:a16="http://schemas.microsoft.com/office/drawing/2014/main" id="{71FD3B95-43B0-4A67-8A4A-74BE22DF3F57}"/>
              </a:ext>
            </a:extLst>
          </p:cNvPr>
          <p:cNvSpPr txBox="1"/>
          <p:nvPr/>
        </p:nvSpPr>
        <p:spPr>
          <a:xfrm>
            <a:off x="4817607" y="1261242"/>
            <a:ext cx="466794" cy="300082"/>
          </a:xfrm>
          <a:prstGeom prst="rect">
            <a:avLst/>
          </a:prstGeom>
          <a:solidFill>
            <a:schemeClr val="accent2"/>
          </a:solid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white"/>
                </a:solidFill>
                <a:effectLst/>
                <a:uLnTx/>
                <a:uFillTx/>
                <a:latin typeface="Franklin Gothic Book" panose="020B0503020102020204"/>
                <a:ea typeface="+mn-ea"/>
                <a:cs typeface="+mn-cs"/>
              </a:rPr>
              <a:t>Sep</a:t>
            </a:r>
          </a:p>
        </p:txBody>
      </p:sp>
      <p:pic>
        <p:nvPicPr>
          <p:cNvPr id="6" name="Picture 5">
            <a:extLst>
              <a:ext uri="{FF2B5EF4-FFF2-40B4-BE49-F238E27FC236}">
                <a16:creationId xmlns:a16="http://schemas.microsoft.com/office/drawing/2014/main" id="{60F80CAB-E659-41CA-9252-589ACCB3126F}"/>
              </a:ext>
            </a:extLst>
          </p:cNvPr>
          <p:cNvPicPr>
            <a:picLocks noChangeAspect="1"/>
          </p:cNvPicPr>
          <p:nvPr/>
        </p:nvPicPr>
        <p:blipFill rotWithShape="1">
          <a:blip r:embed="rId5"/>
          <a:srcRect t="16092" b="6207"/>
          <a:stretch/>
        </p:blipFill>
        <p:spPr>
          <a:xfrm>
            <a:off x="1119942" y="1704340"/>
            <a:ext cx="6918816" cy="30240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446898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1B07560-B916-44D9-ABFB-69B6634D45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6" imgH="275" progId="TCLayout.ActiveDocument.1">
                  <p:embed/>
                </p:oleObj>
              </mc:Choice>
              <mc:Fallback>
                <p:oleObj name="think-cell Slide" r:id="rId4" imgW="276" imgH="275" progId="TCLayout.ActiveDocument.1">
                  <p:embed/>
                  <p:pic>
                    <p:nvPicPr>
                      <p:cNvPr id="4" name="Object 3" hidden="1">
                        <a:extLst>
                          <a:ext uri="{FF2B5EF4-FFF2-40B4-BE49-F238E27FC236}">
                            <a16:creationId xmlns:a16="http://schemas.microsoft.com/office/drawing/2014/main" id="{F1B07560-B916-44D9-ABFB-69B6634D45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4" name="Group 43">
            <a:extLst>
              <a:ext uri="{FF2B5EF4-FFF2-40B4-BE49-F238E27FC236}">
                <a16:creationId xmlns:a16="http://schemas.microsoft.com/office/drawing/2014/main" id="{91E36AD0-96E7-4CC4-B23C-769C0AF75AAE}"/>
              </a:ext>
            </a:extLst>
          </p:cNvPr>
          <p:cNvGrpSpPr/>
          <p:nvPr/>
        </p:nvGrpSpPr>
        <p:grpSpPr>
          <a:xfrm>
            <a:off x="249703" y="653734"/>
            <a:ext cx="8295995" cy="907590"/>
            <a:chOff x="249703" y="653734"/>
            <a:chExt cx="8295995" cy="907590"/>
          </a:xfrm>
        </p:grpSpPr>
        <p:sp>
          <p:nvSpPr>
            <p:cNvPr id="45" name="TextBox 44">
              <a:extLst>
                <a:ext uri="{FF2B5EF4-FFF2-40B4-BE49-F238E27FC236}">
                  <a16:creationId xmlns:a16="http://schemas.microsoft.com/office/drawing/2014/main" id="{6060C98E-5D62-4611-B286-6CAFBE1F52F9}"/>
                </a:ext>
              </a:extLst>
            </p:cNvPr>
            <p:cNvSpPr txBox="1"/>
            <p:nvPr/>
          </p:nvSpPr>
          <p:spPr>
            <a:xfrm>
              <a:off x="24970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46" name="Straight Connector 45">
              <a:extLst>
                <a:ext uri="{FF2B5EF4-FFF2-40B4-BE49-F238E27FC236}">
                  <a16:creationId xmlns:a16="http://schemas.microsoft.com/office/drawing/2014/main" id="{F96A488F-69DA-40F6-ABE2-A01FCCE3971E}"/>
                </a:ext>
              </a:extLst>
            </p:cNvPr>
            <p:cNvCxnSpPr>
              <a:cxnSpLocks/>
            </p:cNvCxnSpPr>
            <p:nvPr/>
          </p:nvCxnSpPr>
          <p:spPr>
            <a:xfrm>
              <a:off x="47408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26820269-2120-40E4-BF22-32926D0CF8E7}"/>
                </a:ext>
              </a:extLst>
            </p:cNvPr>
            <p:cNvCxnSpPr>
              <a:cxnSpLocks/>
            </p:cNvCxnSpPr>
            <p:nvPr/>
          </p:nvCxnSpPr>
          <p:spPr>
            <a:xfrm>
              <a:off x="832006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0AB588B0-BD6E-4095-9A35-013511A75477}"/>
                </a:ext>
              </a:extLst>
            </p:cNvPr>
            <p:cNvCxnSpPr>
              <a:cxnSpLocks/>
            </p:cNvCxnSpPr>
            <p:nvPr/>
          </p:nvCxnSpPr>
          <p:spPr>
            <a:xfrm>
              <a:off x="1127919"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1FE9412E-148F-4291-B4BD-FC9D6078AA71}"/>
                </a:ext>
              </a:extLst>
            </p:cNvPr>
            <p:cNvCxnSpPr>
              <a:cxnSpLocks/>
            </p:cNvCxnSpPr>
            <p:nvPr/>
          </p:nvCxnSpPr>
          <p:spPr>
            <a:xfrm>
              <a:off x="178175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45D60186-55A3-49B6-9BC8-286C52E91695}"/>
                </a:ext>
              </a:extLst>
            </p:cNvPr>
            <p:cNvCxnSpPr>
              <a:cxnSpLocks/>
            </p:cNvCxnSpPr>
            <p:nvPr/>
          </p:nvCxnSpPr>
          <p:spPr>
            <a:xfrm>
              <a:off x="2435581"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DC66AAB7-664B-4F31-8121-A9F77E82828B}"/>
                </a:ext>
              </a:extLst>
            </p:cNvPr>
            <p:cNvCxnSpPr>
              <a:cxnSpLocks/>
            </p:cNvCxnSpPr>
            <p:nvPr/>
          </p:nvCxnSpPr>
          <p:spPr>
            <a:xfrm>
              <a:off x="3089412"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B9EA3E04-52E1-4B34-BA0B-48F9B27CB2A9}"/>
                </a:ext>
              </a:extLst>
            </p:cNvPr>
            <p:cNvCxnSpPr>
              <a:cxnSpLocks/>
            </p:cNvCxnSpPr>
            <p:nvPr/>
          </p:nvCxnSpPr>
          <p:spPr>
            <a:xfrm>
              <a:off x="3743243"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D8BDD8D0-6244-4034-BC34-F383E7B33A74}"/>
                </a:ext>
              </a:extLst>
            </p:cNvPr>
            <p:cNvCxnSpPr>
              <a:cxnSpLocks/>
            </p:cNvCxnSpPr>
            <p:nvPr/>
          </p:nvCxnSpPr>
          <p:spPr>
            <a:xfrm>
              <a:off x="4397074"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8EFA352-1B38-476A-8111-7E66D217D430}"/>
                </a:ext>
              </a:extLst>
            </p:cNvPr>
            <p:cNvCxnSpPr>
              <a:cxnSpLocks/>
            </p:cNvCxnSpPr>
            <p:nvPr/>
          </p:nvCxnSpPr>
          <p:spPr>
            <a:xfrm>
              <a:off x="5050905"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6248BB4C-D494-40EC-8505-47253FDAF88A}"/>
                </a:ext>
              </a:extLst>
            </p:cNvPr>
            <p:cNvCxnSpPr>
              <a:cxnSpLocks/>
            </p:cNvCxnSpPr>
            <p:nvPr/>
          </p:nvCxnSpPr>
          <p:spPr>
            <a:xfrm>
              <a:off x="5704736"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F16C6538-AD88-482F-9559-FA68D03C55CB}"/>
                </a:ext>
              </a:extLst>
            </p:cNvPr>
            <p:cNvCxnSpPr>
              <a:cxnSpLocks/>
            </p:cNvCxnSpPr>
            <p:nvPr/>
          </p:nvCxnSpPr>
          <p:spPr>
            <a:xfrm>
              <a:off x="6358567"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6EBF379-7B14-48A1-AD06-F69EBF92605C}"/>
                </a:ext>
              </a:extLst>
            </p:cNvPr>
            <p:cNvCxnSpPr>
              <a:cxnSpLocks/>
            </p:cNvCxnSpPr>
            <p:nvPr/>
          </p:nvCxnSpPr>
          <p:spPr>
            <a:xfrm>
              <a:off x="701239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36810118-6F00-466A-87C5-FD3ECB9F32E5}"/>
                </a:ext>
              </a:extLst>
            </p:cNvPr>
            <p:cNvCxnSpPr>
              <a:cxnSpLocks/>
            </p:cNvCxnSpPr>
            <p:nvPr/>
          </p:nvCxnSpPr>
          <p:spPr>
            <a:xfrm>
              <a:off x="7666229" y="1001373"/>
              <a:ext cx="0" cy="252249"/>
            </a:xfrm>
            <a:prstGeom prst="line">
              <a:avLst/>
            </a:prstGeom>
            <a:ln w="19050"/>
          </p:spPr>
          <p:style>
            <a:lnRef idx="1">
              <a:schemeClr val="dk1"/>
            </a:lnRef>
            <a:fillRef idx="0">
              <a:schemeClr val="dk1"/>
            </a:fillRef>
            <a:effectRef idx="0">
              <a:schemeClr val="dk1"/>
            </a:effectRef>
            <a:fontRef idx="minor">
              <a:schemeClr val="tx1"/>
            </a:fontRef>
          </p:style>
        </p:cxnSp>
        <p:sp>
          <p:nvSpPr>
            <p:cNvPr id="59" name="TextBox 58">
              <a:extLst>
                <a:ext uri="{FF2B5EF4-FFF2-40B4-BE49-F238E27FC236}">
                  <a16:creationId xmlns:a16="http://schemas.microsoft.com/office/drawing/2014/main" id="{5EDE4829-5F11-42CC-9553-8D777FB156AD}"/>
                </a:ext>
              </a:extLst>
            </p:cNvPr>
            <p:cNvSpPr txBox="1"/>
            <p:nvPr/>
          </p:nvSpPr>
          <p:spPr>
            <a:xfrm>
              <a:off x="514449" y="653734"/>
              <a:ext cx="582532"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1</a:t>
              </a:r>
            </a:p>
          </p:txBody>
        </p:sp>
        <p:sp>
          <p:nvSpPr>
            <p:cNvPr id="60" name="TextBox 59">
              <a:extLst>
                <a:ext uri="{FF2B5EF4-FFF2-40B4-BE49-F238E27FC236}">
                  <a16:creationId xmlns:a16="http://schemas.microsoft.com/office/drawing/2014/main" id="{A92585E0-6E54-4626-8EF3-13A98D156C66}"/>
                </a:ext>
              </a:extLst>
            </p:cNvPr>
            <p:cNvSpPr txBox="1"/>
            <p:nvPr/>
          </p:nvSpPr>
          <p:spPr>
            <a:xfrm>
              <a:off x="7685631" y="656093"/>
              <a:ext cx="588623"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2</a:t>
              </a:r>
            </a:p>
          </p:txBody>
        </p:sp>
        <p:sp>
          <p:nvSpPr>
            <p:cNvPr id="61" name="TextBox 60">
              <a:extLst>
                <a:ext uri="{FF2B5EF4-FFF2-40B4-BE49-F238E27FC236}">
                  <a16:creationId xmlns:a16="http://schemas.microsoft.com/office/drawing/2014/main" id="{7FC4B2C8-0F96-4556-8A46-ACAEF7A5A767}"/>
                </a:ext>
              </a:extLst>
            </p:cNvPr>
            <p:cNvSpPr txBox="1"/>
            <p:nvPr/>
          </p:nvSpPr>
          <p:spPr>
            <a:xfrm>
              <a:off x="90323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r</a:t>
              </a:r>
            </a:p>
          </p:txBody>
        </p:sp>
        <p:sp>
          <p:nvSpPr>
            <p:cNvPr id="62" name="TextBox 61">
              <a:extLst>
                <a:ext uri="{FF2B5EF4-FFF2-40B4-BE49-F238E27FC236}">
                  <a16:creationId xmlns:a16="http://schemas.microsoft.com/office/drawing/2014/main" id="{AAEEB52F-699B-44DC-8228-BB1F85822433}"/>
                </a:ext>
              </a:extLst>
            </p:cNvPr>
            <p:cNvSpPr txBox="1"/>
            <p:nvPr/>
          </p:nvSpPr>
          <p:spPr>
            <a:xfrm>
              <a:off x="1556769"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pr</a:t>
              </a:r>
            </a:p>
          </p:txBody>
        </p:sp>
        <p:sp>
          <p:nvSpPr>
            <p:cNvPr id="63" name="TextBox 62">
              <a:extLst>
                <a:ext uri="{FF2B5EF4-FFF2-40B4-BE49-F238E27FC236}">
                  <a16:creationId xmlns:a16="http://schemas.microsoft.com/office/drawing/2014/main" id="{182D35DB-B073-41C5-AE49-C313D8CBBF08}"/>
                </a:ext>
              </a:extLst>
            </p:cNvPr>
            <p:cNvSpPr txBox="1"/>
            <p:nvPr/>
          </p:nvSpPr>
          <p:spPr>
            <a:xfrm>
              <a:off x="2210302"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y</a:t>
              </a:r>
            </a:p>
          </p:txBody>
        </p:sp>
        <p:sp>
          <p:nvSpPr>
            <p:cNvPr id="64" name="TextBox 63">
              <a:extLst>
                <a:ext uri="{FF2B5EF4-FFF2-40B4-BE49-F238E27FC236}">
                  <a16:creationId xmlns:a16="http://schemas.microsoft.com/office/drawing/2014/main" id="{566050DC-674C-4039-9F38-80DD1A78258D}"/>
                </a:ext>
              </a:extLst>
            </p:cNvPr>
            <p:cNvSpPr txBox="1"/>
            <p:nvPr/>
          </p:nvSpPr>
          <p:spPr>
            <a:xfrm>
              <a:off x="2863835" y="1261242"/>
              <a:ext cx="453600" cy="300082"/>
            </a:xfrm>
            <a:prstGeom prst="rect">
              <a:avLst/>
            </a:prstGeom>
            <a:solidFill>
              <a:schemeClr val="accent2"/>
            </a:solid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white"/>
                  </a:solidFill>
                  <a:effectLst/>
                  <a:uLnTx/>
                  <a:uFillTx/>
                  <a:latin typeface="Franklin Gothic Book" panose="020B0503020102020204"/>
                  <a:ea typeface="+mn-ea"/>
                  <a:cs typeface="+mn-cs"/>
                </a:rPr>
                <a:t>Jun</a:t>
              </a:r>
            </a:p>
          </p:txBody>
        </p:sp>
        <p:sp>
          <p:nvSpPr>
            <p:cNvPr id="65" name="TextBox 64">
              <a:extLst>
                <a:ext uri="{FF2B5EF4-FFF2-40B4-BE49-F238E27FC236}">
                  <a16:creationId xmlns:a16="http://schemas.microsoft.com/office/drawing/2014/main" id="{5F774CCA-A34A-44D3-924E-15A1DB032D58}"/>
                </a:ext>
              </a:extLst>
            </p:cNvPr>
            <p:cNvSpPr txBox="1"/>
            <p:nvPr/>
          </p:nvSpPr>
          <p:spPr>
            <a:xfrm>
              <a:off x="351736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l</a:t>
              </a:r>
            </a:p>
          </p:txBody>
        </p:sp>
        <p:sp>
          <p:nvSpPr>
            <p:cNvPr id="66" name="TextBox 65">
              <a:extLst>
                <a:ext uri="{FF2B5EF4-FFF2-40B4-BE49-F238E27FC236}">
                  <a16:creationId xmlns:a16="http://schemas.microsoft.com/office/drawing/2014/main" id="{5AAD1044-733C-453B-BBD4-A96BAE15EA60}"/>
                </a:ext>
              </a:extLst>
            </p:cNvPr>
            <p:cNvSpPr txBox="1"/>
            <p:nvPr/>
          </p:nvSpPr>
          <p:spPr>
            <a:xfrm>
              <a:off x="4170901"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ug</a:t>
              </a:r>
            </a:p>
          </p:txBody>
        </p:sp>
        <p:sp>
          <p:nvSpPr>
            <p:cNvPr id="67" name="TextBox 66">
              <a:extLst>
                <a:ext uri="{FF2B5EF4-FFF2-40B4-BE49-F238E27FC236}">
                  <a16:creationId xmlns:a16="http://schemas.microsoft.com/office/drawing/2014/main" id="{8E39EE61-0F3F-43AC-B165-B7F221B99CA6}"/>
                </a:ext>
              </a:extLst>
            </p:cNvPr>
            <p:cNvSpPr txBox="1"/>
            <p:nvPr/>
          </p:nvSpPr>
          <p:spPr>
            <a:xfrm>
              <a:off x="4824434" y="1261242"/>
              <a:ext cx="466794"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Sep</a:t>
              </a:r>
            </a:p>
          </p:txBody>
        </p:sp>
        <p:sp>
          <p:nvSpPr>
            <p:cNvPr id="68" name="TextBox 67">
              <a:extLst>
                <a:ext uri="{FF2B5EF4-FFF2-40B4-BE49-F238E27FC236}">
                  <a16:creationId xmlns:a16="http://schemas.microsoft.com/office/drawing/2014/main" id="{206C5D83-AC69-4581-B07A-BC7F8CB5C895}"/>
                </a:ext>
              </a:extLst>
            </p:cNvPr>
            <p:cNvSpPr txBox="1"/>
            <p:nvPr/>
          </p:nvSpPr>
          <p:spPr>
            <a:xfrm>
              <a:off x="5477967"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Oct</a:t>
              </a:r>
            </a:p>
          </p:txBody>
        </p:sp>
        <p:sp>
          <p:nvSpPr>
            <p:cNvPr id="69" name="TextBox 68">
              <a:extLst>
                <a:ext uri="{FF2B5EF4-FFF2-40B4-BE49-F238E27FC236}">
                  <a16:creationId xmlns:a16="http://schemas.microsoft.com/office/drawing/2014/main" id="{39A1C563-6B24-45D0-A9E8-062D7D68AD02}"/>
                </a:ext>
              </a:extLst>
            </p:cNvPr>
            <p:cNvSpPr txBox="1"/>
            <p:nvPr/>
          </p:nvSpPr>
          <p:spPr>
            <a:xfrm>
              <a:off x="6131500"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Nov</a:t>
              </a:r>
            </a:p>
          </p:txBody>
        </p:sp>
        <p:sp>
          <p:nvSpPr>
            <p:cNvPr id="70" name="TextBox 69">
              <a:extLst>
                <a:ext uri="{FF2B5EF4-FFF2-40B4-BE49-F238E27FC236}">
                  <a16:creationId xmlns:a16="http://schemas.microsoft.com/office/drawing/2014/main" id="{ABC2C28D-F939-46DE-B35D-19D005450DB7}"/>
                </a:ext>
              </a:extLst>
            </p:cNvPr>
            <p:cNvSpPr txBox="1"/>
            <p:nvPr/>
          </p:nvSpPr>
          <p:spPr>
            <a:xfrm>
              <a:off x="678503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Dec</a:t>
              </a:r>
            </a:p>
          </p:txBody>
        </p:sp>
        <p:sp>
          <p:nvSpPr>
            <p:cNvPr id="71" name="TextBox 70">
              <a:extLst>
                <a:ext uri="{FF2B5EF4-FFF2-40B4-BE49-F238E27FC236}">
                  <a16:creationId xmlns:a16="http://schemas.microsoft.com/office/drawing/2014/main" id="{2F7B2564-4B6B-4C74-8D63-4D9D4D0F40C3}"/>
                </a:ext>
              </a:extLst>
            </p:cNvPr>
            <p:cNvSpPr txBox="1"/>
            <p:nvPr/>
          </p:nvSpPr>
          <p:spPr>
            <a:xfrm>
              <a:off x="743856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an</a:t>
              </a:r>
            </a:p>
          </p:txBody>
        </p:sp>
        <p:sp>
          <p:nvSpPr>
            <p:cNvPr id="72" name="TextBox 71">
              <a:extLst>
                <a:ext uri="{FF2B5EF4-FFF2-40B4-BE49-F238E27FC236}">
                  <a16:creationId xmlns:a16="http://schemas.microsoft.com/office/drawing/2014/main" id="{CB54714C-4C8B-4D3C-B83B-13DBF75836DC}"/>
                </a:ext>
              </a:extLst>
            </p:cNvPr>
            <p:cNvSpPr txBox="1"/>
            <p:nvPr/>
          </p:nvSpPr>
          <p:spPr>
            <a:xfrm>
              <a:off x="809209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73" name="Straight Connector 72">
              <a:extLst>
                <a:ext uri="{FF2B5EF4-FFF2-40B4-BE49-F238E27FC236}">
                  <a16:creationId xmlns:a16="http://schemas.microsoft.com/office/drawing/2014/main" id="{501EF62F-8F50-4A71-9D59-E6FE4AE89732}"/>
                </a:ext>
              </a:extLst>
            </p:cNvPr>
            <p:cNvCxnSpPr>
              <a:cxnSpLocks/>
            </p:cNvCxnSpPr>
            <p:nvPr/>
          </p:nvCxnSpPr>
          <p:spPr>
            <a:xfrm>
              <a:off x="7666229" y="756744"/>
              <a:ext cx="0" cy="252249"/>
            </a:xfrm>
            <a:prstGeom prst="line">
              <a:avLst/>
            </a:prstGeom>
            <a:ln w="19050"/>
          </p:spPr>
          <p:style>
            <a:lnRef idx="1">
              <a:schemeClr val="dk1"/>
            </a:lnRef>
            <a:fillRef idx="0">
              <a:schemeClr val="dk1"/>
            </a:fillRef>
            <a:effectRef idx="0">
              <a:schemeClr val="dk1"/>
            </a:effectRef>
            <a:fontRef idx="minor">
              <a:schemeClr val="tx1"/>
            </a:fontRef>
          </p:style>
        </p:cxnSp>
      </p:grpSp>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7" name="Picture 6">
            <a:extLst>
              <a:ext uri="{FF2B5EF4-FFF2-40B4-BE49-F238E27FC236}">
                <a16:creationId xmlns:a16="http://schemas.microsoft.com/office/drawing/2014/main" id="{F3E63D95-738D-4E8D-9C57-BAF45667291E}"/>
              </a:ext>
            </a:extLst>
          </p:cNvPr>
          <p:cNvPicPr>
            <a:picLocks noChangeAspect="1"/>
          </p:cNvPicPr>
          <p:nvPr/>
        </p:nvPicPr>
        <p:blipFill rotWithShape="1">
          <a:blip r:embed="rId6"/>
          <a:srcRect t="1166"/>
          <a:stretch/>
        </p:blipFill>
        <p:spPr>
          <a:xfrm>
            <a:off x="2518356" y="1782742"/>
            <a:ext cx="4212289" cy="2751011"/>
          </a:xfrm>
          <a:prstGeom prst="rect">
            <a:avLst/>
          </a:prstGeom>
          <a:ln>
            <a:noFill/>
          </a:ln>
          <a:effectLst>
            <a:outerShdw blurRad="292100" dist="139700" dir="2700000" algn="tl" rotWithShape="0">
              <a:srgbClr val="333333">
                <a:alpha val="65000"/>
              </a:srgbClr>
            </a:outerShdw>
          </a:effectLst>
        </p:spPr>
      </p:pic>
      <p:sp>
        <p:nvSpPr>
          <p:cNvPr id="40" name="TextBox 39">
            <a:extLst>
              <a:ext uri="{FF2B5EF4-FFF2-40B4-BE49-F238E27FC236}">
                <a16:creationId xmlns:a16="http://schemas.microsoft.com/office/drawing/2014/main" id="{0EF7F58B-C70C-4901-973D-1A009F2F76BB}"/>
              </a:ext>
            </a:extLst>
          </p:cNvPr>
          <p:cNvSpPr txBox="1"/>
          <p:nvPr/>
        </p:nvSpPr>
        <p:spPr>
          <a:xfrm>
            <a:off x="0" y="4755171"/>
            <a:ext cx="4572000" cy="246221"/>
          </a:xfrm>
          <a:prstGeom prst="rect">
            <a:avLst/>
          </a:prstGeom>
          <a:noFill/>
        </p:spPr>
        <p:txBody>
          <a:bodyPr wrap="square">
            <a:spAutoFit/>
          </a:bodyPr>
          <a:lstStyle>
            <a:defPPr>
              <a:defRPr lang="en-US"/>
            </a:defPPr>
            <a:lvl1pPr>
              <a:defRPr sz="1000"/>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rPr>
              <a:t>https://pemsuite.org/How-to-Guides/WG5.pdf</a:t>
            </a:r>
          </a:p>
        </p:txBody>
      </p:sp>
    </p:spTree>
    <p:extLst>
      <p:ext uri="{BB962C8B-B14F-4D97-AF65-F5344CB8AC3E}">
        <p14:creationId xmlns:p14="http://schemas.microsoft.com/office/powerpoint/2010/main" val="6945896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Content Placeholder 2">
            <a:extLst>
              <a:ext uri="{FF2B5EF4-FFF2-40B4-BE49-F238E27FC236}">
                <a16:creationId xmlns:a16="http://schemas.microsoft.com/office/drawing/2014/main" id="{D59FAA3D-6388-4573-9CF1-E44C113827C6}"/>
              </a:ext>
            </a:extLst>
          </p:cNvPr>
          <p:cNvSpPr txBox="1">
            <a:spLocks/>
          </p:cNvSpPr>
          <p:nvPr/>
        </p:nvSpPr>
        <p:spPr bwMode="auto">
          <a:xfrm>
            <a:off x="1124709" y="980290"/>
            <a:ext cx="6640171" cy="876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4286" rIns="0" bIns="34286" anchor="t"/>
          <a:lstStyle>
            <a:lvl1pPr eaLnBrk="0" hangingPunct="0">
              <a:spcBef>
                <a:spcPts val="600"/>
              </a:spcBef>
              <a:spcAft>
                <a:spcPts val="600"/>
              </a:spcAft>
              <a:buClr>
                <a:srgbClr val="FF6600"/>
              </a:buClr>
              <a:buSzPct val="130000"/>
              <a:buFont typeface="Arial" pitchFamily="34" charset="0"/>
              <a:buChar char="•"/>
              <a:tabLst>
                <a:tab pos="1435100" algn="l"/>
              </a:tabLst>
              <a:defRPr sz="2800">
                <a:solidFill>
                  <a:srgbClr val="142F92"/>
                </a:solidFill>
                <a:latin typeface="Arial Narrow" pitchFamily="34" charset="0"/>
                <a:cs typeface="Arial" pitchFamily="34" charset="0"/>
              </a:defRPr>
            </a:lvl1pPr>
            <a:lvl2pPr marL="742950" indent="-285750" eaLnBrk="0" hangingPunct="0">
              <a:spcBef>
                <a:spcPts val="600"/>
              </a:spcBef>
              <a:spcAft>
                <a:spcPts val="600"/>
              </a:spcAft>
              <a:buClr>
                <a:srgbClr val="FF6600"/>
              </a:buClr>
              <a:buSzPct val="130000"/>
              <a:buFont typeface="Arial Narrow" pitchFamily="34" charset="0"/>
              <a:buChar char="–"/>
              <a:tabLst>
                <a:tab pos="1435100" algn="l"/>
              </a:tabLst>
              <a:defRPr sz="2400">
                <a:solidFill>
                  <a:srgbClr val="142F92"/>
                </a:solidFill>
                <a:latin typeface="Arial Narrow" pitchFamily="34" charset="0"/>
                <a:cs typeface="Arial" pitchFamily="34" charset="0"/>
              </a:defRPr>
            </a:lvl2pPr>
            <a:lvl3pPr marL="1143000" indent="-228600" eaLnBrk="0" hangingPunct="0">
              <a:spcBef>
                <a:spcPts val="600"/>
              </a:spcBef>
              <a:spcAft>
                <a:spcPts val="600"/>
              </a:spcAft>
              <a:buClr>
                <a:srgbClr val="FF6600"/>
              </a:buClr>
              <a:buSzPct val="130000"/>
              <a:buFont typeface="Arial" pitchFamily="34" charset="0"/>
              <a:buChar char="•"/>
              <a:tabLst>
                <a:tab pos="1435100" algn="l"/>
              </a:tabLst>
              <a:defRPr sz="2000">
                <a:solidFill>
                  <a:srgbClr val="142F92"/>
                </a:solidFill>
                <a:latin typeface="Arial Narrow" pitchFamily="34" charset="0"/>
                <a:cs typeface="Arial" pitchFamily="34" charset="0"/>
              </a:defRPr>
            </a:lvl3pPr>
            <a:lvl4pPr marL="1600200" indent="-228600" eaLnBrk="0" hangingPunct="0">
              <a:spcBef>
                <a:spcPts val="600"/>
              </a:spcBef>
              <a:spcAft>
                <a:spcPts val="600"/>
              </a:spcAft>
              <a:buClr>
                <a:srgbClr val="FF6600"/>
              </a:buClr>
              <a:buSzPct val="130000"/>
              <a:buFont typeface="Arial Narrow" pitchFamily="34" charset="0"/>
              <a:buChar char="–"/>
              <a:tabLst>
                <a:tab pos="1435100" algn="l"/>
              </a:tabLst>
              <a:defRPr>
                <a:solidFill>
                  <a:srgbClr val="142F92"/>
                </a:solidFill>
                <a:latin typeface="Arial Narrow" pitchFamily="34" charset="0"/>
                <a:cs typeface="Arial" pitchFamily="34" charset="0"/>
              </a:defRPr>
            </a:lvl4pPr>
            <a:lvl5pPr marL="2057400" indent="-228600" eaLnBrk="0"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5pPr>
            <a:lvl6pPr marL="25146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6pPr>
            <a:lvl7pPr marL="29718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7pPr>
            <a:lvl8pPr marL="34290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8pPr>
            <a:lvl9pPr marL="3886200" indent="-228600" eaLnBrk="0" fontAlgn="base" hangingPunct="0">
              <a:spcBef>
                <a:spcPts val="600"/>
              </a:spcBef>
              <a:spcAft>
                <a:spcPts val="600"/>
              </a:spcAft>
              <a:buClr>
                <a:srgbClr val="FF6600"/>
              </a:buClr>
              <a:buSzPct val="130000"/>
              <a:buFont typeface="Arial" pitchFamily="34" charset="0"/>
              <a:buChar char="•"/>
              <a:tabLst>
                <a:tab pos="1435100" algn="l"/>
              </a:tabLst>
              <a:defRPr sz="1600">
                <a:solidFill>
                  <a:srgbClr val="142F92"/>
                </a:solidFill>
                <a:latin typeface="Arial Narrow" pitchFamily="34" charset="0"/>
                <a:cs typeface="Arial" pitchFamily="34" charset="0"/>
              </a:defRPr>
            </a:lvl9pPr>
          </a:lstStyle>
          <a:p>
            <a:pPr defTabSz="342884" fontAlgn="base">
              <a:lnSpc>
                <a:spcPct val="110000"/>
              </a:lnSpc>
              <a:spcBef>
                <a:spcPts val="450"/>
              </a:spcBef>
              <a:spcAft>
                <a:spcPts val="450"/>
              </a:spcAft>
              <a:buNone/>
              <a:tabLst>
                <a:tab pos="1076271" algn="l"/>
              </a:tabLst>
              <a:defRPr/>
            </a:pPr>
            <a:r>
              <a:rPr lang="en-US" altLang="en-US" sz="2400" dirty="0">
                <a:solidFill>
                  <a:srgbClr val="0070C0"/>
                </a:solidFill>
                <a:latin typeface="Franklin Gothic Book" panose="020B0503020102020204"/>
                <a:ea typeface="ＭＳ Ｐゴシック"/>
                <a:cs typeface="Calibri"/>
              </a:rPr>
              <a:t>. . . </a:t>
            </a:r>
            <a:r>
              <a:rPr lang="en-US" altLang="en-US" sz="2400" spc="-23" dirty="0">
                <a:solidFill>
                  <a:srgbClr val="0070C0"/>
                </a:solidFill>
                <a:latin typeface="Franklin Gothic Book" panose="020B0503020102020204"/>
                <a:ea typeface="ＭＳ Ｐゴシック"/>
                <a:cs typeface="Calibri"/>
              </a:rPr>
              <a:t>the following Titanium and Platinum Corporate Sponsors for their ongoing support of the Society:</a:t>
            </a:r>
          </a:p>
          <a:p>
            <a:pPr defTabSz="342884" fontAlgn="base">
              <a:spcBef>
                <a:spcPts val="450"/>
              </a:spcBef>
              <a:spcAft>
                <a:spcPts val="450"/>
              </a:spcAft>
              <a:buNone/>
              <a:tabLst>
                <a:tab pos="1076271" algn="l"/>
              </a:tabLst>
              <a:defRPr/>
            </a:pPr>
            <a:endParaRPr lang="en-US" altLang="en-US" sz="2400" dirty="0">
              <a:solidFill>
                <a:srgbClr val="0000FF"/>
              </a:solidFill>
              <a:latin typeface="Arial Narrow"/>
              <a:ea typeface="ＭＳ Ｐゴシック" pitchFamily="34" charset="-128"/>
              <a:cs typeface="Calibri" pitchFamily="34" charset="0"/>
            </a:endParaRPr>
          </a:p>
          <a:p>
            <a:pPr defTabSz="342884" fontAlgn="base">
              <a:spcBef>
                <a:spcPts val="450"/>
              </a:spcBef>
              <a:spcAft>
                <a:spcPts val="450"/>
              </a:spcAft>
              <a:buNone/>
              <a:tabLst>
                <a:tab pos="1076271" algn="l"/>
              </a:tabLst>
              <a:defRPr/>
            </a:pPr>
            <a:endParaRPr lang="en-US" altLang="en-US" sz="2400" dirty="0">
              <a:solidFill>
                <a:srgbClr val="0000FF"/>
              </a:solidFill>
              <a:latin typeface="Arial Narrow"/>
              <a:ea typeface="ＭＳ Ｐゴシック" pitchFamily="34" charset="-128"/>
              <a:cs typeface="Calibri" pitchFamily="34" charset="0"/>
            </a:endParaRPr>
          </a:p>
          <a:p>
            <a:pPr defTabSz="342884">
              <a:buNone/>
              <a:tabLst>
                <a:tab pos="1076271" algn="l"/>
              </a:tabLst>
              <a:defRPr/>
            </a:pPr>
            <a:endParaRPr lang="en-US" altLang="en-US" sz="2400" dirty="0">
              <a:solidFill>
                <a:srgbClr val="0000FF"/>
              </a:solidFill>
              <a:latin typeface="Arial Narrow"/>
              <a:ea typeface="ＭＳ Ｐゴシック" pitchFamily="34" charset="-128"/>
              <a:cs typeface="Calibri" pitchFamily="34" charset="0"/>
            </a:endParaRPr>
          </a:p>
          <a:p>
            <a:pPr defTabSz="342884">
              <a:buNone/>
              <a:tabLst>
                <a:tab pos="1076271" algn="l"/>
              </a:tabLst>
              <a:defRPr/>
            </a:pPr>
            <a:endParaRPr lang="en-US" altLang="en-US" sz="2400" dirty="0">
              <a:solidFill>
                <a:srgbClr val="0000FF"/>
              </a:solidFill>
              <a:latin typeface="Arial Narrow"/>
              <a:ea typeface="ＭＳ Ｐゴシック" pitchFamily="34" charset="-128"/>
              <a:cs typeface="Calibri" pitchFamily="34" charset="0"/>
            </a:endParaRPr>
          </a:p>
          <a:p>
            <a:pPr defTabSz="342884">
              <a:buNone/>
              <a:tabLst>
                <a:tab pos="1076271" algn="l"/>
              </a:tabLst>
              <a:defRPr/>
            </a:pPr>
            <a:endParaRPr lang="en-US" altLang="en-US" sz="2400" dirty="0">
              <a:solidFill>
                <a:srgbClr val="0000FF"/>
              </a:solidFill>
              <a:latin typeface="Arial Narrow"/>
              <a:ea typeface="ＭＳ Ｐゴシック" pitchFamily="34" charset="-128"/>
              <a:cs typeface="Calibri" pitchFamily="34" charset="0"/>
            </a:endParaRPr>
          </a:p>
          <a:p>
            <a:pPr defTabSz="342884">
              <a:buNone/>
              <a:tabLst>
                <a:tab pos="1076271" algn="l"/>
              </a:tabLst>
              <a:defRPr/>
            </a:pPr>
            <a:endParaRPr lang="en-US" altLang="en-US" sz="2400" dirty="0">
              <a:solidFill>
                <a:srgbClr val="0000FF"/>
              </a:solidFill>
              <a:latin typeface="Arial Narrow"/>
              <a:ea typeface="ＭＳ Ｐゴシック" pitchFamily="34" charset="-128"/>
              <a:cs typeface="Calibri" pitchFamily="34" charset="0"/>
            </a:endParaRPr>
          </a:p>
          <a:p>
            <a:pPr defTabSz="342884">
              <a:spcBef>
                <a:spcPts val="450"/>
              </a:spcBef>
              <a:spcAft>
                <a:spcPts val="450"/>
              </a:spcAft>
              <a:buNone/>
              <a:tabLst>
                <a:tab pos="1076271" algn="l"/>
              </a:tabLst>
              <a:defRPr/>
            </a:pPr>
            <a:endParaRPr lang="en-US" altLang="en-US" sz="2400" dirty="0">
              <a:solidFill>
                <a:srgbClr val="0000FF"/>
              </a:solidFill>
              <a:latin typeface="Arial Narrow"/>
              <a:ea typeface="ＭＳ Ｐゴシック" pitchFamily="34" charset="-128"/>
              <a:cs typeface="Calibri" pitchFamily="34" charset="0"/>
            </a:endParaRPr>
          </a:p>
        </p:txBody>
      </p:sp>
      <p:sp>
        <p:nvSpPr>
          <p:cNvPr id="19" name="Title 1">
            <a:extLst>
              <a:ext uri="{FF2B5EF4-FFF2-40B4-BE49-F238E27FC236}">
                <a16:creationId xmlns:a16="http://schemas.microsoft.com/office/drawing/2014/main" id="{6559E723-3C3E-46F7-8BEB-29876CC8CD34}"/>
              </a:ext>
            </a:extLst>
          </p:cNvPr>
          <p:cNvSpPr>
            <a:spLocks noGrp="1"/>
          </p:cNvSpPr>
          <p:nvPr>
            <p:ph type="title"/>
          </p:nvPr>
        </p:nvSpPr>
        <p:spPr>
          <a:xfrm>
            <a:off x="857251" y="89467"/>
            <a:ext cx="7462661" cy="848222"/>
          </a:xfrm>
        </p:spPr>
        <p:txBody>
          <a:bodyPr>
            <a:normAutofit/>
          </a:bodyPr>
          <a:lstStyle/>
          <a:p>
            <a:pPr>
              <a:defRPr/>
            </a:pPr>
            <a:r>
              <a:rPr lang="en-US" sz="3100" dirty="0"/>
              <a:t>ISMPP Would Like to Thank…</a:t>
            </a:r>
            <a:endParaRPr sz="3100" dirty="0"/>
          </a:p>
        </p:txBody>
      </p:sp>
      <p:sp>
        <p:nvSpPr>
          <p:cNvPr id="18" name="Slide Number Placeholder 2">
            <a:extLst>
              <a:ext uri="{FF2B5EF4-FFF2-40B4-BE49-F238E27FC236}">
                <a16:creationId xmlns:a16="http://schemas.microsoft.com/office/drawing/2014/main" id="{13CB7A10-4206-4923-8BB7-E8518E49EABA}"/>
              </a:ext>
            </a:extLst>
          </p:cNvPr>
          <p:cNvSpPr txBox="1">
            <a:spLocks/>
          </p:cNvSpPr>
          <p:nvPr/>
        </p:nvSpPr>
        <p:spPr bwMode="auto">
          <a:xfrm>
            <a:off x="7405688" y="111921"/>
            <a:ext cx="1600200" cy="2738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defPPr>
              <a:defRPr lang="en-US"/>
            </a:defPPr>
            <a:lvl1pPr marL="0" algn="l" defTabSz="685800" rtl="0" eaLnBrk="1" latinLnBrk="0" hangingPunct="1">
              <a:spcBef>
                <a:spcPct val="20000"/>
              </a:spcBef>
              <a:buClr>
                <a:srgbClr val="FF6600"/>
              </a:buClr>
              <a:buSzPct val="100000"/>
              <a:buFont typeface="Arial" pitchFamily="34" charset="0"/>
              <a:buChar char="•"/>
              <a:defRPr sz="2100" kern="1200">
                <a:solidFill>
                  <a:srgbClr val="FBFBFB"/>
                </a:solidFill>
                <a:latin typeface="Arial" pitchFamily="34" charset="0"/>
                <a:ea typeface="+mn-ea"/>
                <a:cs typeface="Arial" pitchFamily="34" charset="0"/>
              </a:defRPr>
            </a:lvl1pPr>
            <a:lvl2pPr marL="557213" indent="-214313" algn="l" defTabSz="685800" rtl="0" eaLnBrk="1" latinLnBrk="0" hangingPunct="1">
              <a:spcBef>
                <a:spcPct val="20000"/>
              </a:spcBef>
              <a:buClr>
                <a:srgbClr val="FF6600"/>
              </a:buClr>
              <a:buSzPct val="110000"/>
              <a:buFont typeface="Arial" pitchFamily="34" charset="0"/>
              <a:buChar char="•"/>
              <a:defRPr sz="1800" kern="1200">
                <a:solidFill>
                  <a:srgbClr val="FBFBFB"/>
                </a:solidFill>
                <a:latin typeface="Arial" pitchFamily="34" charset="0"/>
                <a:ea typeface="+mn-ea"/>
                <a:cs typeface="Arial" pitchFamily="34" charset="0"/>
              </a:defRPr>
            </a:lvl2pPr>
            <a:lvl3pPr marL="857250" indent="-171450" algn="l" defTabSz="685800" rtl="0" eaLnBrk="1" latinLnBrk="0" hangingPunct="1">
              <a:spcBef>
                <a:spcPct val="20000"/>
              </a:spcBef>
              <a:buClr>
                <a:srgbClr val="FF6600"/>
              </a:buClr>
              <a:buSzPct val="110000"/>
              <a:buFont typeface="Arial" pitchFamily="34" charset="0"/>
              <a:buChar char="•"/>
              <a:defRPr sz="1500" kern="1200">
                <a:solidFill>
                  <a:srgbClr val="FBFBFB"/>
                </a:solidFill>
                <a:latin typeface="Arial" pitchFamily="34" charset="0"/>
                <a:ea typeface="+mn-ea"/>
                <a:cs typeface="Arial" pitchFamily="34" charset="0"/>
              </a:defRPr>
            </a:lvl3pPr>
            <a:lvl4pPr marL="12001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4pPr>
            <a:lvl5pPr marL="1543050" indent="-171450" algn="l" defTabSz="685800" rtl="0" eaLnBrk="1" latinLnBrk="0" hangingPunct="1">
              <a:spcBef>
                <a:spcPct val="20000"/>
              </a:spcBef>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5pPr>
            <a:lvl6pPr marL="18859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6pPr>
            <a:lvl7pPr marL="22288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7pPr>
            <a:lvl8pPr marL="25717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8pPr>
            <a:lvl9pPr marL="2914650" indent="-171450" algn="l" defTabSz="685800" rtl="0" eaLnBrk="1" fontAlgn="base" latinLnBrk="0" hangingPunct="1">
              <a:spcBef>
                <a:spcPct val="20000"/>
              </a:spcBef>
              <a:spcAft>
                <a:spcPct val="0"/>
              </a:spcAft>
              <a:buClr>
                <a:srgbClr val="FF6600"/>
              </a:buClr>
              <a:buSzPct val="110000"/>
              <a:buFont typeface="Arial" pitchFamily="34" charset="0"/>
              <a:buChar char="•"/>
              <a:defRPr sz="1350" kern="1200">
                <a:solidFill>
                  <a:srgbClr val="FBFBFB"/>
                </a:solidFill>
                <a:latin typeface="Arial" pitchFamily="34" charset="0"/>
                <a:ea typeface="+mn-ea"/>
                <a:cs typeface="Arial" pitchFamily="34" charset="0"/>
              </a:defRPr>
            </a:lvl9pPr>
          </a:lstStyle>
          <a:p>
            <a:pPr algn="r" defTabSz="685766" fontAlgn="base">
              <a:spcBef>
                <a:spcPct val="0"/>
              </a:spcBef>
              <a:spcAft>
                <a:spcPct val="0"/>
              </a:spcAft>
              <a:buClrTx/>
              <a:buSzTx/>
              <a:buNone/>
              <a:defRPr/>
            </a:pPr>
            <a:r>
              <a:rPr lang="en-US" altLang="en-US" sz="1350" b="1">
                <a:solidFill>
                  <a:prstClr val="black"/>
                </a:solidFill>
                <a:latin typeface="Arial Narrow" pitchFamily="34" charset="0"/>
              </a:rPr>
              <a:t>1</a:t>
            </a:r>
          </a:p>
        </p:txBody>
      </p:sp>
      <p:pic>
        <p:nvPicPr>
          <p:cNvPr id="4" name="Picture 3" descr="A picture containing company name&#10;&#10;Description automatically generated">
            <a:extLst>
              <a:ext uri="{FF2B5EF4-FFF2-40B4-BE49-F238E27FC236}">
                <a16:creationId xmlns:a16="http://schemas.microsoft.com/office/drawing/2014/main" id="{7A6A6E5B-D513-4D53-8432-967D6387BDFB}"/>
              </a:ext>
            </a:extLst>
          </p:cNvPr>
          <p:cNvPicPr>
            <a:picLocks noChangeAspect="1"/>
          </p:cNvPicPr>
          <p:nvPr/>
        </p:nvPicPr>
        <p:blipFill rotWithShape="1">
          <a:blip r:embed="rId3">
            <a:extLst>
              <a:ext uri="{28A0092B-C50C-407E-A947-70E740481C1C}">
                <a14:useLocalDpi xmlns:a14="http://schemas.microsoft.com/office/drawing/2010/main" val="0"/>
              </a:ext>
            </a:extLst>
          </a:blip>
          <a:srcRect l="29491" r="3373"/>
          <a:stretch/>
        </p:blipFill>
        <p:spPr>
          <a:xfrm>
            <a:off x="645849" y="1869820"/>
            <a:ext cx="7606480" cy="2832992"/>
          </a:xfrm>
          <a:prstGeom prst="rect">
            <a:avLst/>
          </a:prstGeom>
        </p:spPr>
      </p:pic>
    </p:spTree>
    <p:extLst>
      <p:ext uri="{BB962C8B-B14F-4D97-AF65-F5344CB8AC3E}">
        <p14:creationId xmlns:p14="http://schemas.microsoft.com/office/powerpoint/2010/main" val="37028053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7" name="TextBox 36">
            <a:extLst>
              <a:ext uri="{FF2B5EF4-FFF2-40B4-BE49-F238E27FC236}">
                <a16:creationId xmlns:a16="http://schemas.microsoft.com/office/drawing/2014/main" id="{5A2A8253-27D7-4486-A175-EEB45484BDD8}"/>
              </a:ext>
            </a:extLst>
          </p:cNvPr>
          <p:cNvSpPr txBox="1"/>
          <p:nvPr/>
        </p:nvSpPr>
        <p:spPr>
          <a:xfrm>
            <a:off x="4169948" y="1261242"/>
            <a:ext cx="454355" cy="300082"/>
          </a:xfrm>
          <a:prstGeom prst="rect">
            <a:avLst/>
          </a:prstGeom>
          <a:solidFill>
            <a:schemeClr val="accent2"/>
          </a:solid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white"/>
                </a:solidFill>
                <a:effectLst/>
                <a:uLnTx/>
                <a:uFillTx/>
                <a:latin typeface="Franklin Gothic Book" panose="020B0503020102020204"/>
                <a:ea typeface="+mn-ea"/>
                <a:cs typeface="+mn-cs"/>
              </a:rPr>
              <a:t>Aug</a:t>
            </a:r>
          </a:p>
        </p:txBody>
      </p:sp>
      <p:grpSp>
        <p:nvGrpSpPr>
          <p:cNvPr id="4" name="Group 3">
            <a:extLst>
              <a:ext uri="{FF2B5EF4-FFF2-40B4-BE49-F238E27FC236}">
                <a16:creationId xmlns:a16="http://schemas.microsoft.com/office/drawing/2014/main" id="{AF0E228F-D7C8-47DF-BB92-BCD6FF2DDF57}"/>
              </a:ext>
            </a:extLst>
          </p:cNvPr>
          <p:cNvGrpSpPr/>
          <p:nvPr/>
        </p:nvGrpSpPr>
        <p:grpSpPr>
          <a:xfrm>
            <a:off x="394137" y="1594694"/>
            <a:ext cx="8151562" cy="1633250"/>
            <a:chOff x="394137" y="1561324"/>
            <a:chExt cx="8151562" cy="1633250"/>
          </a:xfrm>
        </p:grpSpPr>
        <p:sp>
          <p:nvSpPr>
            <p:cNvPr id="2" name="Rectangle 1">
              <a:extLst>
                <a:ext uri="{FF2B5EF4-FFF2-40B4-BE49-F238E27FC236}">
                  <a16:creationId xmlns:a16="http://schemas.microsoft.com/office/drawing/2014/main" id="{E340BFB7-4613-4A16-A36B-69160D1625DC}"/>
                </a:ext>
              </a:extLst>
            </p:cNvPr>
            <p:cNvSpPr/>
            <p:nvPr/>
          </p:nvSpPr>
          <p:spPr>
            <a:xfrm>
              <a:off x="394137" y="1561324"/>
              <a:ext cx="8151561" cy="1633250"/>
            </a:xfrm>
            <a:prstGeom prst="rect">
              <a:avLst/>
            </a:prstGeom>
            <a:solidFill>
              <a:schemeClr val="bg1"/>
            </a:solidFill>
            <a:ln>
              <a:noFill/>
            </a:ln>
            <a:effectLst>
              <a:outerShdw blurRad="292100" dist="139700" dir="2700000" algn="tl" rotWithShape="0">
                <a:srgbClr val="333333">
                  <a:alpha val="6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6" name="Picture 5">
              <a:extLst>
                <a:ext uri="{FF2B5EF4-FFF2-40B4-BE49-F238E27FC236}">
                  <a16:creationId xmlns:a16="http://schemas.microsoft.com/office/drawing/2014/main" id="{970A07EB-363E-457E-9A08-9ECE6CCB73C1}"/>
                </a:ext>
              </a:extLst>
            </p:cNvPr>
            <p:cNvPicPr>
              <a:picLocks noChangeAspect="1"/>
            </p:cNvPicPr>
            <p:nvPr/>
          </p:nvPicPr>
          <p:blipFill>
            <a:blip r:embed="rId2"/>
            <a:stretch>
              <a:fillRect/>
            </a:stretch>
          </p:blipFill>
          <p:spPr>
            <a:xfrm>
              <a:off x="3516575" y="1643162"/>
              <a:ext cx="5029124" cy="747826"/>
            </a:xfrm>
            <a:prstGeom prst="rect">
              <a:avLst/>
            </a:prstGeom>
            <a:effectLst/>
          </p:spPr>
        </p:pic>
        <p:pic>
          <p:nvPicPr>
            <p:cNvPr id="4098" name="Picture 2" descr="the Map">
              <a:extLst>
                <a:ext uri="{FF2B5EF4-FFF2-40B4-BE49-F238E27FC236}">
                  <a16:creationId xmlns:a16="http://schemas.microsoft.com/office/drawing/2014/main" id="{28D1620A-3DB1-4955-B45A-1514932CAB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137" y="1579500"/>
              <a:ext cx="3011197" cy="1085841"/>
            </a:xfrm>
            <a:prstGeom prst="rect">
              <a:avLst/>
            </a:prstGeom>
            <a:solidFill>
              <a:schemeClr val="bg1"/>
            </a:solidFill>
            <a:effectLst/>
          </p:spPr>
        </p:pic>
        <p:pic>
          <p:nvPicPr>
            <p:cNvPr id="8" name="Picture 7">
              <a:extLst>
                <a:ext uri="{FF2B5EF4-FFF2-40B4-BE49-F238E27FC236}">
                  <a16:creationId xmlns:a16="http://schemas.microsoft.com/office/drawing/2014/main" id="{02A772B9-BF2C-4E0C-B7B3-AC90933180F4}"/>
                </a:ext>
              </a:extLst>
            </p:cNvPr>
            <p:cNvPicPr>
              <a:picLocks noChangeAspect="1"/>
            </p:cNvPicPr>
            <p:nvPr/>
          </p:nvPicPr>
          <p:blipFill>
            <a:blip r:embed="rId4"/>
            <a:stretch>
              <a:fillRect/>
            </a:stretch>
          </p:blipFill>
          <p:spPr>
            <a:xfrm>
              <a:off x="394138" y="2462722"/>
              <a:ext cx="7922112" cy="731852"/>
            </a:xfrm>
            <a:prstGeom prst="rect">
              <a:avLst/>
            </a:prstGeom>
            <a:effectLst/>
          </p:spPr>
        </p:pic>
      </p:grpSp>
      <p:pic>
        <p:nvPicPr>
          <p:cNvPr id="4100" name="Picture 4">
            <a:extLst>
              <a:ext uri="{FF2B5EF4-FFF2-40B4-BE49-F238E27FC236}">
                <a16:creationId xmlns:a16="http://schemas.microsoft.com/office/drawing/2014/main" id="{D832B60D-3DD6-445A-9248-2B6954E366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8047" y="3290524"/>
            <a:ext cx="1901965" cy="150816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C91A871E-7C3B-4519-914F-10C6C8DF2B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56719" y="3290290"/>
            <a:ext cx="1865481" cy="15084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840284AF-B5A3-4B40-81FB-3D37DB7F27D3}"/>
              </a:ext>
            </a:extLst>
          </p:cNvPr>
          <p:cNvSpPr txBox="1"/>
          <p:nvPr/>
        </p:nvSpPr>
        <p:spPr>
          <a:xfrm>
            <a:off x="0" y="4795092"/>
            <a:ext cx="8090194" cy="276999"/>
          </a:xfrm>
          <a:prstGeom prst="rect">
            <a:avLst/>
          </a:prstGeom>
          <a:noFill/>
        </p:spPr>
        <p:txBody>
          <a:bodyPr wrap="square">
            <a:spAutoFit/>
          </a:bodyPr>
          <a:lstStyle>
            <a:defPPr>
              <a:defRPr lang="en-US"/>
            </a:defPPr>
            <a:lvl1pPr>
              <a:defRPr sz="1000"/>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rPr>
              <a:t>https://ismpp-newsletter.com/2021/08/10/a-companys-approach-to-developing-publication-plain-language-summaries/</a:t>
            </a:r>
          </a:p>
        </p:txBody>
      </p:sp>
      <p:sp>
        <p:nvSpPr>
          <p:cNvPr id="10" name="TextBox 9">
            <a:extLst>
              <a:ext uri="{FF2B5EF4-FFF2-40B4-BE49-F238E27FC236}">
                <a16:creationId xmlns:a16="http://schemas.microsoft.com/office/drawing/2014/main" id="{E1D6B171-C6BC-4C7F-B256-9DF8D936354A}"/>
              </a:ext>
            </a:extLst>
          </p:cNvPr>
          <p:cNvSpPr txBox="1"/>
          <p:nvPr/>
        </p:nvSpPr>
        <p:spPr>
          <a:xfrm>
            <a:off x="621143" y="3297800"/>
            <a:ext cx="1376904" cy="507831"/>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Steps to implementation </a:t>
            </a:r>
          </a:p>
        </p:txBody>
      </p:sp>
      <p:sp>
        <p:nvSpPr>
          <p:cNvPr id="45" name="TextBox 44">
            <a:extLst>
              <a:ext uri="{FF2B5EF4-FFF2-40B4-BE49-F238E27FC236}">
                <a16:creationId xmlns:a16="http://schemas.microsoft.com/office/drawing/2014/main" id="{A9D1C72C-F5F8-4266-AFC5-9F773D7A9FFB}"/>
              </a:ext>
            </a:extLst>
          </p:cNvPr>
          <p:cNvSpPr txBox="1"/>
          <p:nvPr/>
        </p:nvSpPr>
        <p:spPr>
          <a:xfrm>
            <a:off x="4242816" y="3297800"/>
            <a:ext cx="813903" cy="507831"/>
          </a:xfrm>
          <a:prstGeom prst="rect">
            <a:avLst/>
          </a:prstGeom>
          <a:noFill/>
        </p:spPr>
        <p:txBody>
          <a:bodyPr wrap="squar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Dos and </a:t>
            </a:r>
            <a:b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b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Don’ts</a:t>
            </a:r>
          </a:p>
        </p:txBody>
      </p:sp>
      <p:grpSp>
        <p:nvGrpSpPr>
          <p:cNvPr id="46" name="Group 45">
            <a:extLst>
              <a:ext uri="{FF2B5EF4-FFF2-40B4-BE49-F238E27FC236}">
                <a16:creationId xmlns:a16="http://schemas.microsoft.com/office/drawing/2014/main" id="{E440022D-9374-416D-B1D0-1B7A768C2AAA}"/>
              </a:ext>
            </a:extLst>
          </p:cNvPr>
          <p:cNvGrpSpPr/>
          <p:nvPr/>
        </p:nvGrpSpPr>
        <p:grpSpPr>
          <a:xfrm>
            <a:off x="249703" y="653734"/>
            <a:ext cx="8295995" cy="907590"/>
            <a:chOff x="249703" y="653734"/>
            <a:chExt cx="8295995" cy="907590"/>
          </a:xfrm>
        </p:grpSpPr>
        <p:sp>
          <p:nvSpPr>
            <p:cNvPr id="47" name="TextBox 46">
              <a:extLst>
                <a:ext uri="{FF2B5EF4-FFF2-40B4-BE49-F238E27FC236}">
                  <a16:creationId xmlns:a16="http://schemas.microsoft.com/office/drawing/2014/main" id="{F5C50D43-D039-4074-8AFE-208C2BB81562}"/>
                </a:ext>
              </a:extLst>
            </p:cNvPr>
            <p:cNvSpPr txBox="1"/>
            <p:nvPr/>
          </p:nvSpPr>
          <p:spPr>
            <a:xfrm>
              <a:off x="24970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48" name="Straight Connector 47">
              <a:extLst>
                <a:ext uri="{FF2B5EF4-FFF2-40B4-BE49-F238E27FC236}">
                  <a16:creationId xmlns:a16="http://schemas.microsoft.com/office/drawing/2014/main" id="{5F8FFF55-EDA7-47E9-8A62-391B8F836821}"/>
                </a:ext>
              </a:extLst>
            </p:cNvPr>
            <p:cNvCxnSpPr>
              <a:cxnSpLocks/>
            </p:cNvCxnSpPr>
            <p:nvPr/>
          </p:nvCxnSpPr>
          <p:spPr>
            <a:xfrm>
              <a:off x="47408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26E7033B-F01C-46E2-AEB8-32F7897F9249}"/>
                </a:ext>
              </a:extLst>
            </p:cNvPr>
            <p:cNvCxnSpPr>
              <a:cxnSpLocks/>
            </p:cNvCxnSpPr>
            <p:nvPr/>
          </p:nvCxnSpPr>
          <p:spPr>
            <a:xfrm>
              <a:off x="832006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FC6AD5BA-A831-4E4B-BA72-C3A26B1FB760}"/>
                </a:ext>
              </a:extLst>
            </p:cNvPr>
            <p:cNvCxnSpPr>
              <a:cxnSpLocks/>
            </p:cNvCxnSpPr>
            <p:nvPr/>
          </p:nvCxnSpPr>
          <p:spPr>
            <a:xfrm>
              <a:off x="1127919"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CE5EDCBA-E14D-476E-84A4-092FB23450AF}"/>
                </a:ext>
              </a:extLst>
            </p:cNvPr>
            <p:cNvCxnSpPr>
              <a:cxnSpLocks/>
            </p:cNvCxnSpPr>
            <p:nvPr/>
          </p:nvCxnSpPr>
          <p:spPr>
            <a:xfrm>
              <a:off x="178175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89129FDC-0B47-45C3-91B0-264DA1F5C83D}"/>
                </a:ext>
              </a:extLst>
            </p:cNvPr>
            <p:cNvCxnSpPr>
              <a:cxnSpLocks/>
            </p:cNvCxnSpPr>
            <p:nvPr/>
          </p:nvCxnSpPr>
          <p:spPr>
            <a:xfrm>
              <a:off x="2435581"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4431575C-7E5F-42BA-9DDE-214B437EEA79}"/>
                </a:ext>
              </a:extLst>
            </p:cNvPr>
            <p:cNvCxnSpPr>
              <a:cxnSpLocks/>
            </p:cNvCxnSpPr>
            <p:nvPr/>
          </p:nvCxnSpPr>
          <p:spPr>
            <a:xfrm>
              <a:off x="3089412"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87A6D126-0D51-4F3D-8A38-1805764C3FED}"/>
                </a:ext>
              </a:extLst>
            </p:cNvPr>
            <p:cNvCxnSpPr>
              <a:cxnSpLocks/>
            </p:cNvCxnSpPr>
            <p:nvPr/>
          </p:nvCxnSpPr>
          <p:spPr>
            <a:xfrm>
              <a:off x="3743243"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9160C05A-4741-407F-AA27-6DCDB56FF82E}"/>
                </a:ext>
              </a:extLst>
            </p:cNvPr>
            <p:cNvCxnSpPr>
              <a:cxnSpLocks/>
            </p:cNvCxnSpPr>
            <p:nvPr/>
          </p:nvCxnSpPr>
          <p:spPr>
            <a:xfrm>
              <a:off x="4397074"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C8A294BD-71ED-4574-8AD4-5B59A19F43B7}"/>
                </a:ext>
              </a:extLst>
            </p:cNvPr>
            <p:cNvCxnSpPr>
              <a:cxnSpLocks/>
            </p:cNvCxnSpPr>
            <p:nvPr/>
          </p:nvCxnSpPr>
          <p:spPr>
            <a:xfrm>
              <a:off x="5050905"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12737B17-5655-4F09-A790-97C20795C1EE}"/>
                </a:ext>
              </a:extLst>
            </p:cNvPr>
            <p:cNvCxnSpPr>
              <a:cxnSpLocks/>
            </p:cNvCxnSpPr>
            <p:nvPr/>
          </p:nvCxnSpPr>
          <p:spPr>
            <a:xfrm>
              <a:off x="5704736"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0DEE7981-A458-4B8D-BF77-8471E1B7B4DE}"/>
                </a:ext>
              </a:extLst>
            </p:cNvPr>
            <p:cNvCxnSpPr>
              <a:cxnSpLocks/>
            </p:cNvCxnSpPr>
            <p:nvPr/>
          </p:nvCxnSpPr>
          <p:spPr>
            <a:xfrm>
              <a:off x="6358567"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12D9BF48-5923-4B21-BDE7-94DC1FB74C76}"/>
                </a:ext>
              </a:extLst>
            </p:cNvPr>
            <p:cNvCxnSpPr>
              <a:cxnSpLocks/>
            </p:cNvCxnSpPr>
            <p:nvPr/>
          </p:nvCxnSpPr>
          <p:spPr>
            <a:xfrm>
              <a:off x="701239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AC27C445-0749-42A9-8B25-708221613F20}"/>
                </a:ext>
              </a:extLst>
            </p:cNvPr>
            <p:cNvCxnSpPr>
              <a:cxnSpLocks/>
            </p:cNvCxnSpPr>
            <p:nvPr/>
          </p:nvCxnSpPr>
          <p:spPr>
            <a:xfrm>
              <a:off x="7666229" y="1001373"/>
              <a:ext cx="0" cy="252249"/>
            </a:xfrm>
            <a:prstGeom prst="line">
              <a:avLst/>
            </a:prstGeom>
            <a:ln w="19050"/>
          </p:spPr>
          <p:style>
            <a:lnRef idx="1">
              <a:schemeClr val="dk1"/>
            </a:lnRef>
            <a:fillRef idx="0">
              <a:schemeClr val="dk1"/>
            </a:fillRef>
            <a:effectRef idx="0">
              <a:schemeClr val="dk1"/>
            </a:effectRef>
            <a:fontRef idx="minor">
              <a:schemeClr val="tx1"/>
            </a:fontRef>
          </p:style>
        </p:cxnSp>
        <p:sp>
          <p:nvSpPr>
            <p:cNvPr id="61" name="TextBox 60">
              <a:extLst>
                <a:ext uri="{FF2B5EF4-FFF2-40B4-BE49-F238E27FC236}">
                  <a16:creationId xmlns:a16="http://schemas.microsoft.com/office/drawing/2014/main" id="{008C3CF9-FA5C-46E2-97B0-D76AD3D540AA}"/>
                </a:ext>
              </a:extLst>
            </p:cNvPr>
            <p:cNvSpPr txBox="1"/>
            <p:nvPr/>
          </p:nvSpPr>
          <p:spPr>
            <a:xfrm>
              <a:off x="514449" y="653734"/>
              <a:ext cx="582532"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1</a:t>
              </a:r>
            </a:p>
          </p:txBody>
        </p:sp>
        <p:sp>
          <p:nvSpPr>
            <p:cNvPr id="62" name="TextBox 61">
              <a:extLst>
                <a:ext uri="{FF2B5EF4-FFF2-40B4-BE49-F238E27FC236}">
                  <a16:creationId xmlns:a16="http://schemas.microsoft.com/office/drawing/2014/main" id="{63F809A1-3487-4084-8A74-95104154F103}"/>
                </a:ext>
              </a:extLst>
            </p:cNvPr>
            <p:cNvSpPr txBox="1"/>
            <p:nvPr/>
          </p:nvSpPr>
          <p:spPr>
            <a:xfrm>
              <a:off x="7685631" y="656093"/>
              <a:ext cx="588623"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2</a:t>
              </a:r>
            </a:p>
          </p:txBody>
        </p:sp>
        <p:sp>
          <p:nvSpPr>
            <p:cNvPr id="63" name="TextBox 62">
              <a:extLst>
                <a:ext uri="{FF2B5EF4-FFF2-40B4-BE49-F238E27FC236}">
                  <a16:creationId xmlns:a16="http://schemas.microsoft.com/office/drawing/2014/main" id="{23F572C9-0855-4F60-B2F2-11AEFC5295DF}"/>
                </a:ext>
              </a:extLst>
            </p:cNvPr>
            <p:cNvSpPr txBox="1"/>
            <p:nvPr/>
          </p:nvSpPr>
          <p:spPr>
            <a:xfrm>
              <a:off x="90323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r</a:t>
              </a:r>
            </a:p>
          </p:txBody>
        </p:sp>
        <p:sp>
          <p:nvSpPr>
            <p:cNvPr id="64" name="TextBox 63">
              <a:extLst>
                <a:ext uri="{FF2B5EF4-FFF2-40B4-BE49-F238E27FC236}">
                  <a16:creationId xmlns:a16="http://schemas.microsoft.com/office/drawing/2014/main" id="{CD6A88DD-B628-4327-950D-085915A59EA8}"/>
                </a:ext>
              </a:extLst>
            </p:cNvPr>
            <p:cNvSpPr txBox="1"/>
            <p:nvPr/>
          </p:nvSpPr>
          <p:spPr>
            <a:xfrm>
              <a:off x="1556769"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pr</a:t>
              </a:r>
            </a:p>
          </p:txBody>
        </p:sp>
        <p:sp>
          <p:nvSpPr>
            <p:cNvPr id="65" name="TextBox 64">
              <a:extLst>
                <a:ext uri="{FF2B5EF4-FFF2-40B4-BE49-F238E27FC236}">
                  <a16:creationId xmlns:a16="http://schemas.microsoft.com/office/drawing/2014/main" id="{FA85A400-47BD-414A-8062-8EA787227E9A}"/>
                </a:ext>
              </a:extLst>
            </p:cNvPr>
            <p:cNvSpPr txBox="1"/>
            <p:nvPr/>
          </p:nvSpPr>
          <p:spPr>
            <a:xfrm>
              <a:off x="2210302"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y</a:t>
              </a:r>
            </a:p>
          </p:txBody>
        </p:sp>
        <p:sp>
          <p:nvSpPr>
            <p:cNvPr id="66" name="TextBox 65">
              <a:extLst>
                <a:ext uri="{FF2B5EF4-FFF2-40B4-BE49-F238E27FC236}">
                  <a16:creationId xmlns:a16="http://schemas.microsoft.com/office/drawing/2014/main" id="{12B2FE20-A8FB-418D-A47D-4A6D360FD8E0}"/>
                </a:ext>
              </a:extLst>
            </p:cNvPr>
            <p:cNvSpPr txBox="1"/>
            <p:nvPr/>
          </p:nvSpPr>
          <p:spPr>
            <a:xfrm>
              <a:off x="2863835"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n</a:t>
              </a:r>
            </a:p>
          </p:txBody>
        </p:sp>
        <p:sp>
          <p:nvSpPr>
            <p:cNvPr id="67" name="TextBox 66">
              <a:extLst>
                <a:ext uri="{FF2B5EF4-FFF2-40B4-BE49-F238E27FC236}">
                  <a16:creationId xmlns:a16="http://schemas.microsoft.com/office/drawing/2014/main" id="{31831BD8-67CD-4B06-8A1D-E1E5966976FA}"/>
                </a:ext>
              </a:extLst>
            </p:cNvPr>
            <p:cNvSpPr txBox="1"/>
            <p:nvPr/>
          </p:nvSpPr>
          <p:spPr>
            <a:xfrm>
              <a:off x="351736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l</a:t>
              </a:r>
            </a:p>
          </p:txBody>
        </p:sp>
        <p:sp>
          <p:nvSpPr>
            <p:cNvPr id="68" name="TextBox 67">
              <a:extLst>
                <a:ext uri="{FF2B5EF4-FFF2-40B4-BE49-F238E27FC236}">
                  <a16:creationId xmlns:a16="http://schemas.microsoft.com/office/drawing/2014/main" id="{02B7BB26-F112-40F0-9A74-D1D48FF0BA97}"/>
                </a:ext>
              </a:extLst>
            </p:cNvPr>
            <p:cNvSpPr txBox="1"/>
            <p:nvPr/>
          </p:nvSpPr>
          <p:spPr>
            <a:xfrm>
              <a:off x="4170901"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white"/>
                  </a:solidFill>
                  <a:effectLst/>
                  <a:uLnTx/>
                  <a:uFillTx/>
                  <a:latin typeface="Franklin Gothic Book" panose="020B0503020102020204"/>
                  <a:ea typeface="+mn-ea"/>
                  <a:cs typeface="+mn-cs"/>
                </a:rPr>
                <a:t>Aug</a:t>
              </a:r>
            </a:p>
          </p:txBody>
        </p:sp>
        <p:sp>
          <p:nvSpPr>
            <p:cNvPr id="69" name="TextBox 68">
              <a:extLst>
                <a:ext uri="{FF2B5EF4-FFF2-40B4-BE49-F238E27FC236}">
                  <a16:creationId xmlns:a16="http://schemas.microsoft.com/office/drawing/2014/main" id="{E84081E4-2C88-40DD-8144-9F5A30D29A55}"/>
                </a:ext>
              </a:extLst>
            </p:cNvPr>
            <p:cNvSpPr txBox="1"/>
            <p:nvPr/>
          </p:nvSpPr>
          <p:spPr>
            <a:xfrm>
              <a:off x="4824434"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Sep</a:t>
              </a:r>
            </a:p>
          </p:txBody>
        </p:sp>
        <p:sp>
          <p:nvSpPr>
            <p:cNvPr id="70" name="TextBox 69">
              <a:extLst>
                <a:ext uri="{FF2B5EF4-FFF2-40B4-BE49-F238E27FC236}">
                  <a16:creationId xmlns:a16="http://schemas.microsoft.com/office/drawing/2014/main" id="{4B7EE3F1-2481-4A5E-9E29-79F9439EEAFF}"/>
                </a:ext>
              </a:extLst>
            </p:cNvPr>
            <p:cNvSpPr txBox="1"/>
            <p:nvPr/>
          </p:nvSpPr>
          <p:spPr>
            <a:xfrm>
              <a:off x="5477967"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Oct</a:t>
              </a:r>
            </a:p>
          </p:txBody>
        </p:sp>
        <p:sp>
          <p:nvSpPr>
            <p:cNvPr id="71" name="TextBox 70">
              <a:extLst>
                <a:ext uri="{FF2B5EF4-FFF2-40B4-BE49-F238E27FC236}">
                  <a16:creationId xmlns:a16="http://schemas.microsoft.com/office/drawing/2014/main" id="{D77058AB-5D87-40E1-A1E8-617A3C5C60EA}"/>
                </a:ext>
              </a:extLst>
            </p:cNvPr>
            <p:cNvSpPr txBox="1"/>
            <p:nvPr/>
          </p:nvSpPr>
          <p:spPr>
            <a:xfrm>
              <a:off x="6131500"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Nov</a:t>
              </a:r>
            </a:p>
          </p:txBody>
        </p:sp>
        <p:sp>
          <p:nvSpPr>
            <p:cNvPr id="72" name="TextBox 71">
              <a:extLst>
                <a:ext uri="{FF2B5EF4-FFF2-40B4-BE49-F238E27FC236}">
                  <a16:creationId xmlns:a16="http://schemas.microsoft.com/office/drawing/2014/main" id="{083FF196-D5FA-44E2-A649-E31844926746}"/>
                </a:ext>
              </a:extLst>
            </p:cNvPr>
            <p:cNvSpPr txBox="1"/>
            <p:nvPr/>
          </p:nvSpPr>
          <p:spPr>
            <a:xfrm>
              <a:off x="678503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Dec</a:t>
              </a:r>
            </a:p>
          </p:txBody>
        </p:sp>
        <p:sp>
          <p:nvSpPr>
            <p:cNvPr id="73" name="TextBox 72">
              <a:extLst>
                <a:ext uri="{FF2B5EF4-FFF2-40B4-BE49-F238E27FC236}">
                  <a16:creationId xmlns:a16="http://schemas.microsoft.com/office/drawing/2014/main" id="{033EB5D6-EC00-4029-BC08-6FC16983E318}"/>
                </a:ext>
              </a:extLst>
            </p:cNvPr>
            <p:cNvSpPr txBox="1"/>
            <p:nvPr/>
          </p:nvSpPr>
          <p:spPr>
            <a:xfrm>
              <a:off x="743856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an</a:t>
              </a:r>
            </a:p>
          </p:txBody>
        </p:sp>
        <p:sp>
          <p:nvSpPr>
            <p:cNvPr id="74" name="TextBox 73">
              <a:extLst>
                <a:ext uri="{FF2B5EF4-FFF2-40B4-BE49-F238E27FC236}">
                  <a16:creationId xmlns:a16="http://schemas.microsoft.com/office/drawing/2014/main" id="{39F6F36E-4E87-4524-BDDE-03D96F763298}"/>
                </a:ext>
              </a:extLst>
            </p:cNvPr>
            <p:cNvSpPr txBox="1"/>
            <p:nvPr/>
          </p:nvSpPr>
          <p:spPr>
            <a:xfrm>
              <a:off x="809209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75" name="Straight Connector 74">
              <a:extLst>
                <a:ext uri="{FF2B5EF4-FFF2-40B4-BE49-F238E27FC236}">
                  <a16:creationId xmlns:a16="http://schemas.microsoft.com/office/drawing/2014/main" id="{81EBD3F5-894C-4046-BFB6-07D6C493A34F}"/>
                </a:ext>
              </a:extLst>
            </p:cNvPr>
            <p:cNvCxnSpPr>
              <a:cxnSpLocks/>
            </p:cNvCxnSpPr>
            <p:nvPr/>
          </p:nvCxnSpPr>
          <p:spPr>
            <a:xfrm>
              <a:off x="7666229" y="756744"/>
              <a:ext cx="0" cy="252249"/>
            </a:xfrm>
            <a:prstGeom prst="line">
              <a:avLst/>
            </a:prstGeom>
            <a:ln w="19050"/>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8699133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1862417-6A79-4002-AF19-677DBFF6C85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6" imgH="275" progId="TCLayout.ActiveDocument.1">
                  <p:embed/>
                </p:oleObj>
              </mc:Choice>
              <mc:Fallback>
                <p:oleObj name="think-cell Slide" r:id="rId4" imgW="276" imgH="275" progId="TCLayout.ActiveDocument.1">
                  <p:embed/>
                  <p:pic>
                    <p:nvPicPr>
                      <p:cNvPr id="4" name="Object 3" hidden="1">
                        <a:extLst>
                          <a:ext uri="{FF2B5EF4-FFF2-40B4-BE49-F238E27FC236}">
                            <a16:creationId xmlns:a16="http://schemas.microsoft.com/office/drawing/2014/main" id="{11862417-6A79-4002-AF19-677DBFF6C8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44" name="Picture 43" descr="Text&#10;&#10;Description automatically generated">
            <a:extLst>
              <a:ext uri="{FF2B5EF4-FFF2-40B4-BE49-F238E27FC236}">
                <a16:creationId xmlns:a16="http://schemas.microsoft.com/office/drawing/2014/main" id="{72A3F495-5756-4602-97B9-9C9F18EA4E06}"/>
              </a:ext>
            </a:extLst>
          </p:cNvPr>
          <p:cNvPicPr>
            <a:picLocks noChangeAspect="1"/>
          </p:cNvPicPr>
          <p:nvPr/>
        </p:nvPicPr>
        <p:blipFill>
          <a:blip r:embed="rId6"/>
          <a:stretch>
            <a:fillRect/>
          </a:stretch>
        </p:blipFill>
        <p:spPr>
          <a:xfrm>
            <a:off x="474088" y="1726323"/>
            <a:ext cx="3838904" cy="959726"/>
          </a:xfrm>
          <a:prstGeom prst="rect">
            <a:avLst/>
          </a:prstGeom>
          <a:effectLst>
            <a:outerShdw blurRad="50800" dist="38100" dir="2700000" algn="tl" rotWithShape="0">
              <a:prstClr val="black">
                <a:alpha val="40000"/>
              </a:prstClr>
            </a:outerShdw>
          </a:effectLst>
        </p:spPr>
      </p:pic>
      <p:sp>
        <p:nvSpPr>
          <p:cNvPr id="45" name="TextBox 44">
            <a:extLst>
              <a:ext uri="{FF2B5EF4-FFF2-40B4-BE49-F238E27FC236}">
                <a16:creationId xmlns:a16="http://schemas.microsoft.com/office/drawing/2014/main" id="{6E182031-ED48-44C0-98E4-60312B408B2A}"/>
              </a:ext>
            </a:extLst>
          </p:cNvPr>
          <p:cNvSpPr txBox="1"/>
          <p:nvPr/>
        </p:nvSpPr>
        <p:spPr>
          <a:xfrm>
            <a:off x="789819" y="2833307"/>
            <a:ext cx="3838904" cy="64633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o plain language summaries encourage readers to download your publication? A pilot study.</a:t>
            </a: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b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b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teve Winter, Caroline Halford, Mel West and Matt Evans</a:t>
            </a: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p>
        </p:txBody>
      </p:sp>
      <p:sp>
        <p:nvSpPr>
          <p:cNvPr id="47" name="TextBox 46">
            <a:extLst>
              <a:ext uri="{FF2B5EF4-FFF2-40B4-BE49-F238E27FC236}">
                <a16:creationId xmlns:a16="http://schemas.microsoft.com/office/drawing/2014/main" id="{A4F95F27-5A28-4455-A177-8E552FC09453}"/>
              </a:ext>
            </a:extLst>
          </p:cNvPr>
          <p:cNvSpPr txBox="1"/>
          <p:nvPr/>
        </p:nvSpPr>
        <p:spPr>
          <a:xfrm>
            <a:off x="789819" y="3626896"/>
            <a:ext cx="3607247" cy="64633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revalence and characteristics of plain language summaries indexed in PubMed. </a:t>
            </a: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William </a:t>
            </a:r>
            <a:r>
              <a:rPr kumimoji="0" lang="en-GB"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Gattrell</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b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Kim Wager, Nisha Sheikh and Alison Chisholm</a:t>
            </a: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p>
        </p:txBody>
      </p:sp>
      <p:sp>
        <p:nvSpPr>
          <p:cNvPr id="48" name="TextBox 47">
            <a:extLst>
              <a:ext uri="{FF2B5EF4-FFF2-40B4-BE49-F238E27FC236}">
                <a16:creationId xmlns:a16="http://schemas.microsoft.com/office/drawing/2014/main" id="{3DF12931-BB7E-4383-AE47-AD01762C8E87}"/>
              </a:ext>
            </a:extLst>
          </p:cNvPr>
          <p:cNvSpPr txBox="1"/>
          <p:nvPr/>
        </p:nvSpPr>
        <p:spPr>
          <a:xfrm>
            <a:off x="4922450" y="1731366"/>
            <a:ext cx="4211877" cy="64633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ek and you will [potentially] find: the impact of plain language summary accessibility on engagement and wider dissemination.</a:t>
            </a: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imon </a:t>
            </a:r>
            <a:r>
              <a:rPr kumimoji="0" lang="en-GB"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oulcer</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David Sheppard, Nichola </a:t>
            </a:r>
            <a:r>
              <a:rPr kumimoji="0" lang="en-GB"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Gokool</a:t>
            </a: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p>
        </p:txBody>
      </p:sp>
      <p:sp>
        <p:nvSpPr>
          <p:cNvPr id="49" name="TextBox 48">
            <a:extLst>
              <a:ext uri="{FF2B5EF4-FFF2-40B4-BE49-F238E27FC236}">
                <a16:creationId xmlns:a16="http://schemas.microsoft.com/office/drawing/2014/main" id="{FA19F05F-B621-4D94-8F22-C0B780206E2C}"/>
              </a:ext>
            </a:extLst>
          </p:cNvPr>
          <p:cNvSpPr txBox="1"/>
          <p:nvPr/>
        </p:nvSpPr>
        <p:spPr>
          <a:xfrm>
            <a:off x="4913974" y="2488777"/>
            <a:ext cx="4108631" cy="64633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lain language summaries at congresses: a pharma perspective.</a:t>
            </a: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ippa </a:t>
            </a:r>
            <a:r>
              <a:rPr kumimoji="0" lang="en-GB"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Hadland</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Whitney Dunton, Jennifer </a:t>
            </a:r>
            <a:r>
              <a:rPr kumimoji="0" lang="en-GB"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Eykelenboom</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Kyoko Kelly, Sarah Perry, Aliya Seward</a:t>
            </a: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p>
        </p:txBody>
      </p:sp>
      <p:sp>
        <p:nvSpPr>
          <p:cNvPr id="50" name="TextBox 49">
            <a:extLst>
              <a:ext uri="{FF2B5EF4-FFF2-40B4-BE49-F238E27FC236}">
                <a16:creationId xmlns:a16="http://schemas.microsoft.com/office/drawing/2014/main" id="{24D2E21F-D2DC-483B-9C3E-18AEAB148D68}"/>
              </a:ext>
            </a:extLst>
          </p:cNvPr>
          <p:cNvSpPr txBox="1"/>
          <p:nvPr/>
        </p:nvSpPr>
        <p:spPr>
          <a:xfrm>
            <a:off x="4903810" y="3283429"/>
            <a:ext cx="3984789" cy="64633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o healthcare professionals really value plain language summaries?</a:t>
            </a: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Dawn Lobban, Jacqui Oliver, Marissa Buttaro, David </a:t>
            </a:r>
            <a:r>
              <a:rPr kumimoji="0" lang="en-GB"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Falleni</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nd Melissa McGrath</a:t>
            </a: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p>
        </p:txBody>
      </p:sp>
      <p:sp>
        <p:nvSpPr>
          <p:cNvPr id="51" name="TextBox 50">
            <a:extLst>
              <a:ext uri="{FF2B5EF4-FFF2-40B4-BE49-F238E27FC236}">
                <a16:creationId xmlns:a16="http://schemas.microsoft.com/office/drawing/2014/main" id="{05EE0F97-2198-432B-8E1D-64D48567CFF0}"/>
              </a:ext>
            </a:extLst>
          </p:cNvPr>
          <p:cNvSpPr txBox="1"/>
          <p:nvPr/>
        </p:nvSpPr>
        <p:spPr>
          <a:xfrm>
            <a:off x="4884478" y="4051648"/>
            <a:ext cx="3749267" cy="830997"/>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nalysis of reach for different formats of plain language summaries.</a:t>
            </a: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hilpa Khobragade, Pippa Perrett, Craig Burgess, Heather Smith, Damian </a:t>
            </a:r>
            <a:r>
              <a:rPr kumimoji="0" lang="en-GB"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Eade</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a:t>
            </a:r>
            <a:r>
              <a:rPr kumimoji="0" lang="en-GB"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rPr>
              <a:t>Aree</a:t>
            </a: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 Cheshire </a:t>
            </a:r>
            <a:b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br>
            <a:r>
              <a:rPr kumimoji="0" lang="en-GB"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nd Lorraine Law</a:t>
            </a: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a:t>
            </a:r>
          </a:p>
        </p:txBody>
      </p:sp>
      <p:grpSp>
        <p:nvGrpSpPr>
          <p:cNvPr id="53" name="Group 52">
            <a:extLst>
              <a:ext uri="{FF2B5EF4-FFF2-40B4-BE49-F238E27FC236}">
                <a16:creationId xmlns:a16="http://schemas.microsoft.com/office/drawing/2014/main" id="{5956FC15-F428-473C-88E3-20C32475C96E}"/>
              </a:ext>
            </a:extLst>
          </p:cNvPr>
          <p:cNvGrpSpPr/>
          <p:nvPr/>
        </p:nvGrpSpPr>
        <p:grpSpPr>
          <a:xfrm>
            <a:off x="249703" y="653734"/>
            <a:ext cx="8295995" cy="907590"/>
            <a:chOff x="249703" y="653734"/>
            <a:chExt cx="8295995" cy="907590"/>
          </a:xfrm>
        </p:grpSpPr>
        <p:sp>
          <p:nvSpPr>
            <p:cNvPr id="54" name="TextBox 53">
              <a:extLst>
                <a:ext uri="{FF2B5EF4-FFF2-40B4-BE49-F238E27FC236}">
                  <a16:creationId xmlns:a16="http://schemas.microsoft.com/office/drawing/2014/main" id="{54A18DF9-F40F-410F-A6ED-8A21AC0E6213}"/>
                </a:ext>
              </a:extLst>
            </p:cNvPr>
            <p:cNvSpPr txBox="1"/>
            <p:nvPr/>
          </p:nvSpPr>
          <p:spPr>
            <a:xfrm>
              <a:off x="24970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55" name="Straight Connector 54">
              <a:extLst>
                <a:ext uri="{FF2B5EF4-FFF2-40B4-BE49-F238E27FC236}">
                  <a16:creationId xmlns:a16="http://schemas.microsoft.com/office/drawing/2014/main" id="{37ED182D-6E3F-4D82-A0F3-B7ECBD887CBE}"/>
                </a:ext>
              </a:extLst>
            </p:cNvPr>
            <p:cNvCxnSpPr>
              <a:cxnSpLocks/>
            </p:cNvCxnSpPr>
            <p:nvPr/>
          </p:nvCxnSpPr>
          <p:spPr>
            <a:xfrm>
              <a:off x="47408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41DEA67D-0528-424D-A17C-CCCA4DAB4E9A}"/>
                </a:ext>
              </a:extLst>
            </p:cNvPr>
            <p:cNvCxnSpPr>
              <a:cxnSpLocks/>
            </p:cNvCxnSpPr>
            <p:nvPr/>
          </p:nvCxnSpPr>
          <p:spPr>
            <a:xfrm>
              <a:off x="832006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2C58DB73-FF74-4211-8D46-CAFBAEB87495}"/>
                </a:ext>
              </a:extLst>
            </p:cNvPr>
            <p:cNvCxnSpPr>
              <a:cxnSpLocks/>
            </p:cNvCxnSpPr>
            <p:nvPr/>
          </p:nvCxnSpPr>
          <p:spPr>
            <a:xfrm>
              <a:off x="1127919"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504CA9E5-686B-4644-A766-F877A8894C1F}"/>
                </a:ext>
              </a:extLst>
            </p:cNvPr>
            <p:cNvCxnSpPr>
              <a:cxnSpLocks/>
            </p:cNvCxnSpPr>
            <p:nvPr/>
          </p:nvCxnSpPr>
          <p:spPr>
            <a:xfrm>
              <a:off x="178175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E70C3964-E4C8-43FB-99E0-9EE344297422}"/>
                </a:ext>
              </a:extLst>
            </p:cNvPr>
            <p:cNvCxnSpPr>
              <a:cxnSpLocks/>
            </p:cNvCxnSpPr>
            <p:nvPr/>
          </p:nvCxnSpPr>
          <p:spPr>
            <a:xfrm>
              <a:off x="2435581"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C44DBC23-14C0-4342-8529-DBEB67FE7383}"/>
                </a:ext>
              </a:extLst>
            </p:cNvPr>
            <p:cNvCxnSpPr>
              <a:cxnSpLocks/>
            </p:cNvCxnSpPr>
            <p:nvPr/>
          </p:nvCxnSpPr>
          <p:spPr>
            <a:xfrm>
              <a:off x="3089412"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DBFE87AB-B885-46B4-9DA1-F7D0212ECF27}"/>
                </a:ext>
              </a:extLst>
            </p:cNvPr>
            <p:cNvCxnSpPr>
              <a:cxnSpLocks/>
            </p:cNvCxnSpPr>
            <p:nvPr/>
          </p:nvCxnSpPr>
          <p:spPr>
            <a:xfrm>
              <a:off x="3743243"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8B94CCA9-E44A-4187-A275-B9CF39FE3933}"/>
                </a:ext>
              </a:extLst>
            </p:cNvPr>
            <p:cNvCxnSpPr>
              <a:cxnSpLocks/>
            </p:cNvCxnSpPr>
            <p:nvPr/>
          </p:nvCxnSpPr>
          <p:spPr>
            <a:xfrm>
              <a:off x="4397074"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D21AC081-66B2-4EC0-B01E-FEA7442008AE}"/>
                </a:ext>
              </a:extLst>
            </p:cNvPr>
            <p:cNvCxnSpPr>
              <a:cxnSpLocks/>
            </p:cNvCxnSpPr>
            <p:nvPr/>
          </p:nvCxnSpPr>
          <p:spPr>
            <a:xfrm>
              <a:off x="5050905"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8B084C54-84AF-45C9-A009-C71D4DFB1B31}"/>
                </a:ext>
              </a:extLst>
            </p:cNvPr>
            <p:cNvCxnSpPr>
              <a:cxnSpLocks/>
            </p:cNvCxnSpPr>
            <p:nvPr/>
          </p:nvCxnSpPr>
          <p:spPr>
            <a:xfrm>
              <a:off x="5704736"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9AB3FEC0-4209-4493-B8BA-67B53565431B}"/>
                </a:ext>
              </a:extLst>
            </p:cNvPr>
            <p:cNvCxnSpPr>
              <a:cxnSpLocks/>
            </p:cNvCxnSpPr>
            <p:nvPr/>
          </p:nvCxnSpPr>
          <p:spPr>
            <a:xfrm>
              <a:off x="6358567"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FB7517C-CB56-4103-9BDE-B5E6B04D1B23}"/>
                </a:ext>
              </a:extLst>
            </p:cNvPr>
            <p:cNvCxnSpPr>
              <a:cxnSpLocks/>
            </p:cNvCxnSpPr>
            <p:nvPr/>
          </p:nvCxnSpPr>
          <p:spPr>
            <a:xfrm>
              <a:off x="701239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8AF33CD8-FF6F-479E-A020-A7D0A65C4261}"/>
                </a:ext>
              </a:extLst>
            </p:cNvPr>
            <p:cNvCxnSpPr>
              <a:cxnSpLocks/>
            </p:cNvCxnSpPr>
            <p:nvPr/>
          </p:nvCxnSpPr>
          <p:spPr>
            <a:xfrm>
              <a:off x="7666229" y="1001373"/>
              <a:ext cx="0" cy="252249"/>
            </a:xfrm>
            <a:prstGeom prst="line">
              <a:avLst/>
            </a:prstGeom>
            <a:ln w="19050"/>
          </p:spPr>
          <p:style>
            <a:lnRef idx="1">
              <a:schemeClr val="dk1"/>
            </a:lnRef>
            <a:fillRef idx="0">
              <a:schemeClr val="dk1"/>
            </a:fillRef>
            <a:effectRef idx="0">
              <a:schemeClr val="dk1"/>
            </a:effectRef>
            <a:fontRef idx="minor">
              <a:schemeClr val="tx1"/>
            </a:fontRef>
          </p:style>
        </p:cxnSp>
        <p:sp>
          <p:nvSpPr>
            <p:cNvPr id="68" name="TextBox 67">
              <a:extLst>
                <a:ext uri="{FF2B5EF4-FFF2-40B4-BE49-F238E27FC236}">
                  <a16:creationId xmlns:a16="http://schemas.microsoft.com/office/drawing/2014/main" id="{0890CA16-7DB0-45FF-A347-A53114B4B93D}"/>
                </a:ext>
              </a:extLst>
            </p:cNvPr>
            <p:cNvSpPr txBox="1"/>
            <p:nvPr/>
          </p:nvSpPr>
          <p:spPr>
            <a:xfrm>
              <a:off x="514449" y="653734"/>
              <a:ext cx="582532"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1</a:t>
              </a:r>
            </a:p>
          </p:txBody>
        </p:sp>
        <p:sp>
          <p:nvSpPr>
            <p:cNvPr id="69" name="TextBox 68">
              <a:extLst>
                <a:ext uri="{FF2B5EF4-FFF2-40B4-BE49-F238E27FC236}">
                  <a16:creationId xmlns:a16="http://schemas.microsoft.com/office/drawing/2014/main" id="{838CD775-5654-4734-B9F4-55431445F81E}"/>
                </a:ext>
              </a:extLst>
            </p:cNvPr>
            <p:cNvSpPr txBox="1"/>
            <p:nvPr/>
          </p:nvSpPr>
          <p:spPr>
            <a:xfrm>
              <a:off x="7685631" y="656093"/>
              <a:ext cx="588623"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2</a:t>
              </a:r>
            </a:p>
          </p:txBody>
        </p:sp>
        <p:sp>
          <p:nvSpPr>
            <p:cNvPr id="70" name="TextBox 69">
              <a:extLst>
                <a:ext uri="{FF2B5EF4-FFF2-40B4-BE49-F238E27FC236}">
                  <a16:creationId xmlns:a16="http://schemas.microsoft.com/office/drawing/2014/main" id="{F9DDEF51-0C87-406A-91D0-304C25C86A2A}"/>
                </a:ext>
              </a:extLst>
            </p:cNvPr>
            <p:cNvSpPr txBox="1"/>
            <p:nvPr/>
          </p:nvSpPr>
          <p:spPr>
            <a:xfrm>
              <a:off x="90323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r</a:t>
              </a:r>
            </a:p>
          </p:txBody>
        </p:sp>
        <p:sp>
          <p:nvSpPr>
            <p:cNvPr id="71" name="TextBox 70">
              <a:extLst>
                <a:ext uri="{FF2B5EF4-FFF2-40B4-BE49-F238E27FC236}">
                  <a16:creationId xmlns:a16="http://schemas.microsoft.com/office/drawing/2014/main" id="{CF65225D-44BD-4599-9ABA-E47626FE1300}"/>
                </a:ext>
              </a:extLst>
            </p:cNvPr>
            <p:cNvSpPr txBox="1"/>
            <p:nvPr/>
          </p:nvSpPr>
          <p:spPr>
            <a:xfrm>
              <a:off x="1556769"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pr</a:t>
              </a:r>
            </a:p>
          </p:txBody>
        </p:sp>
        <p:sp>
          <p:nvSpPr>
            <p:cNvPr id="72" name="TextBox 71">
              <a:extLst>
                <a:ext uri="{FF2B5EF4-FFF2-40B4-BE49-F238E27FC236}">
                  <a16:creationId xmlns:a16="http://schemas.microsoft.com/office/drawing/2014/main" id="{F2659241-A5F2-4870-9526-DAE70DDF86D8}"/>
                </a:ext>
              </a:extLst>
            </p:cNvPr>
            <p:cNvSpPr txBox="1"/>
            <p:nvPr/>
          </p:nvSpPr>
          <p:spPr>
            <a:xfrm>
              <a:off x="2210302"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y</a:t>
              </a:r>
            </a:p>
          </p:txBody>
        </p:sp>
        <p:sp>
          <p:nvSpPr>
            <p:cNvPr id="73" name="TextBox 72">
              <a:extLst>
                <a:ext uri="{FF2B5EF4-FFF2-40B4-BE49-F238E27FC236}">
                  <a16:creationId xmlns:a16="http://schemas.microsoft.com/office/drawing/2014/main" id="{1EC9B8B9-9C1D-48B6-A16A-37E64F519EEB}"/>
                </a:ext>
              </a:extLst>
            </p:cNvPr>
            <p:cNvSpPr txBox="1"/>
            <p:nvPr/>
          </p:nvSpPr>
          <p:spPr>
            <a:xfrm>
              <a:off x="2863835"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n</a:t>
              </a:r>
            </a:p>
          </p:txBody>
        </p:sp>
        <p:sp>
          <p:nvSpPr>
            <p:cNvPr id="74" name="TextBox 73">
              <a:extLst>
                <a:ext uri="{FF2B5EF4-FFF2-40B4-BE49-F238E27FC236}">
                  <a16:creationId xmlns:a16="http://schemas.microsoft.com/office/drawing/2014/main" id="{F3E62D6E-D467-48C9-A18B-96F66CE13C8B}"/>
                </a:ext>
              </a:extLst>
            </p:cNvPr>
            <p:cNvSpPr txBox="1"/>
            <p:nvPr/>
          </p:nvSpPr>
          <p:spPr>
            <a:xfrm>
              <a:off x="351736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l</a:t>
              </a:r>
            </a:p>
          </p:txBody>
        </p:sp>
        <p:sp>
          <p:nvSpPr>
            <p:cNvPr id="75" name="TextBox 74">
              <a:extLst>
                <a:ext uri="{FF2B5EF4-FFF2-40B4-BE49-F238E27FC236}">
                  <a16:creationId xmlns:a16="http://schemas.microsoft.com/office/drawing/2014/main" id="{88E42EE1-60E3-4924-BC2F-5DD8A8E9933E}"/>
                </a:ext>
              </a:extLst>
            </p:cNvPr>
            <p:cNvSpPr txBox="1"/>
            <p:nvPr/>
          </p:nvSpPr>
          <p:spPr>
            <a:xfrm>
              <a:off x="4170901"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ug</a:t>
              </a:r>
            </a:p>
          </p:txBody>
        </p:sp>
        <p:sp>
          <p:nvSpPr>
            <p:cNvPr id="76" name="TextBox 75">
              <a:extLst>
                <a:ext uri="{FF2B5EF4-FFF2-40B4-BE49-F238E27FC236}">
                  <a16:creationId xmlns:a16="http://schemas.microsoft.com/office/drawing/2014/main" id="{7A7E11F5-A5FC-488A-BD09-39C6B3F1F308}"/>
                </a:ext>
              </a:extLst>
            </p:cNvPr>
            <p:cNvSpPr txBox="1"/>
            <p:nvPr/>
          </p:nvSpPr>
          <p:spPr>
            <a:xfrm>
              <a:off x="4824434"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Sep</a:t>
              </a:r>
            </a:p>
          </p:txBody>
        </p:sp>
        <p:sp>
          <p:nvSpPr>
            <p:cNvPr id="77" name="TextBox 76">
              <a:extLst>
                <a:ext uri="{FF2B5EF4-FFF2-40B4-BE49-F238E27FC236}">
                  <a16:creationId xmlns:a16="http://schemas.microsoft.com/office/drawing/2014/main" id="{28885C10-7896-4BD1-9FF6-CF6369E2CEBA}"/>
                </a:ext>
              </a:extLst>
            </p:cNvPr>
            <p:cNvSpPr txBox="1"/>
            <p:nvPr/>
          </p:nvSpPr>
          <p:spPr>
            <a:xfrm>
              <a:off x="5477967"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Oct</a:t>
              </a:r>
            </a:p>
          </p:txBody>
        </p:sp>
        <p:sp>
          <p:nvSpPr>
            <p:cNvPr id="78" name="TextBox 77">
              <a:extLst>
                <a:ext uri="{FF2B5EF4-FFF2-40B4-BE49-F238E27FC236}">
                  <a16:creationId xmlns:a16="http://schemas.microsoft.com/office/drawing/2014/main" id="{5320D76B-6889-4DBC-8A84-0BD68A18C530}"/>
                </a:ext>
              </a:extLst>
            </p:cNvPr>
            <p:cNvSpPr txBox="1"/>
            <p:nvPr/>
          </p:nvSpPr>
          <p:spPr>
            <a:xfrm>
              <a:off x="6131500"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Nov</a:t>
              </a:r>
            </a:p>
          </p:txBody>
        </p:sp>
        <p:sp>
          <p:nvSpPr>
            <p:cNvPr id="79" name="TextBox 78">
              <a:extLst>
                <a:ext uri="{FF2B5EF4-FFF2-40B4-BE49-F238E27FC236}">
                  <a16:creationId xmlns:a16="http://schemas.microsoft.com/office/drawing/2014/main" id="{254BE6B9-A325-4706-8771-0056C1E56DBB}"/>
                </a:ext>
              </a:extLst>
            </p:cNvPr>
            <p:cNvSpPr txBox="1"/>
            <p:nvPr/>
          </p:nvSpPr>
          <p:spPr>
            <a:xfrm>
              <a:off x="678503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Dec</a:t>
              </a:r>
            </a:p>
          </p:txBody>
        </p:sp>
        <p:sp>
          <p:nvSpPr>
            <p:cNvPr id="80" name="TextBox 79">
              <a:extLst>
                <a:ext uri="{FF2B5EF4-FFF2-40B4-BE49-F238E27FC236}">
                  <a16:creationId xmlns:a16="http://schemas.microsoft.com/office/drawing/2014/main" id="{14C14614-F4BA-4A49-8298-9A04DA3BED0E}"/>
                </a:ext>
              </a:extLst>
            </p:cNvPr>
            <p:cNvSpPr txBox="1"/>
            <p:nvPr/>
          </p:nvSpPr>
          <p:spPr>
            <a:xfrm>
              <a:off x="743856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an</a:t>
              </a:r>
            </a:p>
          </p:txBody>
        </p:sp>
        <p:sp>
          <p:nvSpPr>
            <p:cNvPr id="81" name="TextBox 80">
              <a:extLst>
                <a:ext uri="{FF2B5EF4-FFF2-40B4-BE49-F238E27FC236}">
                  <a16:creationId xmlns:a16="http://schemas.microsoft.com/office/drawing/2014/main" id="{611BEC67-0B58-4C91-AC3E-792ED5625641}"/>
                </a:ext>
              </a:extLst>
            </p:cNvPr>
            <p:cNvSpPr txBox="1"/>
            <p:nvPr/>
          </p:nvSpPr>
          <p:spPr>
            <a:xfrm>
              <a:off x="809209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82" name="Straight Connector 81">
              <a:extLst>
                <a:ext uri="{FF2B5EF4-FFF2-40B4-BE49-F238E27FC236}">
                  <a16:creationId xmlns:a16="http://schemas.microsoft.com/office/drawing/2014/main" id="{929D0B17-493C-4646-98EE-58015F6252EA}"/>
                </a:ext>
              </a:extLst>
            </p:cNvPr>
            <p:cNvCxnSpPr>
              <a:cxnSpLocks/>
            </p:cNvCxnSpPr>
            <p:nvPr/>
          </p:nvCxnSpPr>
          <p:spPr>
            <a:xfrm>
              <a:off x="7666229" y="756744"/>
              <a:ext cx="0" cy="252249"/>
            </a:xfrm>
            <a:prstGeom prst="line">
              <a:avLst/>
            </a:prstGeom>
            <a:ln w="19050"/>
          </p:spPr>
          <p:style>
            <a:lnRef idx="1">
              <a:schemeClr val="dk1"/>
            </a:lnRef>
            <a:fillRef idx="0">
              <a:schemeClr val="dk1"/>
            </a:fillRef>
            <a:effectRef idx="0">
              <a:schemeClr val="dk1"/>
            </a:effectRef>
            <a:fontRef idx="minor">
              <a:schemeClr val="tx1"/>
            </a:fontRef>
          </p:style>
        </p:cxnSp>
      </p:grpSp>
      <p:sp>
        <p:nvSpPr>
          <p:cNvPr id="42" name="TextBox 41">
            <a:extLst>
              <a:ext uri="{FF2B5EF4-FFF2-40B4-BE49-F238E27FC236}">
                <a16:creationId xmlns:a16="http://schemas.microsoft.com/office/drawing/2014/main" id="{6623704C-1EE8-4B9F-82B3-300A3BC3E39D}"/>
              </a:ext>
            </a:extLst>
          </p:cNvPr>
          <p:cNvSpPr txBox="1"/>
          <p:nvPr/>
        </p:nvSpPr>
        <p:spPr>
          <a:xfrm>
            <a:off x="7440628" y="1261242"/>
            <a:ext cx="453600" cy="300082"/>
          </a:xfrm>
          <a:prstGeom prst="rect">
            <a:avLst/>
          </a:prstGeom>
          <a:solidFill>
            <a:schemeClr val="accent2"/>
          </a:solid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white"/>
                </a:solidFill>
                <a:effectLst/>
                <a:uLnTx/>
                <a:uFillTx/>
                <a:latin typeface="Franklin Gothic Book" panose="020B0503020102020204"/>
                <a:ea typeface="+mn-ea"/>
                <a:cs typeface="+mn-cs"/>
              </a:rPr>
              <a:t>Jan</a:t>
            </a:r>
          </a:p>
        </p:txBody>
      </p:sp>
      <p:grpSp>
        <p:nvGrpSpPr>
          <p:cNvPr id="100" name="Group 99">
            <a:extLst>
              <a:ext uri="{FF2B5EF4-FFF2-40B4-BE49-F238E27FC236}">
                <a16:creationId xmlns:a16="http://schemas.microsoft.com/office/drawing/2014/main" id="{498F98F8-0BD4-44A3-95DE-ED43A3B0ACFB}"/>
              </a:ext>
            </a:extLst>
          </p:cNvPr>
          <p:cNvGrpSpPr/>
          <p:nvPr/>
        </p:nvGrpSpPr>
        <p:grpSpPr>
          <a:xfrm>
            <a:off x="205740" y="2952161"/>
            <a:ext cx="521683" cy="408623"/>
            <a:chOff x="-6561311" y="5026236"/>
            <a:chExt cx="807453" cy="632460"/>
          </a:xfrm>
          <a:solidFill>
            <a:schemeClr val="accent6"/>
          </a:solidFill>
        </p:grpSpPr>
        <p:sp>
          <p:nvSpPr>
            <p:cNvPr id="96" name="Freeform: Shape 95">
              <a:extLst>
                <a:ext uri="{FF2B5EF4-FFF2-40B4-BE49-F238E27FC236}">
                  <a16:creationId xmlns:a16="http://schemas.microsoft.com/office/drawing/2014/main" id="{686D6EEB-92EB-4CCA-B647-5E75F34E0B80}"/>
                </a:ext>
              </a:extLst>
            </p:cNvPr>
            <p:cNvSpPr/>
            <p:nvPr/>
          </p:nvSpPr>
          <p:spPr>
            <a:xfrm>
              <a:off x="-6214868" y="5026236"/>
              <a:ext cx="461010" cy="328612"/>
            </a:xfrm>
            <a:custGeom>
              <a:avLst/>
              <a:gdLst>
                <a:gd name="connsiteX0" fmla="*/ 461010 w 461010"/>
                <a:gd name="connsiteY0" fmla="*/ 0 h 328612"/>
                <a:gd name="connsiteX1" fmla="*/ 461010 w 461010"/>
                <a:gd name="connsiteY1" fmla="*/ 328613 h 328612"/>
                <a:gd name="connsiteX2" fmla="*/ 69533 w 461010"/>
                <a:gd name="connsiteY2" fmla="*/ 328613 h 328612"/>
                <a:gd name="connsiteX3" fmla="*/ 80010 w 461010"/>
                <a:gd name="connsiteY3" fmla="*/ 311468 h 328612"/>
                <a:gd name="connsiteX4" fmla="*/ 62865 w 461010"/>
                <a:gd name="connsiteY4" fmla="*/ 250508 h 328612"/>
                <a:gd name="connsiteX5" fmla="*/ 38100 w 461010"/>
                <a:gd name="connsiteY5" fmla="*/ 243840 h 328612"/>
                <a:gd name="connsiteX6" fmla="*/ 0 w 461010"/>
                <a:gd name="connsiteY6" fmla="*/ 260985 h 328612"/>
                <a:gd name="connsiteX7" fmla="*/ 0 w 461010"/>
                <a:gd name="connsiteY7" fmla="*/ 953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10" h="328612">
                  <a:moveTo>
                    <a:pt x="461010" y="0"/>
                  </a:moveTo>
                  <a:lnTo>
                    <a:pt x="461010" y="328613"/>
                  </a:lnTo>
                  <a:lnTo>
                    <a:pt x="69533" y="328613"/>
                  </a:lnTo>
                  <a:cubicBezTo>
                    <a:pt x="74295" y="321945"/>
                    <a:pt x="78105" y="316230"/>
                    <a:pt x="80010" y="311468"/>
                  </a:cubicBezTo>
                  <a:cubicBezTo>
                    <a:pt x="92393" y="290513"/>
                    <a:pt x="84773" y="263843"/>
                    <a:pt x="62865" y="250508"/>
                  </a:cubicBezTo>
                  <a:cubicBezTo>
                    <a:pt x="55245" y="245745"/>
                    <a:pt x="46673" y="243840"/>
                    <a:pt x="38100" y="243840"/>
                  </a:cubicBezTo>
                  <a:cubicBezTo>
                    <a:pt x="24765" y="243840"/>
                    <a:pt x="12382" y="249555"/>
                    <a:pt x="0" y="260985"/>
                  </a:cubicBezTo>
                  <a:lnTo>
                    <a:pt x="0" y="953"/>
                  </a:lnTo>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nvGrpSpPr>
            <p:cNvPr id="97" name="Graphic 6">
              <a:extLst>
                <a:ext uri="{FF2B5EF4-FFF2-40B4-BE49-F238E27FC236}">
                  <a16:creationId xmlns:a16="http://schemas.microsoft.com/office/drawing/2014/main" id="{8B7F4833-EB31-438F-B676-9A444F389215}"/>
                </a:ext>
              </a:extLst>
            </p:cNvPr>
            <p:cNvGrpSpPr/>
            <p:nvPr/>
          </p:nvGrpSpPr>
          <p:grpSpPr>
            <a:xfrm>
              <a:off x="-6561311" y="5128154"/>
              <a:ext cx="417511" cy="530542"/>
              <a:chOff x="-6561311" y="5128154"/>
              <a:chExt cx="417511" cy="530542"/>
            </a:xfrm>
            <a:grpFill/>
          </p:grpSpPr>
          <p:sp>
            <p:nvSpPr>
              <p:cNvPr id="98" name="Freeform: Shape 97">
                <a:extLst>
                  <a:ext uri="{FF2B5EF4-FFF2-40B4-BE49-F238E27FC236}">
                    <a16:creationId xmlns:a16="http://schemas.microsoft.com/office/drawing/2014/main" id="{80EF7285-0006-4F9A-ABCD-D870C1F796B2}"/>
                  </a:ext>
                </a:extLst>
              </p:cNvPr>
              <p:cNvSpPr/>
              <p:nvPr/>
            </p:nvSpPr>
            <p:spPr>
              <a:xfrm>
                <a:off x="-6419655" y="5559636"/>
                <a:ext cx="45719" cy="99059"/>
              </a:xfrm>
              <a:custGeom>
                <a:avLst/>
                <a:gdLst>
                  <a:gd name="connsiteX0" fmla="*/ 39053 w 45719"/>
                  <a:gd name="connsiteY0" fmla="*/ 18097 h 99059"/>
                  <a:gd name="connsiteX1" fmla="*/ 21907 w 45719"/>
                  <a:gd name="connsiteY1" fmla="*/ 0 h 99059"/>
                  <a:gd name="connsiteX2" fmla="*/ 21907 w 45719"/>
                  <a:gd name="connsiteY2" fmla="*/ 0 h 99059"/>
                  <a:gd name="connsiteX3" fmla="*/ 4763 w 45719"/>
                  <a:gd name="connsiteY3" fmla="*/ 17145 h 99059"/>
                  <a:gd name="connsiteX4" fmla="*/ 1905 w 45719"/>
                  <a:gd name="connsiteY4" fmla="*/ 54293 h 99059"/>
                  <a:gd name="connsiteX5" fmla="*/ 0 w 45719"/>
                  <a:gd name="connsiteY5" fmla="*/ 99060 h 99059"/>
                  <a:gd name="connsiteX6" fmla="*/ 16193 w 45719"/>
                  <a:gd name="connsiteY6" fmla="*/ 99060 h 99059"/>
                  <a:gd name="connsiteX7" fmla="*/ 22860 w 45719"/>
                  <a:gd name="connsiteY7" fmla="*/ 35243 h 99059"/>
                  <a:gd name="connsiteX8" fmla="*/ 27623 w 45719"/>
                  <a:gd name="connsiteY8" fmla="*/ 99060 h 99059"/>
                  <a:gd name="connsiteX9" fmla="*/ 45720 w 45719"/>
                  <a:gd name="connsiteY9" fmla="*/ 99060 h 99059"/>
                  <a:gd name="connsiteX10" fmla="*/ 45720 w 45719"/>
                  <a:gd name="connsiteY10" fmla="*/ 98108 h 99059"/>
                  <a:gd name="connsiteX11" fmla="*/ 39053 w 45719"/>
                  <a:gd name="connsiteY11" fmla="*/ 18097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19" h="99059">
                    <a:moveTo>
                      <a:pt x="39053" y="18097"/>
                    </a:moveTo>
                    <a:cubicBezTo>
                      <a:pt x="39053" y="8572"/>
                      <a:pt x="31432" y="953"/>
                      <a:pt x="21907" y="0"/>
                    </a:cubicBezTo>
                    <a:cubicBezTo>
                      <a:pt x="21907" y="0"/>
                      <a:pt x="21907" y="0"/>
                      <a:pt x="21907" y="0"/>
                    </a:cubicBezTo>
                    <a:cubicBezTo>
                      <a:pt x="14288" y="0"/>
                      <a:pt x="5715" y="5715"/>
                      <a:pt x="4763" y="17145"/>
                    </a:cubicBezTo>
                    <a:cubicBezTo>
                      <a:pt x="4763" y="21908"/>
                      <a:pt x="2857" y="35243"/>
                      <a:pt x="1905" y="54293"/>
                    </a:cubicBezTo>
                    <a:cubicBezTo>
                      <a:pt x="953" y="60960"/>
                      <a:pt x="953" y="91440"/>
                      <a:pt x="0" y="99060"/>
                    </a:cubicBezTo>
                    <a:lnTo>
                      <a:pt x="16193" y="99060"/>
                    </a:lnTo>
                    <a:cubicBezTo>
                      <a:pt x="17145" y="92393"/>
                      <a:pt x="19050" y="36195"/>
                      <a:pt x="22860" y="35243"/>
                    </a:cubicBezTo>
                    <a:cubicBezTo>
                      <a:pt x="25718" y="36195"/>
                      <a:pt x="26670" y="92393"/>
                      <a:pt x="27623" y="99060"/>
                    </a:cubicBezTo>
                    <a:lnTo>
                      <a:pt x="45720" y="99060"/>
                    </a:lnTo>
                    <a:cubicBezTo>
                      <a:pt x="45720" y="99060"/>
                      <a:pt x="45720" y="98108"/>
                      <a:pt x="45720" y="98108"/>
                    </a:cubicBezTo>
                    <a:cubicBezTo>
                      <a:pt x="41910" y="70485"/>
                      <a:pt x="40005" y="24765"/>
                      <a:pt x="39053" y="1809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99" name="Freeform: Shape 98">
                <a:extLst>
                  <a:ext uri="{FF2B5EF4-FFF2-40B4-BE49-F238E27FC236}">
                    <a16:creationId xmlns:a16="http://schemas.microsoft.com/office/drawing/2014/main" id="{5A585A0F-A9FE-461D-A0DA-CF32E0DAFBC8}"/>
                  </a:ext>
                </a:extLst>
              </p:cNvPr>
              <p:cNvSpPr/>
              <p:nvPr/>
            </p:nvSpPr>
            <p:spPr>
              <a:xfrm>
                <a:off x="-6561311" y="5128154"/>
                <a:ext cx="417511" cy="530542"/>
              </a:xfrm>
              <a:custGeom>
                <a:avLst/>
                <a:gdLst>
                  <a:gd name="connsiteX0" fmla="*/ 400736 w 417511"/>
                  <a:gd name="connsiteY0" fmla="*/ 163830 h 530542"/>
                  <a:gd name="connsiteX1" fmla="*/ 383591 w 417511"/>
                  <a:gd name="connsiteY1" fmla="*/ 159067 h 530542"/>
                  <a:gd name="connsiteX2" fmla="*/ 358826 w 417511"/>
                  <a:gd name="connsiteY2" fmla="*/ 168592 h 530542"/>
                  <a:gd name="connsiteX3" fmla="*/ 355016 w 417511"/>
                  <a:gd name="connsiteY3" fmla="*/ 171450 h 530542"/>
                  <a:gd name="connsiteX4" fmla="*/ 352159 w 417511"/>
                  <a:gd name="connsiteY4" fmla="*/ 174307 h 530542"/>
                  <a:gd name="connsiteX5" fmla="*/ 322631 w 417511"/>
                  <a:gd name="connsiteY5" fmla="*/ 211455 h 530542"/>
                  <a:gd name="connsiteX6" fmla="*/ 298819 w 417511"/>
                  <a:gd name="connsiteY6" fmla="*/ 240982 h 530542"/>
                  <a:gd name="connsiteX7" fmla="*/ 297866 w 417511"/>
                  <a:gd name="connsiteY7" fmla="*/ 239078 h 530542"/>
                  <a:gd name="connsiteX8" fmla="*/ 269291 w 417511"/>
                  <a:gd name="connsiteY8" fmla="*/ 195263 h 530542"/>
                  <a:gd name="connsiteX9" fmla="*/ 225476 w 417511"/>
                  <a:gd name="connsiteY9" fmla="*/ 167640 h 530542"/>
                  <a:gd name="connsiteX10" fmla="*/ 214046 w 417511"/>
                  <a:gd name="connsiteY10" fmla="*/ 163830 h 530542"/>
                  <a:gd name="connsiteX11" fmla="*/ 206426 w 417511"/>
                  <a:gd name="connsiteY11" fmla="*/ 151447 h 530542"/>
                  <a:gd name="connsiteX12" fmla="*/ 207379 w 417511"/>
                  <a:gd name="connsiteY12" fmla="*/ 148590 h 530542"/>
                  <a:gd name="connsiteX13" fmla="*/ 207379 w 417511"/>
                  <a:gd name="connsiteY13" fmla="*/ 144780 h 530542"/>
                  <a:gd name="connsiteX14" fmla="*/ 207379 w 417511"/>
                  <a:gd name="connsiteY14" fmla="*/ 144780 h 530542"/>
                  <a:gd name="connsiteX15" fmla="*/ 207379 w 417511"/>
                  <a:gd name="connsiteY15" fmla="*/ 143828 h 530542"/>
                  <a:gd name="connsiteX16" fmla="*/ 207379 w 417511"/>
                  <a:gd name="connsiteY16" fmla="*/ 142875 h 530542"/>
                  <a:gd name="connsiteX17" fmla="*/ 214999 w 417511"/>
                  <a:gd name="connsiteY17" fmla="*/ 114300 h 530542"/>
                  <a:gd name="connsiteX18" fmla="*/ 215951 w 417511"/>
                  <a:gd name="connsiteY18" fmla="*/ 110490 h 530542"/>
                  <a:gd name="connsiteX19" fmla="*/ 216904 w 417511"/>
                  <a:gd name="connsiteY19" fmla="*/ 107632 h 530542"/>
                  <a:gd name="connsiteX20" fmla="*/ 226429 w 417511"/>
                  <a:gd name="connsiteY20" fmla="*/ 67628 h 530542"/>
                  <a:gd name="connsiteX21" fmla="*/ 164516 w 417511"/>
                  <a:gd name="connsiteY21" fmla="*/ 0 h 530542"/>
                  <a:gd name="connsiteX22" fmla="*/ 164516 w 417511"/>
                  <a:gd name="connsiteY22" fmla="*/ 0 h 530542"/>
                  <a:gd name="connsiteX23" fmla="*/ 164516 w 417511"/>
                  <a:gd name="connsiteY23" fmla="*/ 0 h 530542"/>
                  <a:gd name="connsiteX24" fmla="*/ 162611 w 417511"/>
                  <a:gd name="connsiteY24" fmla="*/ 0 h 530542"/>
                  <a:gd name="connsiteX25" fmla="*/ 161659 w 417511"/>
                  <a:gd name="connsiteY25" fmla="*/ 0 h 530542"/>
                  <a:gd name="connsiteX26" fmla="*/ 161659 w 417511"/>
                  <a:gd name="connsiteY26" fmla="*/ 0 h 530542"/>
                  <a:gd name="connsiteX27" fmla="*/ 154991 w 417511"/>
                  <a:gd name="connsiteY27" fmla="*/ 953 h 530542"/>
                  <a:gd name="connsiteX28" fmla="*/ 103556 w 417511"/>
                  <a:gd name="connsiteY28" fmla="*/ 69532 h 530542"/>
                  <a:gd name="connsiteX29" fmla="*/ 114986 w 417511"/>
                  <a:gd name="connsiteY29" fmla="*/ 113347 h 530542"/>
                  <a:gd name="connsiteX30" fmla="*/ 121654 w 417511"/>
                  <a:gd name="connsiteY30" fmla="*/ 133350 h 530542"/>
                  <a:gd name="connsiteX31" fmla="*/ 122606 w 417511"/>
                  <a:gd name="connsiteY31" fmla="*/ 136207 h 530542"/>
                  <a:gd name="connsiteX32" fmla="*/ 123559 w 417511"/>
                  <a:gd name="connsiteY32" fmla="*/ 140970 h 530542"/>
                  <a:gd name="connsiteX33" fmla="*/ 124511 w 417511"/>
                  <a:gd name="connsiteY33" fmla="*/ 146685 h 530542"/>
                  <a:gd name="connsiteX34" fmla="*/ 118796 w 417511"/>
                  <a:gd name="connsiteY34" fmla="*/ 165735 h 530542"/>
                  <a:gd name="connsiteX35" fmla="*/ 116891 w 417511"/>
                  <a:gd name="connsiteY35" fmla="*/ 166688 h 530542"/>
                  <a:gd name="connsiteX36" fmla="*/ 57836 w 417511"/>
                  <a:gd name="connsiteY36" fmla="*/ 222885 h 530542"/>
                  <a:gd name="connsiteX37" fmla="*/ 11163 w 417511"/>
                  <a:gd name="connsiteY37" fmla="*/ 396240 h 530542"/>
                  <a:gd name="connsiteX38" fmla="*/ 1638 w 417511"/>
                  <a:gd name="connsiteY38" fmla="*/ 438150 h 530542"/>
                  <a:gd name="connsiteX39" fmla="*/ 8306 w 417511"/>
                  <a:gd name="connsiteY39" fmla="*/ 470535 h 530542"/>
                  <a:gd name="connsiteX40" fmla="*/ 38786 w 417511"/>
                  <a:gd name="connsiteY40" fmla="*/ 476250 h 530542"/>
                  <a:gd name="connsiteX41" fmla="*/ 62599 w 417511"/>
                  <a:gd name="connsiteY41" fmla="*/ 449580 h 530542"/>
                  <a:gd name="connsiteX42" fmla="*/ 77838 w 417511"/>
                  <a:gd name="connsiteY42" fmla="*/ 376238 h 530542"/>
                  <a:gd name="connsiteX43" fmla="*/ 77838 w 417511"/>
                  <a:gd name="connsiteY43" fmla="*/ 380047 h 530542"/>
                  <a:gd name="connsiteX44" fmla="*/ 77838 w 417511"/>
                  <a:gd name="connsiteY44" fmla="*/ 530542 h 530542"/>
                  <a:gd name="connsiteX45" fmla="*/ 97841 w 417511"/>
                  <a:gd name="connsiteY45" fmla="*/ 530542 h 530542"/>
                  <a:gd name="connsiteX46" fmla="*/ 97841 w 417511"/>
                  <a:gd name="connsiteY46" fmla="*/ 421957 h 530542"/>
                  <a:gd name="connsiteX47" fmla="*/ 163563 w 417511"/>
                  <a:gd name="connsiteY47" fmla="*/ 389572 h 530542"/>
                  <a:gd name="connsiteX48" fmla="*/ 229286 w 417511"/>
                  <a:gd name="connsiteY48" fmla="*/ 421957 h 530542"/>
                  <a:gd name="connsiteX49" fmla="*/ 229286 w 417511"/>
                  <a:gd name="connsiteY49" fmla="*/ 530542 h 530542"/>
                  <a:gd name="connsiteX50" fmla="*/ 250241 w 417511"/>
                  <a:gd name="connsiteY50" fmla="*/ 530542 h 530542"/>
                  <a:gd name="connsiteX51" fmla="*/ 249288 w 417511"/>
                  <a:gd name="connsiteY51" fmla="*/ 380047 h 530542"/>
                  <a:gd name="connsiteX52" fmla="*/ 249288 w 417511"/>
                  <a:gd name="connsiteY52" fmla="*/ 378142 h 530542"/>
                  <a:gd name="connsiteX53" fmla="*/ 251194 w 417511"/>
                  <a:gd name="connsiteY53" fmla="*/ 291465 h 530542"/>
                  <a:gd name="connsiteX54" fmla="*/ 251194 w 417511"/>
                  <a:gd name="connsiteY54" fmla="*/ 290513 h 530542"/>
                  <a:gd name="connsiteX55" fmla="*/ 272149 w 417511"/>
                  <a:gd name="connsiteY55" fmla="*/ 310515 h 530542"/>
                  <a:gd name="connsiteX56" fmla="*/ 306438 w 417511"/>
                  <a:gd name="connsiteY56" fmla="*/ 326707 h 530542"/>
                  <a:gd name="connsiteX57" fmla="*/ 310249 w 417511"/>
                  <a:gd name="connsiteY57" fmla="*/ 326707 h 530542"/>
                  <a:gd name="connsiteX58" fmla="*/ 351206 w 417511"/>
                  <a:gd name="connsiteY58" fmla="*/ 297180 h 530542"/>
                  <a:gd name="connsiteX59" fmla="*/ 362636 w 417511"/>
                  <a:gd name="connsiteY59" fmla="*/ 281940 h 530542"/>
                  <a:gd name="connsiteX60" fmla="*/ 375971 w 417511"/>
                  <a:gd name="connsiteY60" fmla="*/ 264795 h 530542"/>
                  <a:gd name="connsiteX61" fmla="*/ 414071 w 417511"/>
                  <a:gd name="connsiteY61" fmla="*/ 204788 h 530542"/>
                  <a:gd name="connsiteX62" fmla="*/ 400736 w 417511"/>
                  <a:gd name="connsiteY62" fmla="*/ 163830 h 530542"/>
                  <a:gd name="connsiteX63" fmla="*/ 97841 w 417511"/>
                  <a:gd name="connsiteY63" fmla="*/ 410528 h 530542"/>
                  <a:gd name="connsiteX64" fmla="*/ 97841 w 417511"/>
                  <a:gd name="connsiteY64" fmla="*/ 381000 h 530542"/>
                  <a:gd name="connsiteX65" fmla="*/ 97841 w 417511"/>
                  <a:gd name="connsiteY65" fmla="*/ 280988 h 530542"/>
                  <a:gd name="connsiteX66" fmla="*/ 88316 w 417511"/>
                  <a:gd name="connsiteY66" fmla="*/ 270510 h 530542"/>
                  <a:gd name="connsiteX67" fmla="*/ 76886 w 417511"/>
                  <a:gd name="connsiteY67" fmla="*/ 278130 h 530542"/>
                  <a:gd name="connsiteX68" fmla="*/ 40691 w 417511"/>
                  <a:gd name="connsiteY68" fmla="*/ 444817 h 530542"/>
                  <a:gd name="connsiteX69" fmla="*/ 31166 w 417511"/>
                  <a:gd name="connsiteY69" fmla="*/ 456247 h 530542"/>
                  <a:gd name="connsiteX70" fmla="*/ 20688 w 417511"/>
                  <a:gd name="connsiteY70" fmla="*/ 455295 h 530542"/>
                  <a:gd name="connsiteX71" fmla="*/ 19736 w 417511"/>
                  <a:gd name="connsiteY71" fmla="*/ 441960 h 530542"/>
                  <a:gd name="connsiteX72" fmla="*/ 29261 w 417511"/>
                  <a:gd name="connsiteY72" fmla="*/ 400050 h 530542"/>
                  <a:gd name="connsiteX73" fmla="*/ 74981 w 417511"/>
                  <a:gd name="connsiteY73" fmla="*/ 229553 h 530542"/>
                  <a:gd name="connsiteX74" fmla="*/ 123559 w 417511"/>
                  <a:gd name="connsiteY74" fmla="*/ 184785 h 530542"/>
                  <a:gd name="connsiteX75" fmla="*/ 123559 w 417511"/>
                  <a:gd name="connsiteY75" fmla="*/ 184785 h 530542"/>
                  <a:gd name="connsiteX76" fmla="*/ 155944 w 417511"/>
                  <a:gd name="connsiteY76" fmla="*/ 355282 h 530542"/>
                  <a:gd name="connsiteX77" fmla="*/ 97841 w 417511"/>
                  <a:gd name="connsiteY77" fmla="*/ 410528 h 530542"/>
                  <a:gd name="connsiteX78" fmla="*/ 163563 w 417511"/>
                  <a:gd name="connsiteY78" fmla="*/ 167640 h 530542"/>
                  <a:gd name="connsiteX79" fmla="*/ 143561 w 417511"/>
                  <a:gd name="connsiteY79" fmla="*/ 163830 h 530542"/>
                  <a:gd name="connsiteX80" fmla="*/ 142609 w 417511"/>
                  <a:gd name="connsiteY80" fmla="*/ 128588 h 530542"/>
                  <a:gd name="connsiteX81" fmla="*/ 142609 w 417511"/>
                  <a:gd name="connsiteY81" fmla="*/ 128588 h 530542"/>
                  <a:gd name="connsiteX82" fmla="*/ 134036 w 417511"/>
                  <a:gd name="connsiteY82" fmla="*/ 104775 h 530542"/>
                  <a:gd name="connsiteX83" fmla="*/ 124511 w 417511"/>
                  <a:gd name="connsiteY83" fmla="*/ 68580 h 530542"/>
                  <a:gd name="connsiteX84" fmla="*/ 165469 w 417511"/>
                  <a:gd name="connsiteY84" fmla="*/ 20003 h 530542"/>
                  <a:gd name="connsiteX85" fmla="*/ 206426 w 417511"/>
                  <a:gd name="connsiteY85" fmla="*/ 66675 h 530542"/>
                  <a:gd name="connsiteX86" fmla="*/ 196901 w 417511"/>
                  <a:gd name="connsiteY86" fmla="*/ 101917 h 530542"/>
                  <a:gd name="connsiteX87" fmla="*/ 196901 w 417511"/>
                  <a:gd name="connsiteY87" fmla="*/ 102870 h 530542"/>
                  <a:gd name="connsiteX88" fmla="*/ 186424 w 417511"/>
                  <a:gd name="connsiteY88" fmla="*/ 138113 h 530542"/>
                  <a:gd name="connsiteX89" fmla="*/ 186424 w 417511"/>
                  <a:gd name="connsiteY89" fmla="*/ 138113 h 530542"/>
                  <a:gd name="connsiteX90" fmla="*/ 186424 w 417511"/>
                  <a:gd name="connsiteY90" fmla="*/ 139065 h 530542"/>
                  <a:gd name="connsiteX91" fmla="*/ 186424 w 417511"/>
                  <a:gd name="connsiteY91" fmla="*/ 161925 h 530542"/>
                  <a:gd name="connsiteX92" fmla="*/ 163563 w 417511"/>
                  <a:gd name="connsiteY92" fmla="*/ 167640 h 530542"/>
                  <a:gd name="connsiteX93" fmla="*/ 393116 w 417511"/>
                  <a:gd name="connsiteY93" fmla="*/ 197167 h 530542"/>
                  <a:gd name="connsiteX94" fmla="*/ 390259 w 417511"/>
                  <a:gd name="connsiteY94" fmla="*/ 203835 h 530542"/>
                  <a:gd name="connsiteX95" fmla="*/ 359779 w 417511"/>
                  <a:gd name="connsiteY95" fmla="*/ 249555 h 530542"/>
                  <a:gd name="connsiteX96" fmla="*/ 346444 w 417511"/>
                  <a:gd name="connsiteY96" fmla="*/ 266700 h 530542"/>
                  <a:gd name="connsiteX97" fmla="*/ 332156 w 417511"/>
                  <a:gd name="connsiteY97" fmla="*/ 285750 h 530542"/>
                  <a:gd name="connsiteX98" fmla="*/ 307391 w 417511"/>
                  <a:gd name="connsiteY98" fmla="*/ 305753 h 530542"/>
                  <a:gd name="connsiteX99" fmla="*/ 305486 w 417511"/>
                  <a:gd name="connsiteY99" fmla="*/ 305753 h 530542"/>
                  <a:gd name="connsiteX100" fmla="*/ 286436 w 417511"/>
                  <a:gd name="connsiteY100" fmla="*/ 296228 h 530542"/>
                  <a:gd name="connsiteX101" fmla="*/ 248336 w 417511"/>
                  <a:gd name="connsiteY101" fmla="*/ 260032 h 530542"/>
                  <a:gd name="connsiteX102" fmla="*/ 240716 w 417511"/>
                  <a:gd name="connsiteY102" fmla="*/ 257175 h 530542"/>
                  <a:gd name="connsiteX103" fmla="*/ 236906 w 417511"/>
                  <a:gd name="connsiteY103" fmla="*/ 258128 h 530542"/>
                  <a:gd name="connsiteX104" fmla="*/ 230238 w 417511"/>
                  <a:gd name="connsiteY104" fmla="*/ 267653 h 530542"/>
                  <a:gd name="connsiteX105" fmla="*/ 231191 w 417511"/>
                  <a:gd name="connsiteY105" fmla="*/ 280988 h 530542"/>
                  <a:gd name="connsiteX106" fmla="*/ 229286 w 417511"/>
                  <a:gd name="connsiteY106" fmla="*/ 378142 h 530542"/>
                  <a:gd name="connsiteX107" fmla="*/ 229286 w 417511"/>
                  <a:gd name="connsiteY107" fmla="*/ 379095 h 530542"/>
                  <a:gd name="connsiteX108" fmla="*/ 229286 w 417511"/>
                  <a:gd name="connsiteY108" fmla="*/ 381000 h 530542"/>
                  <a:gd name="connsiteX109" fmla="*/ 229286 w 417511"/>
                  <a:gd name="connsiteY109" fmla="*/ 410528 h 530542"/>
                  <a:gd name="connsiteX110" fmla="*/ 173088 w 417511"/>
                  <a:gd name="connsiteY110" fmla="*/ 356235 h 530542"/>
                  <a:gd name="connsiteX111" fmla="*/ 206426 w 417511"/>
                  <a:gd name="connsiteY111" fmla="*/ 182880 h 530542"/>
                  <a:gd name="connsiteX112" fmla="*/ 206426 w 417511"/>
                  <a:gd name="connsiteY112" fmla="*/ 182880 h 530542"/>
                  <a:gd name="connsiteX113" fmla="*/ 207379 w 417511"/>
                  <a:gd name="connsiteY113" fmla="*/ 183832 h 530542"/>
                  <a:gd name="connsiteX114" fmla="*/ 219761 w 417511"/>
                  <a:gd name="connsiteY114" fmla="*/ 187642 h 530542"/>
                  <a:gd name="connsiteX115" fmla="*/ 251194 w 417511"/>
                  <a:gd name="connsiteY115" fmla="*/ 205740 h 530542"/>
                  <a:gd name="connsiteX116" fmla="*/ 289294 w 417511"/>
                  <a:gd name="connsiteY116" fmla="*/ 263842 h 530542"/>
                  <a:gd name="connsiteX117" fmla="*/ 290246 w 417511"/>
                  <a:gd name="connsiteY117" fmla="*/ 264795 h 530542"/>
                  <a:gd name="connsiteX118" fmla="*/ 298819 w 417511"/>
                  <a:gd name="connsiteY118" fmla="*/ 269557 h 530542"/>
                  <a:gd name="connsiteX119" fmla="*/ 299771 w 417511"/>
                  <a:gd name="connsiteY119" fmla="*/ 269557 h 530542"/>
                  <a:gd name="connsiteX120" fmla="*/ 308344 w 417511"/>
                  <a:gd name="connsiteY120" fmla="*/ 265747 h 530542"/>
                  <a:gd name="connsiteX121" fmla="*/ 331204 w 417511"/>
                  <a:gd name="connsiteY121" fmla="*/ 238125 h 530542"/>
                  <a:gd name="connsiteX122" fmla="*/ 339776 w 417511"/>
                  <a:gd name="connsiteY122" fmla="*/ 227647 h 530542"/>
                  <a:gd name="connsiteX123" fmla="*/ 343586 w 417511"/>
                  <a:gd name="connsiteY123" fmla="*/ 223838 h 530542"/>
                  <a:gd name="connsiteX124" fmla="*/ 372161 w 417511"/>
                  <a:gd name="connsiteY124" fmla="*/ 188595 h 530542"/>
                  <a:gd name="connsiteX125" fmla="*/ 385496 w 417511"/>
                  <a:gd name="connsiteY125" fmla="*/ 181928 h 530542"/>
                  <a:gd name="connsiteX126" fmla="*/ 393116 w 417511"/>
                  <a:gd name="connsiteY126" fmla="*/ 183832 h 530542"/>
                  <a:gd name="connsiteX127" fmla="*/ 393116 w 417511"/>
                  <a:gd name="connsiteY127" fmla="*/ 197167 h 530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417511" h="530542">
                    <a:moveTo>
                      <a:pt x="400736" y="163830"/>
                    </a:moveTo>
                    <a:cubicBezTo>
                      <a:pt x="395021" y="160020"/>
                      <a:pt x="389306" y="159067"/>
                      <a:pt x="383591" y="159067"/>
                    </a:cubicBezTo>
                    <a:cubicBezTo>
                      <a:pt x="375971" y="159067"/>
                      <a:pt x="367399" y="161925"/>
                      <a:pt x="358826" y="168592"/>
                    </a:cubicBezTo>
                    <a:cubicBezTo>
                      <a:pt x="357874" y="169545"/>
                      <a:pt x="356921" y="170497"/>
                      <a:pt x="355016" y="171450"/>
                    </a:cubicBezTo>
                    <a:cubicBezTo>
                      <a:pt x="354063" y="172403"/>
                      <a:pt x="353111" y="173355"/>
                      <a:pt x="352159" y="174307"/>
                    </a:cubicBezTo>
                    <a:cubicBezTo>
                      <a:pt x="350254" y="176213"/>
                      <a:pt x="341681" y="186690"/>
                      <a:pt x="322631" y="211455"/>
                    </a:cubicBezTo>
                    <a:lnTo>
                      <a:pt x="298819" y="240982"/>
                    </a:lnTo>
                    <a:lnTo>
                      <a:pt x="297866" y="239078"/>
                    </a:lnTo>
                    <a:cubicBezTo>
                      <a:pt x="293104" y="232410"/>
                      <a:pt x="280721" y="213360"/>
                      <a:pt x="269291" y="195263"/>
                    </a:cubicBezTo>
                    <a:cubicBezTo>
                      <a:pt x="257861" y="177165"/>
                      <a:pt x="242621" y="172403"/>
                      <a:pt x="225476" y="167640"/>
                    </a:cubicBezTo>
                    <a:cubicBezTo>
                      <a:pt x="221666" y="166688"/>
                      <a:pt x="217856" y="165735"/>
                      <a:pt x="214046" y="163830"/>
                    </a:cubicBezTo>
                    <a:cubicBezTo>
                      <a:pt x="209284" y="161925"/>
                      <a:pt x="206426" y="157163"/>
                      <a:pt x="206426" y="151447"/>
                    </a:cubicBezTo>
                    <a:lnTo>
                      <a:pt x="207379" y="148590"/>
                    </a:lnTo>
                    <a:cubicBezTo>
                      <a:pt x="207379" y="147638"/>
                      <a:pt x="207379" y="145732"/>
                      <a:pt x="207379" y="144780"/>
                    </a:cubicBezTo>
                    <a:lnTo>
                      <a:pt x="207379" y="144780"/>
                    </a:lnTo>
                    <a:lnTo>
                      <a:pt x="207379" y="143828"/>
                    </a:lnTo>
                    <a:cubicBezTo>
                      <a:pt x="207379" y="143828"/>
                      <a:pt x="207379" y="142875"/>
                      <a:pt x="207379" y="142875"/>
                    </a:cubicBezTo>
                    <a:cubicBezTo>
                      <a:pt x="208331" y="132397"/>
                      <a:pt x="212141" y="123825"/>
                      <a:pt x="214999" y="114300"/>
                    </a:cubicBezTo>
                    <a:lnTo>
                      <a:pt x="215951" y="110490"/>
                    </a:lnTo>
                    <a:lnTo>
                      <a:pt x="216904" y="107632"/>
                    </a:lnTo>
                    <a:cubicBezTo>
                      <a:pt x="221666" y="95250"/>
                      <a:pt x="226429" y="82867"/>
                      <a:pt x="226429" y="67628"/>
                    </a:cubicBezTo>
                    <a:cubicBezTo>
                      <a:pt x="226429" y="34290"/>
                      <a:pt x="205474" y="953"/>
                      <a:pt x="164516" y="0"/>
                    </a:cubicBezTo>
                    <a:lnTo>
                      <a:pt x="164516" y="0"/>
                    </a:lnTo>
                    <a:cubicBezTo>
                      <a:pt x="164516" y="0"/>
                      <a:pt x="164516" y="0"/>
                      <a:pt x="164516" y="0"/>
                    </a:cubicBezTo>
                    <a:cubicBezTo>
                      <a:pt x="163563" y="0"/>
                      <a:pt x="163563" y="0"/>
                      <a:pt x="162611" y="0"/>
                    </a:cubicBezTo>
                    <a:lnTo>
                      <a:pt x="161659" y="0"/>
                    </a:lnTo>
                    <a:lnTo>
                      <a:pt x="161659" y="0"/>
                    </a:lnTo>
                    <a:cubicBezTo>
                      <a:pt x="159754" y="0"/>
                      <a:pt x="156896" y="0"/>
                      <a:pt x="154991" y="953"/>
                    </a:cubicBezTo>
                    <a:cubicBezTo>
                      <a:pt x="120701" y="6667"/>
                      <a:pt x="102604" y="39053"/>
                      <a:pt x="103556" y="69532"/>
                    </a:cubicBezTo>
                    <a:cubicBezTo>
                      <a:pt x="103556" y="85725"/>
                      <a:pt x="109271" y="100013"/>
                      <a:pt x="114986" y="113347"/>
                    </a:cubicBezTo>
                    <a:cubicBezTo>
                      <a:pt x="117844" y="120015"/>
                      <a:pt x="119749" y="126682"/>
                      <a:pt x="121654" y="133350"/>
                    </a:cubicBezTo>
                    <a:cubicBezTo>
                      <a:pt x="121654" y="134303"/>
                      <a:pt x="121654" y="135255"/>
                      <a:pt x="122606" y="136207"/>
                    </a:cubicBezTo>
                    <a:cubicBezTo>
                      <a:pt x="123559" y="138113"/>
                      <a:pt x="123559" y="139065"/>
                      <a:pt x="123559" y="140970"/>
                    </a:cubicBezTo>
                    <a:cubicBezTo>
                      <a:pt x="123559" y="142875"/>
                      <a:pt x="124511" y="144780"/>
                      <a:pt x="124511" y="146685"/>
                    </a:cubicBezTo>
                    <a:cubicBezTo>
                      <a:pt x="125463" y="157163"/>
                      <a:pt x="120701" y="163830"/>
                      <a:pt x="118796" y="165735"/>
                    </a:cubicBezTo>
                    <a:lnTo>
                      <a:pt x="116891" y="166688"/>
                    </a:lnTo>
                    <a:cubicBezTo>
                      <a:pt x="96888" y="176213"/>
                      <a:pt x="70219" y="189547"/>
                      <a:pt x="57836" y="222885"/>
                    </a:cubicBezTo>
                    <a:cubicBezTo>
                      <a:pt x="39738" y="270510"/>
                      <a:pt x="22594" y="345757"/>
                      <a:pt x="11163" y="396240"/>
                    </a:cubicBezTo>
                    <a:cubicBezTo>
                      <a:pt x="7354" y="413385"/>
                      <a:pt x="3544" y="428625"/>
                      <a:pt x="1638" y="438150"/>
                    </a:cubicBezTo>
                    <a:cubicBezTo>
                      <a:pt x="-3124" y="456247"/>
                      <a:pt x="3544" y="466725"/>
                      <a:pt x="8306" y="470535"/>
                    </a:cubicBezTo>
                    <a:cubicBezTo>
                      <a:pt x="15926" y="478155"/>
                      <a:pt x="27356" y="480060"/>
                      <a:pt x="38786" y="476250"/>
                    </a:cubicBezTo>
                    <a:cubicBezTo>
                      <a:pt x="51169" y="472440"/>
                      <a:pt x="59741" y="461963"/>
                      <a:pt x="62599" y="449580"/>
                    </a:cubicBezTo>
                    <a:cubicBezTo>
                      <a:pt x="64504" y="438150"/>
                      <a:pt x="71171" y="407670"/>
                      <a:pt x="77838" y="376238"/>
                    </a:cubicBezTo>
                    <a:lnTo>
                      <a:pt x="77838" y="380047"/>
                    </a:lnTo>
                    <a:cubicBezTo>
                      <a:pt x="77838" y="397192"/>
                      <a:pt x="76886" y="478155"/>
                      <a:pt x="77838" y="530542"/>
                    </a:cubicBezTo>
                    <a:lnTo>
                      <a:pt x="97841" y="530542"/>
                    </a:lnTo>
                    <a:cubicBezTo>
                      <a:pt x="97841" y="497205"/>
                      <a:pt x="97841" y="454342"/>
                      <a:pt x="97841" y="421957"/>
                    </a:cubicBezTo>
                    <a:cubicBezTo>
                      <a:pt x="121654" y="421957"/>
                      <a:pt x="134036" y="421005"/>
                      <a:pt x="163563" y="389572"/>
                    </a:cubicBezTo>
                    <a:cubicBezTo>
                      <a:pt x="190234" y="419100"/>
                      <a:pt x="219761" y="421957"/>
                      <a:pt x="229286" y="421957"/>
                    </a:cubicBezTo>
                    <a:cubicBezTo>
                      <a:pt x="229286" y="454342"/>
                      <a:pt x="229286" y="497205"/>
                      <a:pt x="229286" y="530542"/>
                    </a:cubicBezTo>
                    <a:lnTo>
                      <a:pt x="250241" y="530542"/>
                    </a:lnTo>
                    <a:cubicBezTo>
                      <a:pt x="250241" y="477203"/>
                      <a:pt x="250241" y="397192"/>
                      <a:pt x="249288" y="380047"/>
                    </a:cubicBezTo>
                    <a:lnTo>
                      <a:pt x="249288" y="378142"/>
                    </a:lnTo>
                    <a:cubicBezTo>
                      <a:pt x="250241" y="372428"/>
                      <a:pt x="250241" y="328613"/>
                      <a:pt x="251194" y="291465"/>
                    </a:cubicBezTo>
                    <a:lnTo>
                      <a:pt x="251194" y="290513"/>
                    </a:lnTo>
                    <a:cubicBezTo>
                      <a:pt x="255956" y="295275"/>
                      <a:pt x="268338" y="306705"/>
                      <a:pt x="272149" y="310515"/>
                    </a:cubicBezTo>
                    <a:cubicBezTo>
                      <a:pt x="283579" y="320992"/>
                      <a:pt x="294056" y="326707"/>
                      <a:pt x="306438" y="326707"/>
                    </a:cubicBezTo>
                    <a:cubicBezTo>
                      <a:pt x="307391" y="326707"/>
                      <a:pt x="309296" y="326707"/>
                      <a:pt x="310249" y="326707"/>
                    </a:cubicBezTo>
                    <a:cubicBezTo>
                      <a:pt x="324536" y="324803"/>
                      <a:pt x="338824" y="315278"/>
                      <a:pt x="351206" y="297180"/>
                    </a:cubicBezTo>
                    <a:cubicBezTo>
                      <a:pt x="353111" y="295275"/>
                      <a:pt x="356921" y="289560"/>
                      <a:pt x="362636" y="281940"/>
                    </a:cubicBezTo>
                    <a:cubicBezTo>
                      <a:pt x="366446" y="277178"/>
                      <a:pt x="371209" y="270510"/>
                      <a:pt x="375971" y="264795"/>
                    </a:cubicBezTo>
                    <a:cubicBezTo>
                      <a:pt x="394069" y="240982"/>
                      <a:pt x="403594" y="223838"/>
                      <a:pt x="414071" y="204788"/>
                    </a:cubicBezTo>
                    <a:cubicBezTo>
                      <a:pt x="422644" y="188595"/>
                      <a:pt x="414071" y="172403"/>
                      <a:pt x="400736" y="163830"/>
                    </a:cubicBezTo>
                    <a:close/>
                    <a:moveTo>
                      <a:pt x="97841" y="410528"/>
                    </a:moveTo>
                    <a:cubicBezTo>
                      <a:pt x="97841" y="397192"/>
                      <a:pt x="97841" y="385763"/>
                      <a:pt x="97841" y="381000"/>
                    </a:cubicBezTo>
                    <a:lnTo>
                      <a:pt x="97841" y="280988"/>
                    </a:lnTo>
                    <a:cubicBezTo>
                      <a:pt x="97841" y="275272"/>
                      <a:pt x="94031" y="271463"/>
                      <a:pt x="88316" y="270510"/>
                    </a:cubicBezTo>
                    <a:cubicBezTo>
                      <a:pt x="83554" y="269557"/>
                      <a:pt x="78791" y="273367"/>
                      <a:pt x="76886" y="278130"/>
                    </a:cubicBezTo>
                    <a:cubicBezTo>
                      <a:pt x="76886" y="280035"/>
                      <a:pt x="46406" y="417195"/>
                      <a:pt x="40691" y="444817"/>
                    </a:cubicBezTo>
                    <a:cubicBezTo>
                      <a:pt x="38786" y="452438"/>
                      <a:pt x="33071" y="455295"/>
                      <a:pt x="31166" y="456247"/>
                    </a:cubicBezTo>
                    <a:cubicBezTo>
                      <a:pt x="27356" y="457200"/>
                      <a:pt x="23546" y="457200"/>
                      <a:pt x="20688" y="455295"/>
                    </a:cubicBezTo>
                    <a:cubicBezTo>
                      <a:pt x="17831" y="453390"/>
                      <a:pt x="17831" y="448628"/>
                      <a:pt x="19736" y="441960"/>
                    </a:cubicBezTo>
                    <a:cubicBezTo>
                      <a:pt x="22594" y="432435"/>
                      <a:pt x="25451" y="418147"/>
                      <a:pt x="29261" y="400050"/>
                    </a:cubicBezTo>
                    <a:cubicBezTo>
                      <a:pt x="40691" y="350520"/>
                      <a:pt x="56884" y="276225"/>
                      <a:pt x="74981" y="229553"/>
                    </a:cubicBezTo>
                    <a:cubicBezTo>
                      <a:pt x="84506" y="203835"/>
                      <a:pt x="104509" y="194310"/>
                      <a:pt x="123559" y="184785"/>
                    </a:cubicBezTo>
                    <a:lnTo>
                      <a:pt x="123559" y="184785"/>
                    </a:lnTo>
                    <a:cubicBezTo>
                      <a:pt x="129274" y="198120"/>
                      <a:pt x="155944" y="260985"/>
                      <a:pt x="155944" y="355282"/>
                    </a:cubicBezTo>
                    <a:cubicBezTo>
                      <a:pt x="157849" y="385763"/>
                      <a:pt x="132131" y="404813"/>
                      <a:pt x="97841" y="410528"/>
                    </a:cubicBezTo>
                    <a:close/>
                    <a:moveTo>
                      <a:pt x="163563" y="167640"/>
                    </a:moveTo>
                    <a:cubicBezTo>
                      <a:pt x="155944" y="167640"/>
                      <a:pt x="148324" y="165735"/>
                      <a:pt x="143561" y="163830"/>
                    </a:cubicBezTo>
                    <a:cubicBezTo>
                      <a:pt x="146419" y="154305"/>
                      <a:pt x="147371" y="141922"/>
                      <a:pt x="142609" y="128588"/>
                    </a:cubicBezTo>
                    <a:cubicBezTo>
                      <a:pt x="142609" y="128588"/>
                      <a:pt x="142609" y="128588"/>
                      <a:pt x="142609" y="128588"/>
                    </a:cubicBezTo>
                    <a:cubicBezTo>
                      <a:pt x="140704" y="120015"/>
                      <a:pt x="136894" y="112395"/>
                      <a:pt x="134036" y="104775"/>
                    </a:cubicBezTo>
                    <a:cubicBezTo>
                      <a:pt x="129274" y="92392"/>
                      <a:pt x="124511" y="81915"/>
                      <a:pt x="124511" y="68580"/>
                    </a:cubicBezTo>
                    <a:cubicBezTo>
                      <a:pt x="124511" y="45720"/>
                      <a:pt x="136894" y="20003"/>
                      <a:pt x="165469" y="20003"/>
                    </a:cubicBezTo>
                    <a:cubicBezTo>
                      <a:pt x="193091" y="20955"/>
                      <a:pt x="206426" y="44767"/>
                      <a:pt x="206426" y="66675"/>
                    </a:cubicBezTo>
                    <a:cubicBezTo>
                      <a:pt x="206426" y="79057"/>
                      <a:pt x="201663" y="90488"/>
                      <a:pt x="196901" y="101917"/>
                    </a:cubicBezTo>
                    <a:lnTo>
                      <a:pt x="196901" y="102870"/>
                    </a:lnTo>
                    <a:cubicBezTo>
                      <a:pt x="193091" y="113347"/>
                      <a:pt x="188329" y="124778"/>
                      <a:pt x="186424" y="138113"/>
                    </a:cubicBezTo>
                    <a:lnTo>
                      <a:pt x="186424" y="138113"/>
                    </a:lnTo>
                    <a:lnTo>
                      <a:pt x="186424" y="139065"/>
                    </a:lnTo>
                    <a:cubicBezTo>
                      <a:pt x="184519" y="145732"/>
                      <a:pt x="184519" y="154305"/>
                      <a:pt x="186424" y="161925"/>
                    </a:cubicBezTo>
                    <a:cubicBezTo>
                      <a:pt x="181661" y="164782"/>
                      <a:pt x="173088" y="167640"/>
                      <a:pt x="163563" y="167640"/>
                    </a:cubicBezTo>
                    <a:close/>
                    <a:moveTo>
                      <a:pt x="393116" y="197167"/>
                    </a:moveTo>
                    <a:cubicBezTo>
                      <a:pt x="392163" y="200025"/>
                      <a:pt x="391211" y="201930"/>
                      <a:pt x="390259" y="203835"/>
                    </a:cubicBezTo>
                    <a:cubicBezTo>
                      <a:pt x="389306" y="205740"/>
                      <a:pt x="370256" y="234315"/>
                      <a:pt x="359779" y="249555"/>
                    </a:cubicBezTo>
                    <a:lnTo>
                      <a:pt x="346444" y="266700"/>
                    </a:lnTo>
                    <a:cubicBezTo>
                      <a:pt x="339776" y="275272"/>
                      <a:pt x="334061" y="282892"/>
                      <a:pt x="332156" y="285750"/>
                    </a:cubicBezTo>
                    <a:cubicBezTo>
                      <a:pt x="321679" y="301942"/>
                      <a:pt x="312154" y="304800"/>
                      <a:pt x="307391" y="305753"/>
                    </a:cubicBezTo>
                    <a:cubicBezTo>
                      <a:pt x="306438" y="305753"/>
                      <a:pt x="306438" y="305753"/>
                      <a:pt x="305486" y="305753"/>
                    </a:cubicBezTo>
                    <a:cubicBezTo>
                      <a:pt x="299771" y="305753"/>
                      <a:pt x="293104" y="302895"/>
                      <a:pt x="286436" y="296228"/>
                    </a:cubicBezTo>
                    <a:cubicBezTo>
                      <a:pt x="254051" y="265747"/>
                      <a:pt x="248336" y="260032"/>
                      <a:pt x="248336" y="260032"/>
                    </a:cubicBezTo>
                    <a:cubicBezTo>
                      <a:pt x="246431" y="258128"/>
                      <a:pt x="243574" y="257175"/>
                      <a:pt x="240716" y="257175"/>
                    </a:cubicBezTo>
                    <a:cubicBezTo>
                      <a:pt x="239763" y="257175"/>
                      <a:pt x="237859" y="257175"/>
                      <a:pt x="236906" y="258128"/>
                    </a:cubicBezTo>
                    <a:cubicBezTo>
                      <a:pt x="233096" y="260032"/>
                      <a:pt x="230238" y="263842"/>
                      <a:pt x="230238" y="267653"/>
                    </a:cubicBezTo>
                    <a:lnTo>
                      <a:pt x="231191" y="280988"/>
                    </a:lnTo>
                    <a:cubicBezTo>
                      <a:pt x="231191" y="320992"/>
                      <a:pt x="229286" y="378142"/>
                      <a:pt x="229286" y="378142"/>
                    </a:cubicBezTo>
                    <a:cubicBezTo>
                      <a:pt x="229286" y="378142"/>
                      <a:pt x="229286" y="379095"/>
                      <a:pt x="229286" y="379095"/>
                    </a:cubicBezTo>
                    <a:lnTo>
                      <a:pt x="229286" y="381000"/>
                    </a:lnTo>
                    <a:cubicBezTo>
                      <a:pt x="229286" y="385763"/>
                      <a:pt x="229286" y="396240"/>
                      <a:pt x="229286" y="410528"/>
                    </a:cubicBezTo>
                    <a:cubicBezTo>
                      <a:pt x="194996" y="404813"/>
                      <a:pt x="173088" y="385763"/>
                      <a:pt x="173088" y="356235"/>
                    </a:cubicBezTo>
                    <a:cubicBezTo>
                      <a:pt x="173088" y="269557"/>
                      <a:pt x="196901" y="204788"/>
                      <a:pt x="206426" y="182880"/>
                    </a:cubicBezTo>
                    <a:cubicBezTo>
                      <a:pt x="206426" y="182880"/>
                      <a:pt x="206426" y="182880"/>
                      <a:pt x="206426" y="182880"/>
                    </a:cubicBezTo>
                    <a:cubicBezTo>
                      <a:pt x="206426" y="182880"/>
                      <a:pt x="207379" y="182880"/>
                      <a:pt x="207379" y="183832"/>
                    </a:cubicBezTo>
                    <a:cubicBezTo>
                      <a:pt x="211188" y="185738"/>
                      <a:pt x="215951" y="186690"/>
                      <a:pt x="219761" y="187642"/>
                    </a:cubicBezTo>
                    <a:cubicBezTo>
                      <a:pt x="235954" y="192405"/>
                      <a:pt x="244526" y="195263"/>
                      <a:pt x="251194" y="205740"/>
                    </a:cubicBezTo>
                    <a:cubicBezTo>
                      <a:pt x="266434" y="230505"/>
                      <a:pt x="285484" y="258128"/>
                      <a:pt x="289294" y="263842"/>
                    </a:cubicBezTo>
                    <a:lnTo>
                      <a:pt x="290246" y="264795"/>
                    </a:lnTo>
                    <a:cubicBezTo>
                      <a:pt x="292151" y="267653"/>
                      <a:pt x="295009" y="269557"/>
                      <a:pt x="298819" y="269557"/>
                    </a:cubicBezTo>
                    <a:lnTo>
                      <a:pt x="299771" y="269557"/>
                    </a:lnTo>
                    <a:cubicBezTo>
                      <a:pt x="302629" y="269557"/>
                      <a:pt x="306438" y="267653"/>
                      <a:pt x="308344" y="265747"/>
                    </a:cubicBezTo>
                    <a:lnTo>
                      <a:pt x="331204" y="238125"/>
                    </a:lnTo>
                    <a:cubicBezTo>
                      <a:pt x="334061" y="235267"/>
                      <a:pt x="336919" y="231457"/>
                      <a:pt x="339776" y="227647"/>
                    </a:cubicBezTo>
                    <a:lnTo>
                      <a:pt x="343586" y="223838"/>
                    </a:lnTo>
                    <a:cubicBezTo>
                      <a:pt x="355016" y="209550"/>
                      <a:pt x="371209" y="190500"/>
                      <a:pt x="372161" y="188595"/>
                    </a:cubicBezTo>
                    <a:cubicBezTo>
                      <a:pt x="375971" y="183832"/>
                      <a:pt x="380734" y="181928"/>
                      <a:pt x="385496" y="181928"/>
                    </a:cubicBezTo>
                    <a:cubicBezTo>
                      <a:pt x="388354" y="181928"/>
                      <a:pt x="390259" y="182880"/>
                      <a:pt x="393116" y="183832"/>
                    </a:cubicBezTo>
                    <a:cubicBezTo>
                      <a:pt x="394069" y="184785"/>
                      <a:pt x="395021" y="189547"/>
                      <a:pt x="393116" y="19716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grpSp>
      <p:grpSp>
        <p:nvGrpSpPr>
          <p:cNvPr id="83" name="Group 82">
            <a:extLst>
              <a:ext uri="{FF2B5EF4-FFF2-40B4-BE49-F238E27FC236}">
                <a16:creationId xmlns:a16="http://schemas.microsoft.com/office/drawing/2014/main" id="{9A2726CF-9AC8-409C-9A95-D8CD3F4F9EDA}"/>
              </a:ext>
            </a:extLst>
          </p:cNvPr>
          <p:cNvGrpSpPr/>
          <p:nvPr/>
        </p:nvGrpSpPr>
        <p:grpSpPr>
          <a:xfrm>
            <a:off x="428339" y="3702412"/>
            <a:ext cx="299084" cy="495299"/>
            <a:chOff x="4424362" y="2324100"/>
            <a:chExt cx="299084" cy="495299"/>
          </a:xfrm>
          <a:solidFill>
            <a:schemeClr val="accent2"/>
          </a:solidFill>
        </p:grpSpPr>
        <p:sp>
          <p:nvSpPr>
            <p:cNvPr id="15" name="Freeform: Shape 14">
              <a:extLst>
                <a:ext uri="{FF2B5EF4-FFF2-40B4-BE49-F238E27FC236}">
                  <a16:creationId xmlns:a16="http://schemas.microsoft.com/office/drawing/2014/main" id="{9AEEA99F-EB40-459C-80DA-38DBA39632DD}"/>
                </a:ext>
              </a:extLst>
            </p:cNvPr>
            <p:cNvSpPr/>
            <p:nvPr/>
          </p:nvSpPr>
          <p:spPr>
            <a:xfrm>
              <a:off x="4497704" y="2514600"/>
              <a:ext cx="152400" cy="247650"/>
            </a:xfrm>
            <a:custGeom>
              <a:avLst/>
              <a:gdLst>
                <a:gd name="connsiteX0" fmla="*/ 152304 w 152400"/>
                <a:gd name="connsiteY0" fmla="*/ 47379 h 247650"/>
                <a:gd name="connsiteX1" fmla="*/ 142779 w 152400"/>
                <a:gd name="connsiteY1" fmla="*/ 56904 h 247650"/>
                <a:gd name="connsiteX2" fmla="*/ 9429 w 152400"/>
                <a:gd name="connsiteY2" fmla="*/ 56904 h 247650"/>
                <a:gd name="connsiteX3" fmla="*/ -96 w 152400"/>
                <a:gd name="connsiteY3" fmla="*/ 47379 h 247650"/>
                <a:gd name="connsiteX4" fmla="*/ -96 w 152400"/>
                <a:gd name="connsiteY4" fmla="*/ 9279 h 247650"/>
                <a:gd name="connsiteX5" fmla="*/ 9429 w 152400"/>
                <a:gd name="connsiteY5" fmla="*/ -246 h 247650"/>
                <a:gd name="connsiteX6" fmla="*/ 142779 w 152400"/>
                <a:gd name="connsiteY6" fmla="*/ -246 h 247650"/>
                <a:gd name="connsiteX7" fmla="*/ 152304 w 152400"/>
                <a:gd name="connsiteY7" fmla="*/ 9279 h 247650"/>
                <a:gd name="connsiteX8" fmla="*/ 152304 w 152400"/>
                <a:gd name="connsiteY8" fmla="*/ 47379 h 247650"/>
                <a:gd name="connsiteX9" fmla="*/ 57054 w 152400"/>
                <a:gd name="connsiteY9" fmla="*/ 104529 h 247650"/>
                <a:gd name="connsiteX10" fmla="*/ 47529 w 152400"/>
                <a:gd name="connsiteY10" fmla="*/ 95004 h 247650"/>
                <a:gd name="connsiteX11" fmla="*/ 9429 w 152400"/>
                <a:gd name="connsiteY11" fmla="*/ 95004 h 247650"/>
                <a:gd name="connsiteX12" fmla="*/ -96 w 152400"/>
                <a:gd name="connsiteY12" fmla="*/ 104529 h 247650"/>
                <a:gd name="connsiteX13" fmla="*/ -96 w 152400"/>
                <a:gd name="connsiteY13" fmla="*/ 142629 h 247650"/>
                <a:gd name="connsiteX14" fmla="*/ 9429 w 152400"/>
                <a:gd name="connsiteY14" fmla="*/ 152154 h 247650"/>
                <a:gd name="connsiteX15" fmla="*/ 47529 w 152400"/>
                <a:gd name="connsiteY15" fmla="*/ 152154 h 247650"/>
                <a:gd name="connsiteX16" fmla="*/ 57054 w 152400"/>
                <a:gd name="connsiteY16" fmla="*/ 142629 h 247650"/>
                <a:gd name="connsiteX17" fmla="*/ 57054 w 152400"/>
                <a:gd name="connsiteY17" fmla="*/ 104529 h 247650"/>
                <a:gd name="connsiteX18" fmla="*/ 57054 w 152400"/>
                <a:gd name="connsiteY18" fmla="*/ 199779 h 247650"/>
                <a:gd name="connsiteX19" fmla="*/ 47529 w 152400"/>
                <a:gd name="connsiteY19" fmla="*/ 190254 h 247650"/>
                <a:gd name="connsiteX20" fmla="*/ 9429 w 152400"/>
                <a:gd name="connsiteY20" fmla="*/ 190254 h 247650"/>
                <a:gd name="connsiteX21" fmla="*/ -96 w 152400"/>
                <a:gd name="connsiteY21" fmla="*/ 199779 h 247650"/>
                <a:gd name="connsiteX22" fmla="*/ -96 w 152400"/>
                <a:gd name="connsiteY22" fmla="*/ 237879 h 247650"/>
                <a:gd name="connsiteX23" fmla="*/ 9429 w 152400"/>
                <a:gd name="connsiteY23" fmla="*/ 247404 h 247650"/>
                <a:gd name="connsiteX24" fmla="*/ 47529 w 152400"/>
                <a:gd name="connsiteY24" fmla="*/ 247404 h 247650"/>
                <a:gd name="connsiteX25" fmla="*/ 57054 w 152400"/>
                <a:gd name="connsiteY25" fmla="*/ 237879 h 247650"/>
                <a:gd name="connsiteX26" fmla="*/ 57054 w 152400"/>
                <a:gd name="connsiteY26" fmla="*/ 199779 h 247650"/>
                <a:gd name="connsiteX27" fmla="*/ 152304 w 152400"/>
                <a:gd name="connsiteY27" fmla="*/ 104529 h 247650"/>
                <a:gd name="connsiteX28" fmla="*/ 142779 w 152400"/>
                <a:gd name="connsiteY28" fmla="*/ 95004 h 247650"/>
                <a:gd name="connsiteX29" fmla="*/ 104679 w 152400"/>
                <a:gd name="connsiteY29" fmla="*/ 95004 h 247650"/>
                <a:gd name="connsiteX30" fmla="*/ 95154 w 152400"/>
                <a:gd name="connsiteY30" fmla="*/ 104529 h 247650"/>
                <a:gd name="connsiteX31" fmla="*/ 95154 w 152400"/>
                <a:gd name="connsiteY31" fmla="*/ 237879 h 247650"/>
                <a:gd name="connsiteX32" fmla="*/ 104679 w 152400"/>
                <a:gd name="connsiteY32" fmla="*/ 247404 h 247650"/>
                <a:gd name="connsiteX33" fmla="*/ 142779 w 152400"/>
                <a:gd name="connsiteY33" fmla="*/ 247404 h 247650"/>
                <a:gd name="connsiteX34" fmla="*/ 152304 w 152400"/>
                <a:gd name="connsiteY34" fmla="*/ 237879 h 247650"/>
                <a:gd name="connsiteX35" fmla="*/ 152304 w 152400"/>
                <a:gd name="connsiteY35" fmla="*/ 104529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2400" h="247650">
                  <a:moveTo>
                    <a:pt x="152304" y="47379"/>
                  </a:moveTo>
                  <a:cubicBezTo>
                    <a:pt x="152304" y="52637"/>
                    <a:pt x="148037" y="56904"/>
                    <a:pt x="142779" y="56904"/>
                  </a:cubicBezTo>
                  <a:lnTo>
                    <a:pt x="9429" y="56904"/>
                  </a:lnTo>
                  <a:cubicBezTo>
                    <a:pt x="4171" y="56904"/>
                    <a:pt x="-96" y="52637"/>
                    <a:pt x="-96" y="47379"/>
                  </a:cubicBezTo>
                  <a:lnTo>
                    <a:pt x="-96" y="9279"/>
                  </a:lnTo>
                  <a:cubicBezTo>
                    <a:pt x="-96" y="4021"/>
                    <a:pt x="4171" y="-246"/>
                    <a:pt x="9429" y="-246"/>
                  </a:cubicBezTo>
                  <a:lnTo>
                    <a:pt x="142779" y="-246"/>
                  </a:lnTo>
                  <a:cubicBezTo>
                    <a:pt x="148037" y="-246"/>
                    <a:pt x="152304" y="4021"/>
                    <a:pt x="152304" y="9279"/>
                  </a:cubicBezTo>
                  <a:lnTo>
                    <a:pt x="152304" y="47379"/>
                  </a:lnTo>
                  <a:close/>
                  <a:moveTo>
                    <a:pt x="57054" y="104529"/>
                  </a:moveTo>
                  <a:cubicBezTo>
                    <a:pt x="57054" y="99271"/>
                    <a:pt x="52787" y="95004"/>
                    <a:pt x="47529" y="95004"/>
                  </a:cubicBezTo>
                  <a:lnTo>
                    <a:pt x="9429" y="95004"/>
                  </a:lnTo>
                  <a:cubicBezTo>
                    <a:pt x="4171" y="95004"/>
                    <a:pt x="-96" y="99271"/>
                    <a:pt x="-96" y="104529"/>
                  </a:cubicBezTo>
                  <a:lnTo>
                    <a:pt x="-96" y="142629"/>
                  </a:lnTo>
                  <a:cubicBezTo>
                    <a:pt x="-96" y="147887"/>
                    <a:pt x="4171" y="152154"/>
                    <a:pt x="9429" y="152154"/>
                  </a:cubicBezTo>
                  <a:lnTo>
                    <a:pt x="47529" y="152154"/>
                  </a:lnTo>
                  <a:cubicBezTo>
                    <a:pt x="52787" y="152154"/>
                    <a:pt x="57054" y="147887"/>
                    <a:pt x="57054" y="142629"/>
                  </a:cubicBezTo>
                  <a:lnTo>
                    <a:pt x="57054" y="104529"/>
                  </a:lnTo>
                  <a:close/>
                  <a:moveTo>
                    <a:pt x="57054" y="199779"/>
                  </a:moveTo>
                  <a:cubicBezTo>
                    <a:pt x="57054" y="194521"/>
                    <a:pt x="52787" y="190254"/>
                    <a:pt x="47529" y="190254"/>
                  </a:cubicBezTo>
                  <a:lnTo>
                    <a:pt x="9429" y="190254"/>
                  </a:lnTo>
                  <a:cubicBezTo>
                    <a:pt x="4171" y="190254"/>
                    <a:pt x="-96" y="194521"/>
                    <a:pt x="-96" y="199779"/>
                  </a:cubicBezTo>
                  <a:lnTo>
                    <a:pt x="-96" y="237879"/>
                  </a:lnTo>
                  <a:cubicBezTo>
                    <a:pt x="-96" y="243137"/>
                    <a:pt x="4171" y="247404"/>
                    <a:pt x="9429" y="247404"/>
                  </a:cubicBezTo>
                  <a:lnTo>
                    <a:pt x="47529" y="247404"/>
                  </a:lnTo>
                  <a:cubicBezTo>
                    <a:pt x="52787" y="247404"/>
                    <a:pt x="57054" y="243137"/>
                    <a:pt x="57054" y="237879"/>
                  </a:cubicBezTo>
                  <a:lnTo>
                    <a:pt x="57054" y="199779"/>
                  </a:lnTo>
                  <a:close/>
                  <a:moveTo>
                    <a:pt x="152304" y="104529"/>
                  </a:moveTo>
                  <a:cubicBezTo>
                    <a:pt x="152304" y="99271"/>
                    <a:pt x="148037" y="95004"/>
                    <a:pt x="142779" y="95004"/>
                  </a:cubicBezTo>
                  <a:lnTo>
                    <a:pt x="104679" y="95004"/>
                  </a:lnTo>
                  <a:cubicBezTo>
                    <a:pt x="99421" y="95004"/>
                    <a:pt x="95154" y="99271"/>
                    <a:pt x="95154" y="104529"/>
                  </a:cubicBezTo>
                  <a:lnTo>
                    <a:pt x="95154" y="237879"/>
                  </a:lnTo>
                  <a:cubicBezTo>
                    <a:pt x="95154" y="243137"/>
                    <a:pt x="99421" y="247404"/>
                    <a:pt x="104679" y="247404"/>
                  </a:cubicBezTo>
                  <a:lnTo>
                    <a:pt x="142779" y="247404"/>
                  </a:lnTo>
                  <a:cubicBezTo>
                    <a:pt x="148037" y="247404"/>
                    <a:pt x="152304" y="243137"/>
                    <a:pt x="152304" y="237879"/>
                  </a:cubicBezTo>
                  <a:lnTo>
                    <a:pt x="152304" y="104529"/>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6" name="Freeform: Shape 15">
              <a:extLst>
                <a:ext uri="{FF2B5EF4-FFF2-40B4-BE49-F238E27FC236}">
                  <a16:creationId xmlns:a16="http://schemas.microsoft.com/office/drawing/2014/main" id="{553919F8-2FCA-4F80-A96C-61B450ED19F8}"/>
                </a:ext>
              </a:extLst>
            </p:cNvPr>
            <p:cNvSpPr/>
            <p:nvPr/>
          </p:nvSpPr>
          <p:spPr>
            <a:xfrm>
              <a:off x="4424362" y="2425065"/>
              <a:ext cx="299084" cy="394334"/>
            </a:xfrm>
            <a:custGeom>
              <a:avLst/>
              <a:gdLst>
                <a:gd name="connsiteX0" fmla="*/ 298989 w 299084"/>
                <a:gd name="connsiteY0" fmla="*/ 394089 h 394334"/>
                <a:gd name="connsiteX1" fmla="*/ -96 w 299084"/>
                <a:gd name="connsiteY1" fmla="*/ 394089 h 394334"/>
                <a:gd name="connsiteX2" fmla="*/ -96 w 299084"/>
                <a:gd name="connsiteY2" fmla="*/ -246 h 394334"/>
                <a:gd name="connsiteX3" fmla="*/ 298036 w 299084"/>
                <a:gd name="connsiteY3" fmla="*/ -246 h 394334"/>
                <a:gd name="connsiteX4" fmla="*/ 298036 w 299084"/>
                <a:gd name="connsiteY4" fmla="*/ 394089 h 394334"/>
                <a:gd name="connsiteX5" fmla="*/ 29431 w 299084"/>
                <a:gd name="connsiteY5" fmla="*/ 365514 h 394334"/>
                <a:gd name="connsiteX6" fmla="*/ 269461 w 299084"/>
                <a:gd name="connsiteY6" fmla="*/ 365514 h 394334"/>
                <a:gd name="connsiteX7" fmla="*/ 269461 w 299084"/>
                <a:gd name="connsiteY7" fmla="*/ 28329 h 394334"/>
                <a:gd name="connsiteX8" fmla="*/ 29431 w 299084"/>
                <a:gd name="connsiteY8" fmla="*/ 28329 h 394334"/>
                <a:gd name="connsiteX9" fmla="*/ 29431 w 299084"/>
                <a:gd name="connsiteY9" fmla="*/ 365514 h 39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9084" h="394334">
                  <a:moveTo>
                    <a:pt x="298989" y="394089"/>
                  </a:moveTo>
                  <a:lnTo>
                    <a:pt x="-96" y="394089"/>
                  </a:lnTo>
                  <a:lnTo>
                    <a:pt x="-96" y="-246"/>
                  </a:lnTo>
                  <a:lnTo>
                    <a:pt x="298036" y="-246"/>
                  </a:lnTo>
                  <a:lnTo>
                    <a:pt x="298036" y="394089"/>
                  </a:lnTo>
                  <a:close/>
                  <a:moveTo>
                    <a:pt x="29431" y="365514"/>
                  </a:moveTo>
                  <a:lnTo>
                    <a:pt x="269461" y="365514"/>
                  </a:lnTo>
                  <a:lnTo>
                    <a:pt x="269461" y="28329"/>
                  </a:lnTo>
                  <a:lnTo>
                    <a:pt x="29431" y="28329"/>
                  </a:lnTo>
                  <a:lnTo>
                    <a:pt x="29431" y="365514"/>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7" name="Freeform: Shape 16">
              <a:extLst>
                <a:ext uri="{FF2B5EF4-FFF2-40B4-BE49-F238E27FC236}">
                  <a16:creationId xmlns:a16="http://schemas.microsoft.com/office/drawing/2014/main" id="{3CD33D61-EFAD-43F4-8D14-16DF668D4C35}"/>
                </a:ext>
              </a:extLst>
            </p:cNvPr>
            <p:cNvSpPr/>
            <p:nvPr/>
          </p:nvSpPr>
          <p:spPr>
            <a:xfrm>
              <a:off x="4478651" y="2324100"/>
              <a:ext cx="190819" cy="153570"/>
            </a:xfrm>
            <a:custGeom>
              <a:avLst/>
              <a:gdLst>
                <a:gd name="connsiteX0" fmla="*/ 57057 w 190819"/>
                <a:gd name="connsiteY0" fmla="*/ 86432 h 153570"/>
                <a:gd name="connsiteX1" fmla="*/ 57057 w 190819"/>
                <a:gd name="connsiteY1" fmla="*/ 144534 h 153570"/>
                <a:gd name="connsiteX2" fmla="*/ 50522 w 190819"/>
                <a:gd name="connsiteY2" fmla="*/ 153107 h 153570"/>
                <a:gd name="connsiteX3" fmla="*/ 48484 w 190819"/>
                <a:gd name="connsiteY3" fmla="*/ 153107 h 153570"/>
                <a:gd name="connsiteX4" fmla="*/ 10384 w 190819"/>
                <a:gd name="connsiteY4" fmla="*/ 153107 h 153570"/>
                <a:gd name="connsiteX5" fmla="*/ 116 w 190819"/>
                <a:gd name="connsiteY5" fmla="*/ 146658 h 153570"/>
                <a:gd name="connsiteX6" fmla="*/ -93 w 190819"/>
                <a:gd name="connsiteY6" fmla="*/ 144534 h 153570"/>
                <a:gd name="connsiteX7" fmla="*/ -93 w 190819"/>
                <a:gd name="connsiteY7" fmla="*/ 86432 h 153570"/>
                <a:gd name="connsiteX8" fmla="*/ 10384 w 190819"/>
                <a:gd name="connsiteY8" fmla="*/ 75954 h 153570"/>
                <a:gd name="connsiteX9" fmla="*/ 18957 w 190819"/>
                <a:gd name="connsiteY9" fmla="*/ 75954 h 153570"/>
                <a:gd name="connsiteX10" fmla="*/ 18957 w 190819"/>
                <a:gd name="connsiteY10" fmla="*/ 9279 h 153570"/>
                <a:gd name="connsiteX11" fmla="*/ 28482 w 190819"/>
                <a:gd name="connsiteY11" fmla="*/ -246 h 153570"/>
                <a:gd name="connsiteX12" fmla="*/ 38007 w 190819"/>
                <a:gd name="connsiteY12" fmla="*/ 9279 h 153570"/>
                <a:gd name="connsiteX13" fmla="*/ 38007 w 190819"/>
                <a:gd name="connsiteY13" fmla="*/ 75954 h 153570"/>
                <a:gd name="connsiteX14" fmla="*/ 48484 w 190819"/>
                <a:gd name="connsiteY14" fmla="*/ 75954 h 153570"/>
                <a:gd name="connsiteX15" fmla="*/ 57066 w 190819"/>
                <a:gd name="connsiteY15" fmla="*/ 86336 h 153570"/>
                <a:gd name="connsiteX16" fmla="*/ 57057 w 190819"/>
                <a:gd name="connsiteY16" fmla="*/ 86432 h 153570"/>
                <a:gd name="connsiteX17" fmla="*/ 182787 w 190819"/>
                <a:gd name="connsiteY17" fmla="*/ 75954 h 153570"/>
                <a:gd name="connsiteX18" fmla="*/ 171357 w 190819"/>
                <a:gd name="connsiteY18" fmla="*/ 75954 h 153570"/>
                <a:gd name="connsiteX19" fmla="*/ 171357 w 190819"/>
                <a:gd name="connsiteY19" fmla="*/ 9279 h 153570"/>
                <a:gd name="connsiteX20" fmla="*/ 161832 w 190819"/>
                <a:gd name="connsiteY20" fmla="*/ -246 h 153570"/>
                <a:gd name="connsiteX21" fmla="*/ 152307 w 190819"/>
                <a:gd name="connsiteY21" fmla="*/ 9279 h 153570"/>
                <a:gd name="connsiteX22" fmla="*/ 152307 w 190819"/>
                <a:gd name="connsiteY22" fmla="*/ 75954 h 153570"/>
                <a:gd name="connsiteX23" fmla="*/ 144687 w 190819"/>
                <a:gd name="connsiteY23" fmla="*/ 75954 h 153570"/>
                <a:gd name="connsiteX24" fmla="*/ 133257 w 190819"/>
                <a:gd name="connsiteY24" fmla="*/ 86432 h 153570"/>
                <a:gd name="connsiteX25" fmla="*/ 133257 w 190819"/>
                <a:gd name="connsiteY25" fmla="*/ 144534 h 153570"/>
                <a:gd name="connsiteX26" fmla="*/ 144687 w 190819"/>
                <a:gd name="connsiteY26" fmla="*/ 153107 h 153570"/>
                <a:gd name="connsiteX27" fmla="*/ 182787 w 190819"/>
                <a:gd name="connsiteY27" fmla="*/ 153107 h 153570"/>
                <a:gd name="connsiteX28" fmla="*/ 190597 w 190819"/>
                <a:gd name="connsiteY28" fmla="*/ 147830 h 153570"/>
                <a:gd name="connsiteX29" fmla="*/ 190407 w 190819"/>
                <a:gd name="connsiteY29" fmla="*/ 144534 h 153570"/>
                <a:gd name="connsiteX30" fmla="*/ 190407 w 190819"/>
                <a:gd name="connsiteY30" fmla="*/ 86432 h 153570"/>
                <a:gd name="connsiteX31" fmla="*/ 183996 w 190819"/>
                <a:gd name="connsiteY31" fmla="*/ 76145 h 153570"/>
                <a:gd name="connsiteX32" fmla="*/ 182787 w 190819"/>
                <a:gd name="connsiteY32" fmla="*/ 75954 h 153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819" h="153570">
                  <a:moveTo>
                    <a:pt x="57057" y="86432"/>
                  </a:moveTo>
                  <a:lnTo>
                    <a:pt x="57057" y="144534"/>
                  </a:lnTo>
                  <a:cubicBezTo>
                    <a:pt x="57619" y="148706"/>
                    <a:pt x="54694" y="152544"/>
                    <a:pt x="50522" y="153107"/>
                  </a:cubicBezTo>
                  <a:cubicBezTo>
                    <a:pt x="49846" y="153202"/>
                    <a:pt x="49160" y="153202"/>
                    <a:pt x="48484" y="153107"/>
                  </a:cubicBezTo>
                  <a:lnTo>
                    <a:pt x="10384" y="153107"/>
                  </a:lnTo>
                  <a:cubicBezTo>
                    <a:pt x="5764" y="154164"/>
                    <a:pt x="1173" y="151268"/>
                    <a:pt x="116" y="146658"/>
                  </a:cubicBezTo>
                  <a:cubicBezTo>
                    <a:pt x="-36" y="145963"/>
                    <a:pt x="-112" y="145248"/>
                    <a:pt x="-93" y="144534"/>
                  </a:cubicBezTo>
                  <a:lnTo>
                    <a:pt x="-93" y="86432"/>
                  </a:lnTo>
                  <a:cubicBezTo>
                    <a:pt x="-93" y="80640"/>
                    <a:pt x="4593" y="75954"/>
                    <a:pt x="10384" y="75954"/>
                  </a:cubicBezTo>
                  <a:lnTo>
                    <a:pt x="18957" y="75954"/>
                  </a:lnTo>
                  <a:lnTo>
                    <a:pt x="18957" y="9279"/>
                  </a:lnTo>
                  <a:cubicBezTo>
                    <a:pt x="18957" y="4021"/>
                    <a:pt x="23224" y="-246"/>
                    <a:pt x="28482" y="-246"/>
                  </a:cubicBezTo>
                  <a:cubicBezTo>
                    <a:pt x="33739" y="-246"/>
                    <a:pt x="38007" y="4021"/>
                    <a:pt x="38007" y="9279"/>
                  </a:cubicBezTo>
                  <a:lnTo>
                    <a:pt x="38007" y="75954"/>
                  </a:lnTo>
                  <a:lnTo>
                    <a:pt x="48484" y="75954"/>
                  </a:lnTo>
                  <a:cubicBezTo>
                    <a:pt x="53723" y="76449"/>
                    <a:pt x="57561" y="81097"/>
                    <a:pt x="57066" y="86336"/>
                  </a:cubicBezTo>
                  <a:cubicBezTo>
                    <a:pt x="57066" y="86365"/>
                    <a:pt x="57057" y="86403"/>
                    <a:pt x="57057" y="86432"/>
                  </a:cubicBezTo>
                  <a:close/>
                  <a:moveTo>
                    <a:pt x="182787" y="75954"/>
                  </a:moveTo>
                  <a:lnTo>
                    <a:pt x="171357" y="75954"/>
                  </a:lnTo>
                  <a:lnTo>
                    <a:pt x="171357" y="9279"/>
                  </a:lnTo>
                  <a:cubicBezTo>
                    <a:pt x="171357" y="4021"/>
                    <a:pt x="167089" y="-246"/>
                    <a:pt x="161832" y="-246"/>
                  </a:cubicBezTo>
                  <a:cubicBezTo>
                    <a:pt x="156574" y="-246"/>
                    <a:pt x="152307" y="4021"/>
                    <a:pt x="152307" y="9279"/>
                  </a:cubicBezTo>
                  <a:lnTo>
                    <a:pt x="152307" y="75954"/>
                  </a:lnTo>
                  <a:lnTo>
                    <a:pt x="144687" y="75954"/>
                  </a:lnTo>
                  <a:cubicBezTo>
                    <a:pt x="138895" y="76335"/>
                    <a:pt x="134142" y="80688"/>
                    <a:pt x="133257" y="86432"/>
                  </a:cubicBezTo>
                  <a:lnTo>
                    <a:pt x="133257" y="144534"/>
                  </a:lnTo>
                  <a:cubicBezTo>
                    <a:pt x="134228" y="149954"/>
                    <a:pt x="139219" y="153697"/>
                    <a:pt x="144687" y="153107"/>
                  </a:cubicBezTo>
                  <a:lnTo>
                    <a:pt x="182787" y="153107"/>
                  </a:lnTo>
                  <a:cubicBezTo>
                    <a:pt x="186406" y="153811"/>
                    <a:pt x="189902" y="151440"/>
                    <a:pt x="190597" y="147830"/>
                  </a:cubicBezTo>
                  <a:cubicBezTo>
                    <a:pt x="190816" y="146734"/>
                    <a:pt x="190750" y="145601"/>
                    <a:pt x="190407" y="144534"/>
                  </a:cubicBezTo>
                  <a:lnTo>
                    <a:pt x="190407" y="86432"/>
                  </a:lnTo>
                  <a:cubicBezTo>
                    <a:pt x="191473" y="81821"/>
                    <a:pt x="188606" y="77211"/>
                    <a:pt x="183996" y="76145"/>
                  </a:cubicBezTo>
                  <a:cubicBezTo>
                    <a:pt x="183596" y="76049"/>
                    <a:pt x="183196" y="75992"/>
                    <a:pt x="182787" y="7595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grpSp>
        <p:nvGrpSpPr>
          <p:cNvPr id="102" name="Group 101">
            <a:extLst>
              <a:ext uri="{FF2B5EF4-FFF2-40B4-BE49-F238E27FC236}">
                <a16:creationId xmlns:a16="http://schemas.microsoft.com/office/drawing/2014/main" id="{534F26B6-D409-43B2-894C-09D249993C8C}"/>
              </a:ext>
            </a:extLst>
          </p:cNvPr>
          <p:cNvGrpSpPr/>
          <p:nvPr/>
        </p:nvGrpSpPr>
        <p:grpSpPr>
          <a:xfrm>
            <a:off x="4566399" y="1806882"/>
            <a:ext cx="299084" cy="495299"/>
            <a:chOff x="4424362" y="2324100"/>
            <a:chExt cx="299084" cy="495299"/>
          </a:xfrm>
          <a:solidFill>
            <a:schemeClr val="accent2"/>
          </a:solidFill>
        </p:grpSpPr>
        <p:sp>
          <p:nvSpPr>
            <p:cNvPr id="103" name="Freeform: Shape 102">
              <a:extLst>
                <a:ext uri="{FF2B5EF4-FFF2-40B4-BE49-F238E27FC236}">
                  <a16:creationId xmlns:a16="http://schemas.microsoft.com/office/drawing/2014/main" id="{0D3F72D7-4AB8-46C4-AFA9-9CFA1978B52B}"/>
                </a:ext>
              </a:extLst>
            </p:cNvPr>
            <p:cNvSpPr/>
            <p:nvPr/>
          </p:nvSpPr>
          <p:spPr>
            <a:xfrm>
              <a:off x="4497704" y="2514600"/>
              <a:ext cx="152400" cy="247650"/>
            </a:xfrm>
            <a:custGeom>
              <a:avLst/>
              <a:gdLst>
                <a:gd name="connsiteX0" fmla="*/ 152304 w 152400"/>
                <a:gd name="connsiteY0" fmla="*/ 47379 h 247650"/>
                <a:gd name="connsiteX1" fmla="*/ 142779 w 152400"/>
                <a:gd name="connsiteY1" fmla="*/ 56904 h 247650"/>
                <a:gd name="connsiteX2" fmla="*/ 9429 w 152400"/>
                <a:gd name="connsiteY2" fmla="*/ 56904 h 247650"/>
                <a:gd name="connsiteX3" fmla="*/ -96 w 152400"/>
                <a:gd name="connsiteY3" fmla="*/ 47379 h 247650"/>
                <a:gd name="connsiteX4" fmla="*/ -96 w 152400"/>
                <a:gd name="connsiteY4" fmla="*/ 9279 h 247650"/>
                <a:gd name="connsiteX5" fmla="*/ 9429 w 152400"/>
                <a:gd name="connsiteY5" fmla="*/ -246 h 247650"/>
                <a:gd name="connsiteX6" fmla="*/ 142779 w 152400"/>
                <a:gd name="connsiteY6" fmla="*/ -246 h 247650"/>
                <a:gd name="connsiteX7" fmla="*/ 152304 w 152400"/>
                <a:gd name="connsiteY7" fmla="*/ 9279 h 247650"/>
                <a:gd name="connsiteX8" fmla="*/ 152304 w 152400"/>
                <a:gd name="connsiteY8" fmla="*/ 47379 h 247650"/>
                <a:gd name="connsiteX9" fmla="*/ 57054 w 152400"/>
                <a:gd name="connsiteY9" fmla="*/ 104529 h 247650"/>
                <a:gd name="connsiteX10" fmla="*/ 47529 w 152400"/>
                <a:gd name="connsiteY10" fmla="*/ 95004 h 247650"/>
                <a:gd name="connsiteX11" fmla="*/ 9429 w 152400"/>
                <a:gd name="connsiteY11" fmla="*/ 95004 h 247650"/>
                <a:gd name="connsiteX12" fmla="*/ -96 w 152400"/>
                <a:gd name="connsiteY12" fmla="*/ 104529 h 247650"/>
                <a:gd name="connsiteX13" fmla="*/ -96 w 152400"/>
                <a:gd name="connsiteY13" fmla="*/ 142629 h 247650"/>
                <a:gd name="connsiteX14" fmla="*/ 9429 w 152400"/>
                <a:gd name="connsiteY14" fmla="*/ 152154 h 247650"/>
                <a:gd name="connsiteX15" fmla="*/ 47529 w 152400"/>
                <a:gd name="connsiteY15" fmla="*/ 152154 h 247650"/>
                <a:gd name="connsiteX16" fmla="*/ 57054 w 152400"/>
                <a:gd name="connsiteY16" fmla="*/ 142629 h 247650"/>
                <a:gd name="connsiteX17" fmla="*/ 57054 w 152400"/>
                <a:gd name="connsiteY17" fmla="*/ 104529 h 247650"/>
                <a:gd name="connsiteX18" fmla="*/ 57054 w 152400"/>
                <a:gd name="connsiteY18" fmla="*/ 199779 h 247650"/>
                <a:gd name="connsiteX19" fmla="*/ 47529 w 152400"/>
                <a:gd name="connsiteY19" fmla="*/ 190254 h 247650"/>
                <a:gd name="connsiteX20" fmla="*/ 9429 w 152400"/>
                <a:gd name="connsiteY20" fmla="*/ 190254 h 247650"/>
                <a:gd name="connsiteX21" fmla="*/ -96 w 152400"/>
                <a:gd name="connsiteY21" fmla="*/ 199779 h 247650"/>
                <a:gd name="connsiteX22" fmla="*/ -96 w 152400"/>
                <a:gd name="connsiteY22" fmla="*/ 237879 h 247650"/>
                <a:gd name="connsiteX23" fmla="*/ 9429 w 152400"/>
                <a:gd name="connsiteY23" fmla="*/ 247404 h 247650"/>
                <a:gd name="connsiteX24" fmla="*/ 47529 w 152400"/>
                <a:gd name="connsiteY24" fmla="*/ 247404 h 247650"/>
                <a:gd name="connsiteX25" fmla="*/ 57054 w 152400"/>
                <a:gd name="connsiteY25" fmla="*/ 237879 h 247650"/>
                <a:gd name="connsiteX26" fmla="*/ 57054 w 152400"/>
                <a:gd name="connsiteY26" fmla="*/ 199779 h 247650"/>
                <a:gd name="connsiteX27" fmla="*/ 152304 w 152400"/>
                <a:gd name="connsiteY27" fmla="*/ 104529 h 247650"/>
                <a:gd name="connsiteX28" fmla="*/ 142779 w 152400"/>
                <a:gd name="connsiteY28" fmla="*/ 95004 h 247650"/>
                <a:gd name="connsiteX29" fmla="*/ 104679 w 152400"/>
                <a:gd name="connsiteY29" fmla="*/ 95004 h 247650"/>
                <a:gd name="connsiteX30" fmla="*/ 95154 w 152400"/>
                <a:gd name="connsiteY30" fmla="*/ 104529 h 247650"/>
                <a:gd name="connsiteX31" fmla="*/ 95154 w 152400"/>
                <a:gd name="connsiteY31" fmla="*/ 237879 h 247650"/>
                <a:gd name="connsiteX32" fmla="*/ 104679 w 152400"/>
                <a:gd name="connsiteY32" fmla="*/ 247404 h 247650"/>
                <a:gd name="connsiteX33" fmla="*/ 142779 w 152400"/>
                <a:gd name="connsiteY33" fmla="*/ 247404 h 247650"/>
                <a:gd name="connsiteX34" fmla="*/ 152304 w 152400"/>
                <a:gd name="connsiteY34" fmla="*/ 237879 h 247650"/>
                <a:gd name="connsiteX35" fmla="*/ 152304 w 152400"/>
                <a:gd name="connsiteY35" fmla="*/ 104529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2400" h="247650">
                  <a:moveTo>
                    <a:pt x="152304" y="47379"/>
                  </a:moveTo>
                  <a:cubicBezTo>
                    <a:pt x="152304" y="52637"/>
                    <a:pt x="148037" y="56904"/>
                    <a:pt x="142779" y="56904"/>
                  </a:cubicBezTo>
                  <a:lnTo>
                    <a:pt x="9429" y="56904"/>
                  </a:lnTo>
                  <a:cubicBezTo>
                    <a:pt x="4171" y="56904"/>
                    <a:pt x="-96" y="52637"/>
                    <a:pt x="-96" y="47379"/>
                  </a:cubicBezTo>
                  <a:lnTo>
                    <a:pt x="-96" y="9279"/>
                  </a:lnTo>
                  <a:cubicBezTo>
                    <a:pt x="-96" y="4021"/>
                    <a:pt x="4171" y="-246"/>
                    <a:pt x="9429" y="-246"/>
                  </a:cubicBezTo>
                  <a:lnTo>
                    <a:pt x="142779" y="-246"/>
                  </a:lnTo>
                  <a:cubicBezTo>
                    <a:pt x="148037" y="-246"/>
                    <a:pt x="152304" y="4021"/>
                    <a:pt x="152304" y="9279"/>
                  </a:cubicBezTo>
                  <a:lnTo>
                    <a:pt x="152304" y="47379"/>
                  </a:lnTo>
                  <a:close/>
                  <a:moveTo>
                    <a:pt x="57054" y="104529"/>
                  </a:moveTo>
                  <a:cubicBezTo>
                    <a:pt x="57054" y="99271"/>
                    <a:pt x="52787" y="95004"/>
                    <a:pt x="47529" y="95004"/>
                  </a:cubicBezTo>
                  <a:lnTo>
                    <a:pt x="9429" y="95004"/>
                  </a:lnTo>
                  <a:cubicBezTo>
                    <a:pt x="4171" y="95004"/>
                    <a:pt x="-96" y="99271"/>
                    <a:pt x="-96" y="104529"/>
                  </a:cubicBezTo>
                  <a:lnTo>
                    <a:pt x="-96" y="142629"/>
                  </a:lnTo>
                  <a:cubicBezTo>
                    <a:pt x="-96" y="147887"/>
                    <a:pt x="4171" y="152154"/>
                    <a:pt x="9429" y="152154"/>
                  </a:cubicBezTo>
                  <a:lnTo>
                    <a:pt x="47529" y="152154"/>
                  </a:lnTo>
                  <a:cubicBezTo>
                    <a:pt x="52787" y="152154"/>
                    <a:pt x="57054" y="147887"/>
                    <a:pt x="57054" y="142629"/>
                  </a:cubicBezTo>
                  <a:lnTo>
                    <a:pt x="57054" y="104529"/>
                  </a:lnTo>
                  <a:close/>
                  <a:moveTo>
                    <a:pt x="57054" y="199779"/>
                  </a:moveTo>
                  <a:cubicBezTo>
                    <a:pt x="57054" y="194521"/>
                    <a:pt x="52787" y="190254"/>
                    <a:pt x="47529" y="190254"/>
                  </a:cubicBezTo>
                  <a:lnTo>
                    <a:pt x="9429" y="190254"/>
                  </a:lnTo>
                  <a:cubicBezTo>
                    <a:pt x="4171" y="190254"/>
                    <a:pt x="-96" y="194521"/>
                    <a:pt x="-96" y="199779"/>
                  </a:cubicBezTo>
                  <a:lnTo>
                    <a:pt x="-96" y="237879"/>
                  </a:lnTo>
                  <a:cubicBezTo>
                    <a:pt x="-96" y="243137"/>
                    <a:pt x="4171" y="247404"/>
                    <a:pt x="9429" y="247404"/>
                  </a:cubicBezTo>
                  <a:lnTo>
                    <a:pt x="47529" y="247404"/>
                  </a:lnTo>
                  <a:cubicBezTo>
                    <a:pt x="52787" y="247404"/>
                    <a:pt x="57054" y="243137"/>
                    <a:pt x="57054" y="237879"/>
                  </a:cubicBezTo>
                  <a:lnTo>
                    <a:pt x="57054" y="199779"/>
                  </a:lnTo>
                  <a:close/>
                  <a:moveTo>
                    <a:pt x="152304" y="104529"/>
                  </a:moveTo>
                  <a:cubicBezTo>
                    <a:pt x="152304" y="99271"/>
                    <a:pt x="148037" y="95004"/>
                    <a:pt x="142779" y="95004"/>
                  </a:cubicBezTo>
                  <a:lnTo>
                    <a:pt x="104679" y="95004"/>
                  </a:lnTo>
                  <a:cubicBezTo>
                    <a:pt x="99421" y="95004"/>
                    <a:pt x="95154" y="99271"/>
                    <a:pt x="95154" y="104529"/>
                  </a:cubicBezTo>
                  <a:lnTo>
                    <a:pt x="95154" y="237879"/>
                  </a:lnTo>
                  <a:cubicBezTo>
                    <a:pt x="95154" y="243137"/>
                    <a:pt x="99421" y="247404"/>
                    <a:pt x="104679" y="247404"/>
                  </a:cubicBezTo>
                  <a:lnTo>
                    <a:pt x="142779" y="247404"/>
                  </a:lnTo>
                  <a:cubicBezTo>
                    <a:pt x="148037" y="247404"/>
                    <a:pt x="152304" y="243137"/>
                    <a:pt x="152304" y="237879"/>
                  </a:cubicBezTo>
                  <a:lnTo>
                    <a:pt x="152304" y="104529"/>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04" name="Freeform: Shape 103">
              <a:extLst>
                <a:ext uri="{FF2B5EF4-FFF2-40B4-BE49-F238E27FC236}">
                  <a16:creationId xmlns:a16="http://schemas.microsoft.com/office/drawing/2014/main" id="{E449234B-F415-4523-BA4A-009C6A60819B}"/>
                </a:ext>
              </a:extLst>
            </p:cNvPr>
            <p:cNvSpPr/>
            <p:nvPr/>
          </p:nvSpPr>
          <p:spPr>
            <a:xfrm>
              <a:off x="4424362" y="2425065"/>
              <a:ext cx="299084" cy="394334"/>
            </a:xfrm>
            <a:custGeom>
              <a:avLst/>
              <a:gdLst>
                <a:gd name="connsiteX0" fmla="*/ 298989 w 299084"/>
                <a:gd name="connsiteY0" fmla="*/ 394089 h 394334"/>
                <a:gd name="connsiteX1" fmla="*/ -96 w 299084"/>
                <a:gd name="connsiteY1" fmla="*/ 394089 h 394334"/>
                <a:gd name="connsiteX2" fmla="*/ -96 w 299084"/>
                <a:gd name="connsiteY2" fmla="*/ -246 h 394334"/>
                <a:gd name="connsiteX3" fmla="*/ 298036 w 299084"/>
                <a:gd name="connsiteY3" fmla="*/ -246 h 394334"/>
                <a:gd name="connsiteX4" fmla="*/ 298036 w 299084"/>
                <a:gd name="connsiteY4" fmla="*/ 394089 h 394334"/>
                <a:gd name="connsiteX5" fmla="*/ 29431 w 299084"/>
                <a:gd name="connsiteY5" fmla="*/ 365514 h 394334"/>
                <a:gd name="connsiteX6" fmla="*/ 269461 w 299084"/>
                <a:gd name="connsiteY6" fmla="*/ 365514 h 394334"/>
                <a:gd name="connsiteX7" fmla="*/ 269461 w 299084"/>
                <a:gd name="connsiteY7" fmla="*/ 28329 h 394334"/>
                <a:gd name="connsiteX8" fmla="*/ 29431 w 299084"/>
                <a:gd name="connsiteY8" fmla="*/ 28329 h 394334"/>
                <a:gd name="connsiteX9" fmla="*/ 29431 w 299084"/>
                <a:gd name="connsiteY9" fmla="*/ 365514 h 39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9084" h="394334">
                  <a:moveTo>
                    <a:pt x="298989" y="394089"/>
                  </a:moveTo>
                  <a:lnTo>
                    <a:pt x="-96" y="394089"/>
                  </a:lnTo>
                  <a:lnTo>
                    <a:pt x="-96" y="-246"/>
                  </a:lnTo>
                  <a:lnTo>
                    <a:pt x="298036" y="-246"/>
                  </a:lnTo>
                  <a:lnTo>
                    <a:pt x="298036" y="394089"/>
                  </a:lnTo>
                  <a:close/>
                  <a:moveTo>
                    <a:pt x="29431" y="365514"/>
                  </a:moveTo>
                  <a:lnTo>
                    <a:pt x="269461" y="365514"/>
                  </a:lnTo>
                  <a:lnTo>
                    <a:pt x="269461" y="28329"/>
                  </a:lnTo>
                  <a:lnTo>
                    <a:pt x="29431" y="28329"/>
                  </a:lnTo>
                  <a:lnTo>
                    <a:pt x="29431" y="365514"/>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05" name="Freeform: Shape 104">
              <a:extLst>
                <a:ext uri="{FF2B5EF4-FFF2-40B4-BE49-F238E27FC236}">
                  <a16:creationId xmlns:a16="http://schemas.microsoft.com/office/drawing/2014/main" id="{7302CFEA-E589-4703-9B49-8C211E0547D1}"/>
                </a:ext>
              </a:extLst>
            </p:cNvPr>
            <p:cNvSpPr/>
            <p:nvPr/>
          </p:nvSpPr>
          <p:spPr>
            <a:xfrm>
              <a:off x="4478651" y="2324100"/>
              <a:ext cx="190819" cy="153570"/>
            </a:xfrm>
            <a:custGeom>
              <a:avLst/>
              <a:gdLst>
                <a:gd name="connsiteX0" fmla="*/ 57057 w 190819"/>
                <a:gd name="connsiteY0" fmla="*/ 86432 h 153570"/>
                <a:gd name="connsiteX1" fmla="*/ 57057 w 190819"/>
                <a:gd name="connsiteY1" fmla="*/ 144534 h 153570"/>
                <a:gd name="connsiteX2" fmla="*/ 50522 w 190819"/>
                <a:gd name="connsiteY2" fmla="*/ 153107 h 153570"/>
                <a:gd name="connsiteX3" fmla="*/ 48484 w 190819"/>
                <a:gd name="connsiteY3" fmla="*/ 153107 h 153570"/>
                <a:gd name="connsiteX4" fmla="*/ 10384 w 190819"/>
                <a:gd name="connsiteY4" fmla="*/ 153107 h 153570"/>
                <a:gd name="connsiteX5" fmla="*/ 116 w 190819"/>
                <a:gd name="connsiteY5" fmla="*/ 146658 h 153570"/>
                <a:gd name="connsiteX6" fmla="*/ -93 w 190819"/>
                <a:gd name="connsiteY6" fmla="*/ 144534 h 153570"/>
                <a:gd name="connsiteX7" fmla="*/ -93 w 190819"/>
                <a:gd name="connsiteY7" fmla="*/ 86432 h 153570"/>
                <a:gd name="connsiteX8" fmla="*/ 10384 w 190819"/>
                <a:gd name="connsiteY8" fmla="*/ 75954 h 153570"/>
                <a:gd name="connsiteX9" fmla="*/ 18957 w 190819"/>
                <a:gd name="connsiteY9" fmla="*/ 75954 h 153570"/>
                <a:gd name="connsiteX10" fmla="*/ 18957 w 190819"/>
                <a:gd name="connsiteY10" fmla="*/ 9279 h 153570"/>
                <a:gd name="connsiteX11" fmla="*/ 28482 w 190819"/>
                <a:gd name="connsiteY11" fmla="*/ -246 h 153570"/>
                <a:gd name="connsiteX12" fmla="*/ 38007 w 190819"/>
                <a:gd name="connsiteY12" fmla="*/ 9279 h 153570"/>
                <a:gd name="connsiteX13" fmla="*/ 38007 w 190819"/>
                <a:gd name="connsiteY13" fmla="*/ 75954 h 153570"/>
                <a:gd name="connsiteX14" fmla="*/ 48484 w 190819"/>
                <a:gd name="connsiteY14" fmla="*/ 75954 h 153570"/>
                <a:gd name="connsiteX15" fmla="*/ 57066 w 190819"/>
                <a:gd name="connsiteY15" fmla="*/ 86336 h 153570"/>
                <a:gd name="connsiteX16" fmla="*/ 57057 w 190819"/>
                <a:gd name="connsiteY16" fmla="*/ 86432 h 153570"/>
                <a:gd name="connsiteX17" fmla="*/ 182787 w 190819"/>
                <a:gd name="connsiteY17" fmla="*/ 75954 h 153570"/>
                <a:gd name="connsiteX18" fmla="*/ 171357 w 190819"/>
                <a:gd name="connsiteY18" fmla="*/ 75954 h 153570"/>
                <a:gd name="connsiteX19" fmla="*/ 171357 w 190819"/>
                <a:gd name="connsiteY19" fmla="*/ 9279 h 153570"/>
                <a:gd name="connsiteX20" fmla="*/ 161832 w 190819"/>
                <a:gd name="connsiteY20" fmla="*/ -246 h 153570"/>
                <a:gd name="connsiteX21" fmla="*/ 152307 w 190819"/>
                <a:gd name="connsiteY21" fmla="*/ 9279 h 153570"/>
                <a:gd name="connsiteX22" fmla="*/ 152307 w 190819"/>
                <a:gd name="connsiteY22" fmla="*/ 75954 h 153570"/>
                <a:gd name="connsiteX23" fmla="*/ 144687 w 190819"/>
                <a:gd name="connsiteY23" fmla="*/ 75954 h 153570"/>
                <a:gd name="connsiteX24" fmla="*/ 133257 w 190819"/>
                <a:gd name="connsiteY24" fmla="*/ 86432 h 153570"/>
                <a:gd name="connsiteX25" fmla="*/ 133257 w 190819"/>
                <a:gd name="connsiteY25" fmla="*/ 144534 h 153570"/>
                <a:gd name="connsiteX26" fmla="*/ 144687 w 190819"/>
                <a:gd name="connsiteY26" fmla="*/ 153107 h 153570"/>
                <a:gd name="connsiteX27" fmla="*/ 182787 w 190819"/>
                <a:gd name="connsiteY27" fmla="*/ 153107 h 153570"/>
                <a:gd name="connsiteX28" fmla="*/ 190597 w 190819"/>
                <a:gd name="connsiteY28" fmla="*/ 147830 h 153570"/>
                <a:gd name="connsiteX29" fmla="*/ 190407 w 190819"/>
                <a:gd name="connsiteY29" fmla="*/ 144534 h 153570"/>
                <a:gd name="connsiteX30" fmla="*/ 190407 w 190819"/>
                <a:gd name="connsiteY30" fmla="*/ 86432 h 153570"/>
                <a:gd name="connsiteX31" fmla="*/ 183996 w 190819"/>
                <a:gd name="connsiteY31" fmla="*/ 76145 h 153570"/>
                <a:gd name="connsiteX32" fmla="*/ 182787 w 190819"/>
                <a:gd name="connsiteY32" fmla="*/ 75954 h 153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819" h="153570">
                  <a:moveTo>
                    <a:pt x="57057" y="86432"/>
                  </a:moveTo>
                  <a:lnTo>
                    <a:pt x="57057" y="144534"/>
                  </a:lnTo>
                  <a:cubicBezTo>
                    <a:pt x="57619" y="148706"/>
                    <a:pt x="54694" y="152544"/>
                    <a:pt x="50522" y="153107"/>
                  </a:cubicBezTo>
                  <a:cubicBezTo>
                    <a:pt x="49846" y="153202"/>
                    <a:pt x="49160" y="153202"/>
                    <a:pt x="48484" y="153107"/>
                  </a:cubicBezTo>
                  <a:lnTo>
                    <a:pt x="10384" y="153107"/>
                  </a:lnTo>
                  <a:cubicBezTo>
                    <a:pt x="5764" y="154164"/>
                    <a:pt x="1173" y="151268"/>
                    <a:pt x="116" y="146658"/>
                  </a:cubicBezTo>
                  <a:cubicBezTo>
                    <a:pt x="-36" y="145963"/>
                    <a:pt x="-112" y="145248"/>
                    <a:pt x="-93" y="144534"/>
                  </a:cubicBezTo>
                  <a:lnTo>
                    <a:pt x="-93" y="86432"/>
                  </a:lnTo>
                  <a:cubicBezTo>
                    <a:pt x="-93" y="80640"/>
                    <a:pt x="4593" y="75954"/>
                    <a:pt x="10384" y="75954"/>
                  </a:cubicBezTo>
                  <a:lnTo>
                    <a:pt x="18957" y="75954"/>
                  </a:lnTo>
                  <a:lnTo>
                    <a:pt x="18957" y="9279"/>
                  </a:lnTo>
                  <a:cubicBezTo>
                    <a:pt x="18957" y="4021"/>
                    <a:pt x="23224" y="-246"/>
                    <a:pt x="28482" y="-246"/>
                  </a:cubicBezTo>
                  <a:cubicBezTo>
                    <a:pt x="33739" y="-246"/>
                    <a:pt x="38007" y="4021"/>
                    <a:pt x="38007" y="9279"/>
                  </a:cubicBezTo>
                  <a:lnTo>
                    <a:pt x="38007" y="75954"/>
                  </a:lnTo>
                  <a:lnTo>
                    <a:pt x="48484" y="75954"/>
                  </a:lnTo>
                  <a:cubicBezTo>
                    <a:pt x="53723" y="76449"/>
                    <a:pt x="57561" y="81097"/>
                    <a:pt x="57066" y="86336"/>
                  </a:cubicBezTo>
                  <a:cubicBezTo>
                    <a:pt x="57066" y="86365"/>
                    <a:pt x="57057" y="86403"/>
                    <a:pt x="57057" y="86432"/>
                  </a:cubicBezTo>
                  <a:close/>
                  <a:moveTo>
                    <a:pt x="182787" y="75954"/>
                  </a:moveTo>
                  <a:lnTo>
                    <a:pt x="171357" y="75954"/>
                  </a:lnTo>
                  <a:lnTo>
                    <a:pt x="171357" y="9279"/>
                  </a:lnTo>
                  <a:cubicBezTo>
                    <a:pt x="171357" y="4021"/>
                    <a:pt x="167089" y="-246"/>
                    <a:pt x="161832" y="-246"/>
                  </a:cubicBezTo>
                  <a:cubicBezTo>
                    <a:pt x="156574" y="-246"/>
                    <a:pt x="152307" y="4021"/>
                    <a:pt x="152307" y="9279"/>
                  </a:cubicBezTo>
                  <a:lnTo>
                    <a:pt x="152307" y="75954"/>
                  </a:lnTo>
                  <a:lnTo>
                    <a:pt x="144687" y="75954"/>
                  </a:lnTo>
                  <a:cubicBezTo>
                    <a:pt x="138895" y="76335"/>
                    <a:pt x="134142" y="80688"/>
                    <a:pt x="133257" y="86432"/>
                  </a:cubicBezTo>
                  <a:lnTo>
                    <a:pt x="133257" y="144534"/>
                  </a:lnTo>
                  <a:cubicBezTo>
                    <a:pt x="134228" y="149954"/>
                    <a:pt x="139219" y="153697"/>
                    <a:pt x="144687" y="153107"/>
                  </a:cubicBezTo>
                  <a:lnTo>
                    <a:pt x="182787" y="153107"/>
                  </a:lnTo>
                  <a:cubicBezTo>
                    <a:pt x="186406" y="153811"/>
                    <a:pt x="189902" y="151440"/>
                    <a:pt x="190597" y="147830"/>
                  </a:cubicBezTo>
                  <a:cubicBezTo>
                    <a:pt x="190816" y="146734"/>
                    <a:pt x="190750" y="145601"/>
                    <a:pt x="190407" y="144534"/>
                  </a:cubicBezTo>
                  <a:lnTo>
                    <a:pt x="190407" y="86432"/>
                  </a:lnTo>
                  <a:cubicBezTo>
                    <a:pt x="191473" y="81821"/>
                    <a:pt x="188606" y="77211"/>
                    <a:pt x="183996" y="76145"/>
                  </a:cubicBezTo>
                  <a:cubicBezTo>
                    <a:pt x="183596" y="76049"/>
                    <a:pt x="183196" y="75992"/>
                    <a:pt x="182787" y="7595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grpSp>
        <p:nvGrpSpPr>
          <p:cNvPr id="106" name="Group 105">
            <a:extLst>
              <a:ext uri="{FF2B5EF4-FFF2-40B4-BE49-F238E27FC236}">
                <a16:creationId xmlns:a16="http://schemas.microsoft.com/office/drawing/2014/main" id="{B22EE9BF-D631-4EAB-B324-B4F517A6DE84}"/>
              </a:ext>
            </a:extLst>
          </p:cNvPr>
          <p:cNvGrpSpPr/>
          <p:nvPr/>
        </p:nvGrpSpPr>
        <p:grpSpPr>
          <a:xfrm>
            <a:off x="4566399" y="2564293"/>
            <a:ext cx="299084" cy="495299"/>
            <a:chOff x="4424362" y="2324100"/>
            <a:chExt cx="299084" cy="495299"/>
          </a:xfrm>
          <a:solidFill>
            <a:schemeClr val="accent2"/>
          </a:solidFill>
        </p:grpSpPr>
        <p:sp>
          <p:nvSpPr>
            <p:cNvPr id="107" name="Freeform: Shape 106">
              <a:extLst>
                <a:ext uri="{FF2B5EF4-FFF2-40B4-BE49-F238E27FC236}">
                  <a16:creationId xmlns:a16="http://schemas.microsoft.com/office/drawing/2014/main" id="{63F3B910-59CD-47E3-8CE9-4ACAF5D31DAA}"/>
                </a:ext>
              </a:extLst>
            </p:cNvPr>
            <p:cNvSpPr/>
            <p:nvPr/>
          </p:nvSpPr>
          <p:spPr>
            <a:xfrm>
              <a:off x="4497704" y="2514600"/>
              <a:ext cx="152400" cy="247650"/>
            </a:xfrm>
            <a:custGeom>
              <a:avLst/>
              <a:gdLst>
                <a:gd name="connsiteX0" fmla="*/ 152304 w 152400"/>
                <a:gd name="connsiteY0" fmla="*/ 47379 h 247650"/>
                <a:gd name="connsiteX1" fmla="*/ 142779 w 152400"/>
                <a:gd name="connsiteY1" fmla="*/ 56904 h 247650"/>
                <a:gd name="connsiteX2" fmla="*/ 9429 w 152400"/>
                <a:gd name="connsiteY2" fmla="*/ 56904 h 247650"/>
                <a:gd name="connsiteX3" fmla="*/ -96 w 152400"/>
                <a:gd name="connsiteY3" fmla="*/ 47379 h 247650"/>
                <a:gd name="connsiteX4" fmla="*/ -96 w 152400"/>
                <a:gd name="connsiteY4" fmla="*/ 9279 h 247650"/>
                <a:gd name="connsiteX5" fmla="*/ 9429 w 152400"/>
                <a:gd name="connsiteY5" fmla="*/ -246 h 247650"/>
                <a:gd name="connsiteX6" fmla="*/ 142779 w 152400"/>
                <a:gd name="connsiteY6" fmla="*/ -246 h 247650"/>
                <a:gd name="connsiteX7" fmla="*/ 152304 w 152400"/>
                <a:gd name="connsiteY7" fmla="*/ 9279 h 247650"/>
                <a:gd name="connsiteX8" fmla="*/ 152304 w 152400"/>
                <a:gd name="connsiteY8" fmla="*/ 47379 h 247650"/>
                <a:gd name="connsiteX9" fmla="*/ 57054 w 152400"/>
                <a:gd name="connsiteY9" fmla="*/ 104529 h 247650"/>
                <a:gd name="connsiteX10" fmla="*/ 47529 w 152400"/>
                <a:gd name="connsiteY10" fmla="*/ 95004 h 247650"/>
                <a:gd name="connsiteX11" fmla="*/ 9429 w 152400"/>
                <a:gd name="connsiteY11" fmla="*/ 95004 h 247650"/>
                <a:gd name="connsiteX12" fmla="*/ -96 w 152400"/>
                <a:gd name="connsiteY12" fmla="*/ 104529 h 247650"/>
                <a:gd name="connsiteX13" fmla="*/ -96 w 152400"/>
                <a:gd name="connsiteY13" fmla="*/ 142629 h 247650"/>
                <a:gd name="connsiteX14" fmla="*/ 9429 w 152400"/>
                <a:gd name="connsiteY14" fmla="*/ 152154 h 247650"/>
                <a:gd name="connsiteX15" fmla="*/ 47529 w 152400"/>
                <a:gd name="connsiteY15" fmla="*/ 152154 h 247650"/>
                <a:gd name="connsiteX16" fmla="*/ 57054 w 152400"/>
                <a:gd name="connsiteY16" fmla="*/ 142629 h 247650"/>
                <a:gd name="connsiteX17" fmla="*/ 57054 w 152400"/>
                <a:gd name="connsiteY17" fmla="*/ 104529 h 247650"/>
                <a:gd name="connsiteX18" fmla="*/ 57054 w 152400"/>
                <a:gd name="connsiteY18" fmla="*/ 199779 h 247650"/>
                <a:gd name="connsiteX19" fmla="*/ 47529 w 152400"/>
                <a:gd name="connsiteY19" fmla="*/ 190254 h 247650"/>
                <a:gd name="connsiteX20" fmla="*/ 9429 w 152400"/>
                <a:gd name="connsiteY20" fmla="*/ 190254 h 247650"/>
                <a:gd name="connsiteX21" fmla="*/ -96 w 152400"/>
                <a:gd name="connsiteY21" fmla="*/ 199779 h 247650"/>
                <a:gd name="connsiteX22" fmla="*/ -96 w 152400"/>
                <a:gd name="connsiteY22" fmla="*/ 237879 h 247650"/>
                <a:gd name="connsiteX23" fmla="*/ 9429 w 152400"/>
                <a:gd name="connsiteY23" fmla="*/ 247404 h 247650"/>
                <a:gd name="connsiteX24" fmla="*/ 47529 w 152400"/>
                <a:gd name="connsiteY24" fmla="*/ 247404 h 247650"/>
                <a:gd name="connsiteX25" fmla="*/ 57054 w 152400"/>
                <a:gd name="connsiteY25" fmla="*/ 237879 h 247650"/>
                <a:gd name="connsiteX26" fmla="*/ 57054 w 152400"/>
                <a:gd name="connsiteY26" fmla="*/ 199779 h 247650"/>
                <a:gd name="connsiteX27" fmla="*/ 152304 w 152400"/>
                <a:gd name="connsiteY27" fmla="*/ 104529 h 247650"/>
                <a:gd name="connsiteX28" fmla="*/ 142779 w 152400"/>
                <a:gd name="connsiteY28" fmla="*/ 95004 h 247650"/>
                <a:gd name="connsiteX29" fmla="*/ 104679 w 152400"/>
                <a:gd name="connsiteY29" fmla="*/ 95004 h 247650"/>
                <a:gd name="connsiteX30" fmla="*/ 95154 w 152400"/>
                <a:gd name="connsiteY30" fmla="*/ 104529 h 247650"/>
                <a:gd name="connsiteX31" fmla="*/ 95154 w 152400"/>
                <a:gd name="connsiteY31" fmla="*/ 237879 h 247650"/>
                <a:gd name="connsiteX32" fmla="*/ 104679 w 152400"/>
                <a:gd name="connsiteY32" fmla="*/ 247404 h 247650"/>
                <a:gd name="connsiteX33" fmla="*/ 142779 w 152400"/>
                <a:gd name="connsiteY33" fmla="*/ 247404 h 247650"/>
                <a:gd name="connsiteX34" fmla="*/ 152304 w 152400"/>
                <a:gd name="connsiteY34" fmla="*/ 237879 h 247650"/>
                <a:gd name="connsiteX35" fmla="*/ 152304 w 152400"/>
                <a:gd name="connsiteY35" fmla="*/ 104529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2400" h="247650">
                  <a:moveTo>
                    <a:pt x="152304" y="47379"/>
                  </a:moveTo>
                  <a:cubicBezTo>
                    <a:pt x="152304" y="52637"/>
                    <a:pt x="148037" y="56904"/>
                    <a:pt x="142779" y="56904"/>
                  </a:cubicBezTo>
                  <a:lnTo>
                    <a:pt x="9429" y="56904"/>
                  </a:lnTo>
                  <a:cubicBezTo>
                    <a:pt x="4171" y="56904"/>
                    <a:pt x="-96" y="52637"/>
                    <a:pt x="-96" y="47379"/>
                  </a:cubicBezTo>
                  <a:lnTo>
                    <a:pt x="-96" y="9279"/>
                  </a:lnTo>
                  <a:cubicBezTo>
                    <a:pt x="-96" y="4021"/>
                    <a:pt x="4171" y="-246"/>
                    <a:pt x="9429" y="-246"/>
                  </a:cubicBezTo>
                  <a:lnTo>
                    <a:pt x="142779" y="-246"/>
                  </a:lnTo>
                  <a:cubicBezTo>
                    <a:pt x="148037" y="-246"/>
                    <a:pt x="152304" y="4021"/>
                    <a:pt x="152304" y="9279"/>
                  </a:cubicBezTo>
                  <a:lnTo>
                    <a:pt x="152304" y="47379"/>
                  </a:lnTo>
                  <a:close/>
                  <a:moveTo>
                    <a:pt x="57054" y="104529"/>
                  </a:moveTo>
                  <a:cubicBezTo>
                    <a:pt x="57054" y="99271"/>
                    <a:pt x="52787" y="95004"/>
                    <a:pt x="47529" y="95004"/>
                  </a:cubicBezTo>
                  <a:lnTo>
                    <a:pt x="9429" y="95004"/>
                  </a:lnTo>
                  <a:cubicBezTo>
                    <a:pt x="4171" y="95004"/>
                    <a:pt x="-96" y="99271"/>
                    <a:pt x="-96" y="104529"/>
                  </a:cubicBezTo>
                  <a:lnTo>
                    <a:pt x="-96" y="142629"/>
                  </a:lnTo>
                  <a:cubicBezTo>
                    <a:pt x="-96" y="147887"/>
                    <a:pt x="4171" y="152154"/>
                    <a:pt x="9429" y="152154"/>
                  </a:cubicBezTo>
                  <a:lnTo>
                    <a:pt x="47529" y="152154"/>
                  </a:lnTo>
                  <a:cubicBezTo>
                    <a:pt x="52787" y="152154"/>
                    <a:pt x="57054" y="147887"/>
                    <a:pt x="57054" y="142629"/>
                  </a:cubicBezTo>
                  <a:lnTo>
                    <a:pt x="57054" y="104529"/>
                  </a:lnTo>
                  <a:close/>
                  <a:moveTo>
                    <a:pt x="57054" y="199779"/>
                  </a:moveTo>
                  <a:cubicBezTo>
                    <a:pt x="57054" y="194521"/>
                    <a:pt x="52787" y="190254"/>
                    <a:pt x="47529" y="190254"/>
                  </a:cubicBezTo>
                  <a:lnTo>
                    <a:pt x="9429" y="190254"/>
                  </a:lnTo>
                  <a:cubicBezTo>
                    <a:pt x="4171" y="190254"/>
                    <a:pt x="-96" y="194521"/>
                    <a:pt x="-96" y="199779"/>
                  </a:cubicBezTo>
                  <a:lnTo>
                    <a:pt x="-96" y="237879"/>
                  </a:lnTo>
                  <a:cubicBezTo>
                    <a:pt x="-96" y="243137"/>
                    <a:pt x="4171" y="247404"/>
                    <a:pt x="9429" y="247404"/>
                  </a:cubicBezTo>
                  <a:lnTo>
                    <a:pt x="47529" y="247404"/>
                  </a:lnTo>
                  <a:cubicBezTo>
                    <a:pt x="52787" y="247404"/>
                    <a:pt x="57054" y="243137"/>
                    <a:pt x="57054" y="237879"/>
                  </a:cubicBezTo>
                  <a:lnTo>
                    <a:pt x="57054" y="199779"/>
                  </a:lnTo>
                  <a:close/>
                  <a:moveTo>
                    <a:pt x="152304" y="104529"/>
                  </a:moveTo>
                  <a:cubicBezTo>
                    <a:pt x="152304" y="99271"/>
                    <a:pt x="148037" y="95004"/>
                    <a:pt x="142779" y="95004"/>
                  </a:cubicBezTo>
                  <a:lnTo>
                    <a:pt x="104679" y="95004"/>
                  </a:lnTo>
                  <a:cubicBezTo>
                    <a:pt x="99421" y="95004"/>
                    <a:pt x="95154" y="99271"/>
                    <a:pt x="95154" y="104529"/>
                  </a:cubicBezTo>
                  <a:lnTo>
                    <a:pt x="95154" y="237879"/>
                  </a:lnTo>
                  <a:cubicBezTo>
                    <a:pt x="95154" y="243137"/>
                    <a:pt x="99421" y="247404"/>
                    <a:pt x="104679" y="247404"/>
                  </a:cubicBezTo>
                  <a:lnTo>
                    <a:pt x="142779" y="247404"/>
                  </a:lnTo>
                  <a:cubicBezTo>
                    <a:pt x="148037" y="247404"/>
                    <a:pt x="152304" y="243137"/>
                    <a:pt x="152304" y="237879"/>
                  </a:cubicBezTo>
                  <a:lnTo>
                    <a:pt x="152304" y="104529"/>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08" name="Freeform: Shape 107">
              <a:extLst>
                <a:ext uri="{FF2B5EF4-FFF2-40B4-BE49-F238E27FC236}">
                  <a16:creationId xmlns:a16="http://schemas.microsoft.com/office/drawing/2014/main" id="{A3475991-E990-4260-BB28-FE57F2446E93}"/>
                </a:ext>
              </a:extLst>
            </p:cNvPr>
            <p:cNvSpPr/>
            <p:nvPr/>
          </p:nvSpPr>
          <p:spPr>
            <a:xfrm>
              <a:off x="4424362" y="2425065"/>
              <a:ext cx="299084" cy="394334"/>
            </a:xfrm>
            <a:custGeom>
              <a:avLst/>
              <a:gdLst>
                <a:gd name="connsiteX0" fmla="*/ 298989 w 299084"/>
                <a:gd name="connsiteY0" fmla="*/ 394089 h 394334"/>
                <a:gd name="connsiteX1" fmla="*/ -96 w 299084"/>
                <a:gd name="connsiteY1" fmla="*/ 394089 h 394334"/>
                <a:gd name="connsiteX2" fmla="*/ -96 w 299084"/>
                <a:gd name="connsiteY2" fmla="*/ -246 h 394334"/>
                <a:gd name="connsiteX3" fmla="*/ 298036 w 299084"/>
                <a:gd name="connsiteY3" fmla="*/ -246 h 394334"/>
                <a:gd name="connsiteX4" fmla="*/ 298036 w 299084"/>
                <a:gd name="connsiteY4" fmla="*/ 394089 h 394334"/>
                <a:gd name="connsiteX5" fmla="*/ 29431 w 299084"/>
                <a:gd name="connsiteY5" fmla="*/ 365514 h 394334"/>
                <a:gd name="connsiteX6" fmla="*/ 269461 w 299084"/>
                <a:gd name="connsiteY6" fmla="*/ 365514 h 394334"/>
                <a:gd name="connsiteX7" fmla="*/ 269461 w 299084"/>
                <a:gd name="connsiteY7" fmla="*/ 28329 h 394334"/>
                <a:gd name="connsiteX8" fmla="*/ 29431 w 299084"/>
                <a:gd name="connsiteY8" fmla="*/ 28329 h 394334"/>
                <a:gd name="connsiteX9" fmla="*/ 29431 w 299084"/>
                <a:gd name="connsiteY9" fmla="*/ 365514 h 39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9084" h="394334">
                  <a:moveTo>
                    <a:pt x="298989" y="394089"/>
                  </a:moveTo>
                  <a:lnTo>
                    <a:pt x="-96" y="394089"/>
                  </a:lnTo>
                  <a:lnTo>
                    <a:pt x="-96" y="-246"/>
                  </a:lnTo>
                  <a:lnTo>
                    <a:pt x="298036" y="-246"/>
                  </a:lnTo>
                  <a:lnTo>
                    <a:pt x="298036" y="394089"/>
                  </a:lnTo>
                  <a:close/>
                  <a:moveTo>
                    <a:pt x="29431" y="365514"/>
                  </a:moveTo>
                  <a:lnTo>
                    <a:pt x="269461" y="365514"/>
                  </a:lnTo>
                  <a:lnTo>
                    <a:pt x="269461" y="28329"/>
                  </a:lnTo>
                  <a:lnTo>
                    <a:pt x="29431" y="28329"/>
                  </a:lnTo>
                  <a:lnTo>
                    <a:pt x="29431" y="365514"/>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09" name="Freeform: Shape 108">
              <a:extLst>
                <a:ext uri="{FF2B5EF4-FFF2-40B4-BE49-F238E27FC236}">
                  <a16:creationId xmlns:a16="http://schemas.microsoft.com/office/drawing/2014/main" id="{830780D3-A877-4CDC-BBE2-6B449B990246}"/>
                </a:ext>
              </a:extLst>
            </p:cNvPr>
            <p:cNvSpPr/>
            <p:nvPr/>
          </p:nvSpPr>
          <p:spPr>
            <a:xfrm>
              <a:off x="4478651" y="2324100"/>
              <a:ext cx="190819" cy="153570"/>
            </a:xfrm>
            <a:custGeom>
              <a:avLst/>
              <a:gdLst>
                <a:gd name="connsiteX0" fmla="*/ 57057 w 190819"/>
                <a:gd name="connsiteY0" fmla="*/ 86432 h 153570"/>
                <a:gd name="connsiteX1" fmla="*/ 57057 w 190819"/>
                <a:gd name="connsiteY1" fmla="*/ 144534 h 153570"/>
                <a:gd name="connsiteX2" fmla="*/ 50522 w 190819"/>
                <a:gd name="connsiteY2" fmla="*/ 153107 h 153570"/>
                <a:gd name="connsiteX3" fmla="*/ 48484 w 190819"/>
                <a:gd name="connsiteY3" fmla="*/ 153107 h 153570"/>
                <a:gd name="connsiteX4" fmla="*/ 10384 w 190819"/>
                <a:gd name="connsiteY4" fmla="*/ 153107 h 153570"/>
                <a:gd name="connsiteX5" fmla="*/ 116 w 190819"/>
                <a:gd name="connsiteY5" fmla="*/ 146658 h 153570"/>
                <a:gd name="connsiteX6" fmla="*/ -93 w 190819"/>
                <a:gd name="connsiteY6" fmla="*/ 144534 h 153570"/>
                <a:gd name="connsiteX7" fmla="*/ -93 w 190819"/>
                <a:gd name="connsiteY7" fmla="*/ 86432 h 153570"/>
                <a:gd name="connsiteX8" fmla="*/ 10384 w 190819"/>
                <a:gd name="connsiteY8" fmla="*/ 75954 h 153570"/>
                <a:gd name="connsiteX9" fmla="*/ 18957 w 190819"/>
                <a:gd name="connsiteY9" fmla="*/ 75954 h 153570"/>
                <a:gd name="connsiteX10" fmla="*/ 18957 w 190819"/>
                <a:gd name="connsiteY10" fmla="*/ 9279 h 153570"/>
                <a:gd name="connsiteX11" fmla="*/ 28482 w 190819"/>
                <a:gd name="connsiteY11" fmla="*/ -246 h 153570"/>
                <a:gd name="connsiteX12" fmla="*/ 38007 w 190819"/>
                <a:gd name="connsiteY12" fmla="*/ 9279 h 153570"/>
                <a:gd name="connsiteX13" fmla="*/ 38007 w 190819"/>
                <a:gd name="connsiteY13" fmla="*/ 75954 h 153570"/>
                <a:gd name="connsiteX14" fmla="*/ 48484 w 190819"/>
                <a:gd name="connsiteY14" fmla="*/ 75954 h 153570"/>
                <a:gd name="connsiteX15" fmla="*/ 57066 w 190819"/>
                <a:gd name="connsiteY15" fmla="*/ 86336 h 153570"/>
                <a:gd name="connsiteX16" fmla="*/ 57057 w 190819"/>
                <a:gd name="connsiteY16" fmla="*/ 86432 h 153570"/>
                <a:gd name="connsiteX17" fmla="*/ 182787 w 190819"/>
                <a:gd name="connsiteY17" fmla="*/ 75954 h 153570"/>
                <a:gd name="connsiteX18" fmla="*/ 171357 w 190819"/>
                <a:gd name="connsiteY18" fmla="*/ 75954 h 153570"/>
                <a:gd name="connsiteX19" fmla="*/ 171357 w 190819"/>
                <a:gd name="connsiteY19" fmla="*/ 9279 h 153570"/>
                <a:gd name="connsiteX20" fmla="*/ 161832 w 190819"/>
                <a:gd name="connsiteY20" fmla="*/ -246 h 153570"/>
                <a:gd name="connsiteX21" fmla="*/ 152307 w 190819"/>
                <a:gd name="connsiteY21" fmla="*/ 9279 h 153570"/>
                <a:gd name="connsiteX22" fmla="*/ 152307 w 190819"/>
                <a:gd name="connsiteY22" fmla="*/ 75954 h 153570"/>
                <a:gd name="connsiteX23" fmla="*/ 144687 w 190819"/>
                <a:gd name="connsiteY23" fmla="*/ 75954 h 153570"/>
                <a:gd name="connsiteX24" fmla="*/ 133257 w 190819"/>
                <a:gd name="connsiteY24" fmla="*/ 86432 h 153570"/>
                <a:gd name="connsiteX25" fmla="*/ 133257 w 190819"/>
                <a:gd name="connsiteY25" fmla="*/ 144534 h 153570"/>
                <a:gd name="connsiteX26" fmla="*/ 144687 w 190819"/>
                <a:gd name="connsiteY26" fmla="*/ 153107 h 153570"/>
                <a:gd name="connsiteX27" fmla="*/ 182787 w 190819"/>
                <a:gd name="connsiteY27" fmla="*/ 153107 h 153570"/>
                <a:gd name="connsiteX28" fmla="*/ 190597 w 190819"/>
                <a:gd name="connsiteY28" fmla="*/ 147830 h 153570"/>
                <a:gd name="connsiteX29" fmla="*/ 190407 w 190819"/>
                <a:gd name="connsiteY29" fmla="*/ 144534 h 153570"/>
                <a:gd name="connsiteX30" fmla="*/ 190407 w 190819"/>
                <a:gd name="connsiteY30" fmla="*/ 86432 h 153570"/>
                <a:gd name="connsiteX31" fmla="*/ 183996 w 190819"/>
                <a:gd name="connsiteY31" fmla="*/ 76145 h 153570"/>
                <a:gd name="connsiteX32" fmla="*/ 182787 w 190819"/>
                <a:gd name="connsiteY32" fmla="*/ 75954 h 153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819" h="153570">
                  <a:moveTo>
                    <a:pt x="57057" y="86432"/>
                  </a:moveTo>
                  <a:lnTo>
                    <a:pt x="57057" y="144534"/>
                  </a:lnTo>
                  <a:cubicBezTo>
                    <a:pt x="57619" y="148706"/>
                    <a:pt x="54694" y="152544"/>
                    <a:pt x="50522" y="153107"/>
                  </a:cubicBezTo>
                  <a:cubicBezTo>
                    <a:pt x="49846" y="153202"/>
                    <a:pt x="49160" y="153202"/>
                    <a:pt x="48484" y="153107"/>
                  </a:cubicBezTo>
                  <a:lnTo>
                    <a:pt x="10384" y="153107"/>
                  </a:lnTo>
                  <a:cubicBezTo>
                    <a:pt x="5764" y="154164"/>
                    <a:pt x="1173" y="151268"/>
                    <a:pt x="116" y="146658"/>
                  </a:cubicBezTo>
                  <a:cubicBezTo>
                    <a:pt x="-36" y="145963"/>
                    <a:pt x="-112" y="145248"/>
                    <a:pt x="-93" y="144534"/>
                  </a:cubicBezTo>
                  <a:lnTo>
                    <a:pt x="-93" y="86432"/>
                  </a:lnTo>
                  <a:cubicBezTo>
                    <a:pt x="-93" y="80640"/>
                    <a:pt x="4593" y="75954"/>
                    <a:pt x="10384" y="75954"/>
                  </a:cubicBezTo>
                  <a:lnTo>
                    <a:pt x="18957" y="75954"/>
                  </a:lnTo>
                  <a:lnTo>
                    <a:pt x="18957" y="9279"/>
                  </a:lnTo>
                  <a:cubicBezTo>
                    <a:pt x="18957" y="4021"/>
                    <a:pt x="23224" y="-246"/>
                    <a:pt x="28482" y="-246"/>
                  </a:cubicBezTo>
                  <a:cubicBezTo>
                    <a:pt x="33739" y="-246"/>
                    <a:pt x="38007" y="4021"/>
                    <a:pt x="38007" y="9279"/>
                  </a:cubicBezTo>
                  <a:lnTo>
                    <a:pt x="38007" y="75954"/>
                  </a:lnTo>
                  <a:lnTo>
                    <a:pt x="48484" y="75954"/>
                  </a:lnTo>
                  <a:cubicBezTo>
                    <a:pt x="53723" y="76449"/>
                    <a:pt x="57561" y="81097"/>
                    <a:pt x="57066" y="86336"/>
                  </a:cubicBezTo>
                  <a:cubicBezTo>
                    <a:pt x="57066" y="86365"/>
                    <a:pt x="57057" y="86403"/>
                    <a:pt x="57057" y="86432"/>
                  </a:cubicBezTo>
                  <a:close/>
                  <a:moveTo>
                    <a:pt x="182787" y="75954"/>
                  </a:moveTo>
                  <a:lnTo>
                    <a:pt x="171357" y="75954"/>
                  </a:lnTo>
                  <a:lnTo>
                    <a:pt x="171357" y="9279"/>
                  </a:lnTo>
                  <a:cubicBezTo>
                    <a:pt x="171357" y="4021"/>
                    <a:pt x="167089" y="-246"/>
                    <a:pt x="161832" y="-246"/>
                  </a:cubicBezTo>
                  <a:cubicBezTo>
                    <a:pt x="156574" y="-246"/>
                    <a:pt x="152307" y="4021"/>
                    <a:pt x="152307" y="9279"/>
                  </a:cubicBezTo>
                  <a:lnTo>
                    <a:pt x="152307" y="75954"/>
                  </a:lnTo>
                  <a:lnTo>
                    <a:pt x="144687" y="75954"/>
                  </a:lnTo>
                  <a:cubicBezTo>
                    <a:pt x="138895" y="76335"/>
                    <a:pt x="134142" y="80688"/>
                    <a:pt x="133257" y="86432"/>
                  </a:cubicBezTo>
                  <a:lnTo>
                    <a:pt x="133257" y="144534"/>
                  </a:lnTo>
                  <a:cubicBezTo>
                    <a:pt x="134228" y="149954"/>
                    <a:pt x="139219" y="153697"/>
                    <a:pt x="144687" y="153107"/>
                  </a:cubicBezTo>
                  <a:lnTo>
                    <a:pt x="182787" y="153107"/>
                  </a:lnTo>
                  <a:cubicBezTo>
                    <a:pt x="186406" y="153811"/>
                    <a:pt x="189902" y="151440"/>
                    <a:pt x="190597" y="147830"/>
                  </a:cubicBezTo>
                  <a:cubicBezTo>
                    <a:pt x="190816" y="146734"/>
                    <a:pt x="190750" y="145601"/>
                    <a:pt x="190407" y="144534"/>
                  </a:cubicBezTo>
                  <a:lnTo>
                    <a:pt x="190407" y="86432"/>
                  </a:lnTo>
                  <a:cubicBezTo>
                    <a:pt x="191473" y="81821"/>
                    <a:pt x="188606" y="77211"/>
                    <a:pt x="183996" y="76145"/>
                  </a:cubicBezTo>
                  <a:cubicBezTo>
                    <a:pt x="183596" y="76049"/>
                    <a:pt x="183196" y="75992"/>
                    <a:pt x="182787" y="7595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grpSp>
        <p:nvGrpSpPr>
          <p:cNvPr id="110" name="Group 109">
            <a:extLst>
              <a:ext uri="{FF2B5EF4-FFF2-40B4-BE49-F238E27FC236}">
                <a16:creationId xmlns:a16="http://schemas.microsoft.com/office/drawing/2014/main" id="{5EB417D6-ED0F-483A-BC96-0F2D9EEBA12A}"/>
              </a:ext>
            </a:extLst>
          </p:cNvPr>
          <p:cNvGrpSpPr/>
          <p:nvPr/>
        </p:nvGrpSpPr>
        <p:grpSpPr>
          <a:xfrm>
            <a:off x="4566399" y="3358945"/>
            <a:ext cx="299084" cy="495299"/>
            <a:chOff x="4424362" y="2324100"/>
            <a:chExt cx="299084" cy="495299"/>
          </a:xfrm>
          <a:solidFill>
            <a:schemeClr val="accent2"/>
          </a:solidFill>
        </p:grpSpPr>
        <p:sp>
          <p:nvSpPr>
            <p:cNvPr id="111" name="Freeform: Shape 110">
              <a:extLst>
                <a:ext uri="{FF2B5EF4-FFF2-40B4-BE49-F238E27FC236}">
                  <a16:creationId xmlns:a16="http://schemas.microsoft.com/office/drawing/2014/main" id="{E4E6FA30-B9C8-4EEE-8211-5AD0AFDCA2D9}"/>
                </a:ext>
              </a:extLst>
            </p:cNvPr>
            <p:cNvSpPr/>
            <p:nvPr/>
          </p:nvSpPr>
          <p:spPr>
            <a:xfrm>
              <a:off x="4497704" y="2514600"/>
              <a:ext cx="152400" cy="247650"/>
            </a:xfrm>
            <a:custGeom>
              <a:avLst/>
              <a:gdLst>
                <a:gd name="connsiteX0" fmla="*/ 152304 w 152400"/>
                <a:gd name="connsiteY0" fmla="*/ 47379 h 247650"/>
                <a:gd name="connsiteX1" fmla="*/ 142779 w 152400"/>
                <a:gd name="connsiteY1" fmla="*/ 56904 h 247650"/>
                <a:gd name="connsiteX2" fmla="*/ 9429 w 152400"/>
                <a:gd name="connsiteY2" fmla="*/ 56904 h 247650"/>
                <a:gd name="connsiteX3" fmla="*/ -96 w 152400"/>
                <a:gd name="connsiteY3" fmla="*/ 47379 h 247650"/>
                <a:gd name="connsiteX4" fmla="*/ -96 w 152400"/>
                <a:gd name="connsiteY4" fmla="*/ 9279 h 247650"/>
                <a:gd name="connsiteX5" fmla="*/ 9429 w 152400"/>
                <a:gd name="connsiteY5" fmla="*/ -246 h 247650"/>
                <a:gd name="connsiteX6" fmla="*/ 142779 w 152400"/>
                <a:gd name="connsiteY6" fmla="*/ -246 h 247650"/>
                <a:gd name="connsiteX7" fmla="*/ 152304 w 152400"/>
                <a:gd name="connsiteY7" fmla="*/ 9279 h 247650"/>
                <a:gd name="connsiteX8" fmla="*/ 152304 w 152400"/>
                <a:gd name="connsiteY8" fmla="*/ 47379 h 247650"/>
                <a:gd name="connsiteX9" fmla="*/ 57054 w 152400"/>
                <a:gd name="connsiteY9" fmla="*/ 104529 h 247650"/>
                <a:gd name="connsiteX10" fmla="*/ 47529 w 152400"/>
                <a:gd name="connsiteY10" fmla="*/ 95004 h 247650"/>
                <a:gd name="connsiteX11" fmla="*/ 9429 w 152400"/>
                <a:gd name="connsiteY11" fmla="*/ 95004 h 247650"/>
                <a:gd name="connsiteX12" fmla="*/ -96 w 152400"/>
                <a:gd name="connsiteY12" fmla="*/ 104529 h 247650"/>
                <a:gd name="connsiteX13" fmla="*/ -96 w 152400"/>
                <a:gd name="connsiteY13" fmla="*/ 142629 h 247650"/>
                <a:gd name="connsiteX14" fmla="*/ 9429 w 152400"/>
                <a:gd name="connsiteY14" fmla="*/ 152154 h 247650"/>
                <a:gd name="connsiteX15" fmla="*/ 47529 w 152400"/>
                <a:gd name="connsiteY15" fmla="*/ 152154 h 247650"/>
                <a:gd name="connsiteX16" fmla="*/ 57054 w 152400"/>
                <a:gd name="connsiteY16" fmla="*/ 142629 h 247650"/>
                <a:gd name="connsiteX17" fmla="*/ 57054 w 152400"/>
                <a:gd name="connsiteY17" fmla="*/ 104529 h 247650"/>
                <a:gd name="connsiteX18" fmla="*/ 57054 w 152400"/>
                <a:gd name="connsiteY18" fmla="*/ 199779 h 247650"/>
                <a:gd name="connsiteX19" fmla="*/ 47529 w 152400"/>
                <a:gd name="connsiteY19" fmla="*/ 190254 h 247650"/>
                <a:gd name="connsiteX20" fmla="*/ 9429 w 152400"/>
                <a:gd name="connsiteY20" fmla="*/ 190254 h 247650"/>
                <a:gd name="connsiteX21" fmla="*/ -96 w 152400"/>
                <a:gd name="connsiteY21" fmla="*/ 199779 h 247650"/>
                <a:gd name="connsiteX22" fmla="*/ -96 w 152400"/>
                <a:gd name="connsiteY22" fmla="*/ 237879 h 247650"/>
                <a:gd name="connsiteX23" fmla="*/ 9429 w 152400"/>
                <a:gd name="connsiteY23" fmla="*/ 247404 h 247650"/>
                <a:gd name="connsiteX24" fmla="*/ 47529 w 152400"/>
                <a:gd name="connsiteY24" fmla="*/ 247404 h 247650"/>
                <a:gd name="connsiteX25" fmla="*/ 57054 w 152400"/>
                <a:gd name="connsiteY25" fmla="*/ 237879 h 247650"/>
                <a:gd name="connsiteX26" fmla="*/ 57054 w 152400"/>
                <a:gd name="connsiteY26" fmla="*/ 199779 h 247650"/>
                <a:gd name="connsiteX27" fmla="*/ 152304 w 152400"/>
                <a:gd name="connsiteY27" fmla="*/ 104529 h 247650"/>
                <a:gd name="connsiteX28" fmla="*/ 142779 w 152400"/>
                <a:gd name="connsiteY28" fmla="*/ 95004 h 247650"/>
                <a:gd name="connsiteX29" fmla="*/ 104679 w 152400"/>
                <a:gd name="connsiteY29" fmla="*/ 95004 h 247650"/>
                <a:gd name="connsiteX30" fmla="*/ 95154 w 152400"/>
                <a:gd name="connsiteY30" fmla="*/ 104529 h 247650"/>
                <a:gd name="connsiteX31" fmla="*/ 95154 w 152400"/>
                <a:gd name="connsiteY31" fmla="*/ 237879 h 247650"/>
                <a:gd name="connsiteX32" fmla="*/ 104679 w 152400"/>
                <a:gd name="connsiteY32" fmla="*/ 247404 h 247650"/>
                <a:gd name="connsiteX33" fmla="*/ 142779 w 152400"/>
                <a:gd name="connsiteY33" fmla="*/ 247404 h 247650"/>
                <a:gd name="connsiteX34" fmla="*/ 152304 w 152400"/>
                <a:gd name="connsiteY34" fmla="*/ 237879 h 247650"/>
                <a:gd name="connsiteX35" fmla="*/ 152304 w 152400"/>
                <a:gd name="connsiteY35" fmla="*/ 104529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2400" h="247650">
                  <a:moveTo>
                    <a:pt x="152304" y="47379"/>
                  </a:moveTo>
                  <a:cubicBezTo>
                    <a:pt x="152304" y="52637"/>
                    <a:pt x="148037" y="56904"/>
                    <a:pt x="142779" y="56904"/>
                  </a:cubicBezTo>
                  <a:lnTo>
                    <a:pt x="9429" y="56904"/>
                  </a:lnTo>
                  <a:cubicBezTo>
                    <a:pt x="4171" y="56904"/>
                    <a:pt x="-96" y="52637"/>
                    <a:pt x="-96" y="47379"/>
                  </a:cubicBezTo>
                  <a:lnTo>
                    <a:pt x="-96" y="9279"/>
                  </a:lnTo>
                  <a:cubicBezTo>
                    <a:pt x="-96" y="4021"/>
                    <a:pt x="4171" y="-246"/>
                    <a:pt x="9429" y="-246"/>
                  </a:cubicBezTo>
                  <a:lnTo>
                    <a:pt x="142779" y="-246"/>
                  </a:lnTo>
                  <a:cubicBezTo>
                    <a:pt x="148037" y="-246"/>
                    <a:pt x="152304" y="4021"/>
                    <a:pt x="152304" y="9279"/>
                  </a:cubicBezTo>
                  <a:lnTo>
                    <a:pt x="152304" y="47379"/>
                  </a:lnTo>
                  <a:close/>
                  <a:moveTo>
                    <a:pt x="57054" y="104529"/>
                  </a:moveTo>
                  <a:cubicBezTo>
                    <a:pt x="57054" y="99271"/>
                    <a:pt x="52787" y="95004"/>
                    <a:pt x="47529" y="95004"/>
                  </a:cubicBezTo>
                  <a:lnTo>
                    <a:pt x="9429" y="95004"/>
                  </a:lnTo>
                  <a:cubicBezTo>
                    <a:pt x="4171" y="95004"/>
                    <a:pt x="-96" y="99271"/>
                    <a:pt x="-96" y="104529"/>
                  </a:cubicBezTo>
                  <a:lnTo>
                    <a:pt x="-96" y="142629"/>
                  </a:lnTo>
                  <a:cubicBezTo>
                    <a:pt x="-96" y="147887"/>
                    <a:pt x="4171" y="152154"/>
                    <a:pt x="9429" y="152154"/>
                  </a:cubicBezTo>
                  <a:lnTo>
                    <a:pt x="47529" y="152154"/>
                  </a:lnTo>
                  <a:cubicBezTo>
                    <a:pt x="52787" y="152154"/>
                    <a:pt x="57054" y="147887"/>
                    <a:pt x="57054" y="142629"/>
                  </a:cubicBezTo>
                  <a:lnTo>
                    <a:pt x="57054" y="104529"/>
                  </a:lnTo>
                  <a:close/>
                  <a:moveTo>
                    <a:pt x="57054" y="199779"/>
                  </a:moveTo>
                  <a:cubicBezTo>
                    <a:pt x="57054" y="194521"/>
                    <a:pt x="52787" y="190254"/>
                    <a:pt x="47529" y="190254"/>
                  </a:cubicBezTo>
                  <a:lnTo>
                    <a:pt x="9429" y="190254"/>
                  </a:lnTo>
                  <a:cubicBezTo>
                    <a:pt x="4171" y="190254"/>
                    <a:pt x="-96" y="194521"/>
                    <a:pt x="-96" y="199779"/>
                  </a:cubicBezTo>
                  <a:lnTo>
                    <a:pt x="-96" y="237879"/>
                  </a:lnTo>
                  <a:cubicBezTo>
                    <a:pt x="-96" y="243137"/>
                    <a:pt x="4171" y="247404"/>
                    <a:pt x="9429" y="247404"/>
                  </a:cubicBezTo>
                  <a:lnTo>
                    <a:pt x="47529" y="247404"/>
                  </a:lnTo>
                  <a:cubicBezTo>
                    <a:pt x="52787" y="247404"/>
                    <a:pt x="57054" y="243137"/>
                    <a:pt x="57054" y="237879"/>
                  </a:cubicBezTo>
                  <a:lnTo>
                    <a:pt x="57054" y="199779"/>
                  </a:lnTo>
                  <a:close/>
                  <a:moveTo>
                    <a:pt x="152304" y="104529"/>
                  </a:moveTo>
                  <a:cubicBezTo>
                    <a:pt x="152304" y="99271"/>
                    <a:pt x="148037" y="95004"/>
                    <a:pt x="142779" y="95004"/>
                  </a:cubicBezTo>
                  <a:lnTo>
                    <a:pt x="104679" y="95004"/>
                  </a:lnTo>
                  <a:cubicBezTo>
                    <a:pt x="99421" y="95004"/>
                    <a:pt x="95154" y="99271"/>
                    <a:pt x="95154" y="104529"/>
                  </a:cubicBezTo>
                  <a:lnTo>
                    <a:pt x="95154" y="237879"/>
                  </a:lnTo>
                  <a:cubicBezTo>
                    <a:pt x="95154" y="243137"/>
                    <a:pt x="99421" y="247404"/>
                    <a:pt x="104679" y="247404"/>
                  </a:cubicBezTo>
                  <a:lnTo>
                    <a:pt x="142779" y="247404"/>
                  </a:lnTo>
                  <a:cubicBezTo>
                    <a:pt x="148037" y="247404"/>
                    <a:pt x="152304" y="243137"/>
                    <a:pt x="152304" y="237879"/>
                  </a:cubicBezTo>
                  <a:lnTo>
                    <a:pt x="152304" y="104529"/>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2" name="Freeform: Shape 111">
              <a:extLst>
                <a:ext uri="{FF2B5EF4-FFF2-40B4-BE49-F238E27FC236}">
                  <a16:creationId xmlns:a16="http://schemas.microsoft.com/office/drawing/2014/main" id="{01E3D2FA-D773-45D8-B1DE-B3A594E3D117}"/>
                </a:ext>
              </a:extLst>
            </p:cNvPr>
            <p:cNvSpPr/>
            <p:nvPr/>
          </p:nvSpPr>
          <p:spPr>
            <a:xfrm>
              <a:off x="4424362" y="2425065"/>
              <a:ext cx="299084" cy="394334"/>
            </a:xfrm>
            <a:custGeom>
              <a:avLst/>
              <a:gdLst>
                <a:gd name="connsiteX0" fmla="*/ 298989 w 299084"/>
                <a:gd name="connsiteY0" fmla="*/ 394089 h 394334"/>
                <a:gd name="connsiteX1" fmla="*/ -96 w 299084"/>
                <a:gd name="connsiteY1" fmla="*/ 394089 h 394334"/>
                <a:gd name="connsiteX2" fmla="*/ -96 w 299084"/>
                <a:gd name="connsiteY2" fmla="*/ -246 h 394334"/>
                <a:gd name="connsiteX3" fmla="*/ 298036 w 299084"/>
                <a:gd name="connsiteY3" fmla="*/ -246 h 394334"/>
                <a:gd name="connsiteX4" fmla="*/ 298036 w 299084"/>
                <a:gd name="connsiteY4" fmla="*/ 394089 h 394334"/>
                <a:gd name="connsiteX5" fmla="*/ 29431 w 299084"/>
                <a:gd name="connsiteY5" fmla="*/ 365514 h 394334"/>
                <a:gd name="connsiteX6" fmla="*/ 269461 w 299084"/>
                <a:gd name="connsiteY6" fmla="*/ 365514 h 394334"/>
                <a:gd name="connsiteX7" fmla="*/ 269461 w 299084"/>
                <a:gd name="connsiteY7" fmla="*/ 28329 h 394334"/>
                <a:gd name="connsiteX8" fmla="*/ 29431 w 299084"/>
                <a:gd name="connsiteY8" fmla="*/ 28329 h 394334"/>
                <a:gd name="connsiteX9" fmla="*/ 29431 w 299084"/>
                <a:gd name="connsiteY9" fmla="*/ 365514 h 39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9084" h="394334">
                  <a:moveTo>
                    <a:pt x="298989" y="394089"/>
                  </a:moveTo>
                  <a:lnTo>
                    <a:pt x="-96" y="394089"/>
                  </a:lnTo>
                  <a:lnTo>
                    <a:pt x="-96" y="-246"/>
                  </a:lnTo>
                  <a:lnTo>
                    <a:pt x="298036" y="-246"/>
                  </a:lnTo>
                  <a:lnTo>
                    <a:pt x="298036" y="394089"/>
                  </a:lnTo>
                  <a:close/>
                  <a:moveTo>
                    <a:pt x="29431" y="365514"/>
                  </a:moveTo>
                  <a:lnTo>
                    <a:pt x="269461" y="365514"/>
                  </a:lnTo>
                  <a:lnTo>
                    <a:pt x="269461" y="28329"/>
                  </a:lnTo>
                  <a:lnTo>
                    <a:pt x="29431" y="28329"/>
                  </a:lnTo>
                  <a:lnTo>
                    <a:pt x="29431" y="365514"/>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3" name="Freeform: Shape 112">
              <a:extLst>
                <a:ext uri="{FF2B5EF4-FFF2-40B4-BE49-F238E27FC236}">
                  <a16:creationId xmlns:a16="http://schemas.microsoft.com/office/drawing/2014/main" id="{59946467-289B-438A-9772-1717F17E8834}"/>
                </a:ext>
              </a:extLst>
            </p:cNvPr>
            <p:cNvSpPr/>
            <p:nvPr/>
          </p:nvSpPr>
          <p:spPr>
            <a:xfrm>
              <a:off x="4478651" y="2324100"/>
              <a:ext cx="190819" cy="153570"/>
            </a:xfrm>
            <a:custGeom>
              <a:avLst/>
              <a:gdLst>
                <a:gd name="connsiteX0" fmla="*/ 57057 w 190819"/>
                <a:gd name="connsiteY0" fmla="*/ 86432 h 153570"/>
                <a:gd name="connsiteX1" fmla="*/ 57057 w 190819"/>
                <a:gd name="connsiteY1" fmla="*/ 144534 h 153570"/>
                <a:gd name="connsiteX2" fmla="*/ 50522 w 190819"/>
                <a:gd name="connsiteY2" fmla="*/ 153107 h 153570"/>
                <a:gd name="connsiteX3" fmla="*/ 48484 w 190819"/>
                <a:gd name="connsiteY3" fmla="*/ 153107 h 153570"/>
                <a:gd name="connsiteX4" fmla="*/ 10384 w 190819"/>
                <a:gd name="connsiteY4" fmla="*/ 153107 h 153570"/>
                <a:gd name="connsiteX5" fmla="*/ 116 w 190819"/>
                <a:gd name="connsiteY5" fmla="*/ 146658 h 153570"/>
                <a:gd name="connsiteX6" fmla="*/ -93 w 190819"/>
                <a:gd name="connsiteY6" fmla="*/ 144534 h 153570"/>
                <a:gd name="connsiteX7" fmla="*/ -93 w 190819"/>
                <a:gd name="connsiteY7" fmla="*/ 86432 h 153570"/>
                <a:gd name="connsiteX8" fmla="*/ 10384 w 190819"/>
                <a:gd name="connsiteY8" fmla="*/ 75954 h 153570"/>
                <a:gd name="connsiteX9" fmla="*/ 18957 w 190819"/>
                <a:gd name="connsiteY9" fmla="*/ 75954 h 153570"/>
                <a:gd name="connsiteX10" fmla="*/ 18957 w 190819"/>
                <a:gd name="connsiteY10" fmla="*/ 9279 h 153570"/>
                <a:gd name="connsiteX11" fmla="*/ 28482 w 190819"/>
                <a:gd name="connsiteY11" fmla="*/ -246 h 153570"/>
                <a:gd name="connsiteX12" fmla="*/ 38007 w 190819"/>
                <a:gd name="connsiteY12" fmla="*/ 9279 h 153570"/>
                <a:gd name="connsiteX13" fmla="*/ 38007 w 190819"/>
                <a:gd name="connsiteY13" fmla="*/ 75954 h 153570"/>
                <a:gd name="connsiteX14" fmla="*/ 48484 w 190819"/>
                <a:gd name="connsiteY14" fmla="*/ 75954 h 153570"/>
                <a:gd name="connsiteX15" fmla="*/ 57066 w 190819"/>
                <a:gd name="connsiteY15" fmla="*/ 86336 h 153570"/>
                <a:gd name="connsiteX16" fmla="*/ 57057 w 190819"/>
                <a:gd name="connsiteY16" fmla="*/ 86432 h 153570"/>
                <a:gd name="connsiteX17" fmla="*/ 182787 w 190819"/>
                <a:gd name="connsiteY17" fmla="*/ 75954 h 153570"/>
                <a:gd name="connsiteX18" fmla="*/ 171357 w 190819"/>
                <a:gd name="connsiteY18" fmla="*/ 75954 h 153570"/>
                <a:gd name="connsiteX19" fmla="*/ 171357 w 190819"/>
                <a:gd name="connsiteY19" fmla="*/ 9279 h 153570"/>
                <a:gd name="connsiteX20" fmla="*/ 161832 w 190819"/>
                <a:gd name="connsiteY20" fmla="*/ -246 h 153570"/>
                <a:gd name="connsiteX21" fmla="*/ 152307 w 190819"/>
                <a:gd name="connsiteY21" fmla="*/ 9279 h 153570"/>
                <a:gd name="connsiteX22" fmla="*/ 152307 w 190819"/>
                <a:gd name="connsiteY22" fmla="*/ 75954 h 153570"/>
                <a:gd name="connsiteX23" fmla="*/ 144687 w 190819"/>
                <a:gd name="connsiteY23" fmla="*/ 75954 h 153570"/>
                <a:gd name="connsiteX24" fmla="*/ 133257 w 190819"/>
                <a:gd name="connsiteY24" fmla="*/ 86432 h 153570"/>
                <a:gd name="connsiteX25" fmla="*/ 133257 w 190819"/>
                <a:gd name="connsiteY25" fmla="*/ 144534 h 153570"/>
                <a:gd name="connsiteX26" fmla="*/ 144687 w 190819"/>
                <a:gd name="connsiteY26" fmla="*/ 153107 h 153570"/>
                <a:gd name="connsiteX27" fmla="*/ 182787 w 190819"/>
                <a:gd name="connsiteY27" fmla="*/ 153107 h 153570"/>
                <a:gd name="connsiteX28" fmla="*/ 190597 w 190819"/>
                <a:gd name="connsiteY28" fmla="*/ 147830 h 153570"/>
                <a:gd name="connsiteX29" fmla="*/ 190407 w 190819"/>
                <a:gd name="connsiteY29" fmla="*/ 144534 h 153570"/>
                <a:gd name="connsiteX30" fmla="*/ 190407 w 190819"/>
                <a:gd name="connsiteY30" fmla="*/ 86432 h 153570"/>
                <a:gd name="connsiteX31" fmla="*/ 183996 w 190819"/>
                <a:gd name="connsiteY31" fmla="*/ 76145 h 153570"/>
                <a:gd name="connsiteX32" fmla="*/ 182787 w 190819"/>
                <a:gd name="connsiteY32" fmla="*/ 75954 h 153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819" h="153570">
                  <a:moveTo>
                    <a:pt x="57057" y="86432"/>
                  </a:moveTo>
                  <a:lnTo>
                    <a:pt x="57057" y="144534"/>
                  </a:lnTo>
                  <a:cubicBezTo>
                    <a:pt x="57619" y="148706"/>
                    <a:pt x="54694" y="152544"/>
                    <a:pt x="50522" y="153107"/>
                  </a:cubicBezTo>
                  <a:cubicBezTo>
                    <a:pt x="49846" y="153202"/>
                    <a:pt x="49160" y="153202"/>
                    <a:pt x="48484" y="153107"/>
                  </a:cubicBezTo>
                  <a:lnTo>
                    <a:pt x="10384" y="153107"/>
                  </a:lnTo>
                  <a:cubicBezTo>
                    <a:pt x="5764" y="154164"/>
                    <a:pt x="1173" y="151268"/>
                    <a:pt x="116" y="146658"/>
                  </a:cubicBezTo>
                  <a:cubicBezTo>
                    <a:pt x="-36" y="145963"/>
                    <a:pt x="-112" y="145248"/>
                    <a:pt x="-93" y="144534"/>
                  </a:cubicBezTo>
                  <a:lnTo>
                    <a:pt x="-93" y="86432"/>
                  </a:lnTo>
                  <a:cubicBezTo>
                    <a:pt x="-93" y="80640"/>
                    <a:pt x="4593" y="75954"/>
                    <a:pt x="10384" y="75954"/>
                  </a:cubicBezTo>
                  <a:lnTo>
                    <a:pt x="18957" y="75954"/>
                  </a:lnTo>
                  <a:lnTo>
                    <a:pt x="18957" y="9279"/>
                  </a:lnTo>
                  <a:cubicBezTo>
                    <a:pt x="18957" y="4021"/>
                    <a:pt x="23224" y="-246"/>
                    <a:pt x="28482" y="-246"/>
                  </a:cubicBezTo>
                  <a:cubicBezTo>
                    <a:pt x="33739" y="-246"/>
                    <a:pt x="38007" y="4021"/>
                    <a:pt x="38007" y="9279"/>
                  </a:cubicBezTo>
                  <a:lnTo>
                    <a:pt x="38007" y="75954"/>
                  </a:lnTo>
                  <a:lnTo>
                    <a:pt x="48484" y="75954"/>
                  </a:lnTo>
                  <a:cubicBezTo>
                    <a:pt x="53723" y="76449"/>
                    <a:pt x="57561" y="81097"/>
                    <a:pt x="57066" y="86336"/>
                  </a:cubicBezTo>
                  <a:cubicBezTo>
                    <a:pt x="57066" y="86365"/>
                    <a:pt x="57057" y="86403"/>
                    <a:pt x="57057" y="86432"/>
                  </a:cubicBezTo>
                  <a:close/>
                  <a:moveTo>
                    <a:pt x="182787" y="75954"/>
                  </a:moveTo>
                  <a:lnTo>
                    <a:pt x="171357" y="75954"/>
                  </a:lnTo>
                  <a:lnTo>
                    <a:pt x="171357" y="9279"/>
                  </a:lnTo>
                  <a:cubicBezTo>
                    <a:pt x="171357" y="4021"/>
                    <a:pt x="167089" y="-246"/>
                    <a:pt x="161832" y="-246"/>
                  </a:cubicBezTo>
                  <a:cubicBezTo>
                    <a:pt x="156574" y="-246"/>
                    <a:pt x="152307" y="4021"/>
                    <a:pt x="152307" y="9279"/>
                  </a:cubicBezTo>
                  <a:lnTo>
                    <a:pt x="152307" y="75954"/>
                  </a:lnTo>
                  <a:lnTo>
                    <a:pt x="144687" y="75954"/>
                  </a:lnTo>
                  <a:cubicBezTo>
                    <a:pt x="138895" y="76335"/>
                    <a:pt x="134142" y="80688"/>
                    <a:pt x="133257" y="86432"/>
                  </a:cubicBezTo>
                  <a:lnTo>
                    <a:pt x="133257" y="144534"/>
                  </a:lnTo>
                  <a:cubicBezTo>
                    <a:pt x="134228" y="149954"/>
                    <a:pt x="139219" y="153697"/>
                    <a:pt x="144687" y="153107"/>
                  </a:cubicBezTo>
                  <a:lnTo>
                    <a:pt x="182787" y="153107"/>
                  </a:lnTo>
                  <a:cubicBezTo>
                    <a:pt x="186406" y="153811"/>
                    <a:pt x="189902" y="151440"/>
                    <a:pt x="190597" y="147830"/>
                  </a:cubicBezTo>
                  <a:cubicBezTo>
                    <a:pt x="190816" y="146734"/>
                    <a:pt x="190750" y="145601"/>
                    <a:pt x="190407" y="144534"/>
                  </a:cubicBezTo>
                  <a:lnTo>
                    <a:pt x="190407" y="86432"/>
                  </a:lnTo>
                  <a:cubicBezTo>
                    <a:pt x="191473" y="81821"/>
                    <a:pt x="188606" y="77211"/>
                    <a:pt x="183996" y="76145"/>
                  </a:cubicBezTo>
                  <a:cubicBezTo>
                    <a:pt x="183596" y="76049"/>
                    <a:pt x="183196" y="75992"/>
                    <a:pt x="182787" y="7595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grpSp>
        <p:nvGrpSpPr>
          <p:cNvPr id="114" name="Group 113">
            <a:extLst>
              <a:ext uri="{FF2B5EF4-FFF2-40B4-BE49-F238E27FC236}">
                <a16:creationId xmlns:a16="http://schemas.microsoft.com/office/drawing/2014/main" id="{05A6F5F2-1C5A-419D-83C4-3D1997A1149A}"/>
              </a:ext>
            </a:extLst>
          </p:cNvPr>
          <p:cNvGrpSpPr/>
          <p:nvPr/>
        </p:nvGrpSpPr>
        <p:grpSpPr>
          <a:xfrm>
            <a:off x="4566399" y="4219497"/>
            <a:ext cx="299084" cy="495299"/>
            <a:chOff x="4424362" y="2324100"/>
            <a:chExt cx="299084" cy="495299"/>
          </a:xfrm>
          <a:solidFill>
            <a:schemeClr val="accent2"/>
          </a:solidFill>
        </p:grpSpPr>
        <p:sp>
          <p:nvSpPr>
            <p:cNvPr id="115" name="Freeform: Shape 114">
              <a:extLst>
                <a:ext uri="{FF2B5EF4-FFF2-40B4-BE49-F238E27FC236}">
                  <a16:creationId xmlns:a16="http://schemas.microsoft.com/office/drawing/2014/main" id="{3DB50AD3-6BEB-4902-874A-E70731DAA4A0}"/>
                </a:ext>
              </a:extLst>
            </p:cNvPr>
            <p:cNvSpPr/>
            <p:nvPr/>
          </p:nvSpPr>
          <p:spPr>
            <a:xfrm>
              <a:off x="4497704" y="2514600"/>
              <a:ext cx="152400" cy="247650"/>
            </a:xfrm>
            <a:custGeom>
              <a:avLst/>
              <a:gdLst>
                <a:gd name="connsiteX0" fmla="*/ 152304 w 152400"/>
                <a:gd name="connsiteY0" fmla="*/ 47379 h 247650"/>
                <a:gd name="connsiteX1" fmla="*/ 142779 w 152400"/>
                <a:gd name="connsiteY1" fmla="*/ 56904 h 247650"/>
                <a:gd name="connsiteX2" fmla="*/ 9429 w 152400"/>
                <a:gd name="connsiteY2" fmla="*/ 56904 h 247650"/>
                <a:gd name="connsiteX3" fmla="*/ -96 w 152400"/>
                <a:gd name="connsiteY3" fmla="*/ 47379 h 247650"/>
                <a:gd name="connsiteX4" fmla="*/ -96 w 152400"/>
                <a:gd name="connsiteY4" fmla="*/ 9279 h 247650"/>
                <a:gd name="connsiteX5" fmla="*/ 9429 w 152400"/>
                <a:gd name="connsiteY5" fmla="*/ -246 h 247650"/>
                <a:gd name="connsiteX6" fmla="*/ 142779 w 152400"/>
                <a:gd name="connsiteY6" fmla="*/ -246 h 247650"/>
                <a:gd name="connsiteX7" fmla="*/ 152304 w 152400"/>
                <a:gd name="connsiteY7" fmla="*/ 9279 h 247650"/>
                <a:gd name="connsiteX8" fmla="*/ 152304 w 152400"/>
                <a:gd name="connsiteY8" fmla="*/ 47379 h 247650"/>
                <a:gd name="connsiteX9" fmla="*/ 57054 w 152400"/>
                <a:gd name="connsiteY9" fmla="*/ 104529 h 247650"/>
                <a:gd name="connsiteX10" fmla="*/ 47529 w 152400"/>
                <a:gd name="connsiteY10" fmla="*/ 95004 h 247650"/>
                <a:gd name="connsiteX11" fmla="*/ 9429 w 152400"/>
                <a:gd name="connsiteY11" fmla="*/ 95004 h 247650"/>
                <a:gd name="connsiteX12" fmla="*/ -96 w 152400"/>
                <a:gd name="connsiteY12" fmla="*/ 104529 h 247650"/>
                <a:gd name="connsiteX13" fmla="*/ -96 w 152400"/>
                <a:gd name="connsiteY13" fmla="*/ 142629 h 247650"/>
                <a:gd name="connsiteX14" fmla="*/ 9429 w 152400"/>
                <a:gd name="connsiteY14" fmla="*/ 152154 h 247650"/>
                <a:gd name="connsiteX15" fmla="*/ 47529 w 152400"/>
                <a:gd name="connsiteY15" fmla="*/ 152154 h 247650"/>
                <a:gd name="connsiteX16" fmla="*/ 57054 w 152400"/>
                <a:gd name="connsiteY16" fmla="*/ 142629 h 247650"/>
                <a:gd name="connsiteX17" fmla="*/ 57054 w 152400"/>
                <a:gd name="connsiteY17" fmla="*/ 104529 h 247650"/>
                <a:gd name="connsiteX18" fmla="*/ 57054 w 152400"/>
                <a:gd name="connsiteY18" fmla="*/ 199779 h 247650"/>
                <a:gd name="connsiteX19" fmla="*/ 47529 w 152400"/>
                <a:gd name="connsiteY19" fmla="*/ 190254 h 247650"/>
                <a:gd name="connsiteX20" fmla="*/ 9429 w 152400"/>
                <a:gd name="connsiteY20" fmla="*/ 190254 h 247650"/>
                <a:gd name="connsiteX21" fmla="*/ -96 w 152400"/>
                <a:gd name="connsiteY21" fmla="*/ 199779 h 247650"/>
                <a:gd name="connsiteX22" fmla="*/ -96 w 152400"/>
                <a:gd name="connsiteY22" fmla="*/ 237879 h 247650"/>
                <a:gd name="connsiteX23" fmla="*/ 9429 w 152400"/>
                <a:gd name="connsiteY23" fmla="*/ 247404 h 247650"/>
                <a:gd name="connsiteX24" fmla="*/ 47529 w 152400"/>
                <a:gd name="connsiteY24" fmla="*/ 247404 h 247650"/>
                <a:gd name="connsiteX25" fmla="*/ 57054 w 152400"/>
                <a:gd name="connsiteY25" fmla="*/ 237879 h 247650"/>
                <a:gd name="connsiteX26" fmla="*/ 57054 w 152400"/>
                <a:gd name="connsiteY26" fmla="*/ 199779 h 247650"/>
                <a:gd name="connsiteX27" fmla="*/ 152304 w 152400"/>
                <a:gd name="connsiteY27" fmla="*/ 104529 h 247650"/>
                <a:gd name="connsiteX28" fmla="*/ 142779 w 152400"/>
                <a:gd name="connsiteY28" fmla="*/ 95004 h 247650"/>
                <a:gd name="connsiteX29" fmla="*/ 104679 w 152400"/>
                <a:gd name="connsiteY29" fmla="*/ 95004 h 247650"/>
                <a:gd name="connsiteX30" fmla="*/ 95154 w 152400"/>
                <a:gd name="connsiteY30" fmla="*/ 104529 h 247650"/>
                <a:gd name="connsiteX31" fmla="*/ 95154 w 152400"/>
                <a:gd name="connsiteY31" fmla="*/ 237879 h 247650"/>
                <a:gd name="connsiteX32" fmla="*/ 104679 w 152400"/>
                <a:gd name="connsiteY32" fmla="*/ 247404 h 247650"/>
                <a:gd name="connsiteX33" fmla="*/ 142779 w 152400"/>
                <a:gd name="connsiteY33" fmla="*/ 247404 h 247650"/>
                <a:gd name="connsiteX34" fmla="*/ 152304 w 152400"/>
                <a:gd name="connsiteY34" fmla="*/ 237879 h 247650"/>
                <a:gd name="connsiteX35" fmla="*/ 152304 w 152400"/>
                <a:gd name="connsiteY35" fmla="*/ 104529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52400" h="247650">
                  <a:moveTo>
                    <a:pt x="152304" y="47379"/>
                  </a:moveTo>
                  <a:cubicBezTo>
                    <a:pt x="152304" y="52637"/>
                    <a:pt x="148037" y="56904"/>
                    <a:pt x="142779" y="56904"/>
                  </a:cubicBezTo>
                  <a:lnTo>
                    <a:pt x="9429" y="56904"/>
                  </a:lnTo>
                  <a:cubicBezTo>
                    <a:pt x="4171" y="56904"/>
                    <a:pt x="-96" y="52637"/>
                    <a:pt x="-96" y="47379"/>
                  </a:cubicBezTo>
                  <a:lnTo>
                    <a:pt x="-96" y="9279"/>
                  </a:lnTo>
                  <a:cubicBezTo>
                    <a:pt x="-96" y="4021"/>
                    <a:pt x="4171" y="-246"/>
                    <a:pt x="9429" y="-246"/>
                  </a:cubicBezTo>
                  <a:lnTo>
                    <a:pt x="142779" y="-246"/>
                  </a:lnTo>
                  <a:cubicBezTo>
                    <a:pt x="148037" y="-246"/>
                    <a:pt x="152304" y="4021"/>
                    <a:pt x="152304" y="9279"/>
                  </a:cubicBezTo>
                  <a:lnTo>
                    <a:pt x="152304" y="47379"/>
                  </a:lnTo>
                  <a:close/>
                  <a:moveTo>
                    <a:pt x="57054" y="104529"/>
                  </a:moveTo>
                  <a:cubicBezTo>
                    <a:pt x="57054" y="99271"/>
                    <a:pt x="52787" y="95004"/>
                    <a:pt x="47529" y="95004"/>
                  </a:cubicBezTo>
                  <a:lnTo>
                    <a:pt x="9429" y="95004"/>
                  </a:lnTo>
                  <a:cubicBezTo>
                    <a:pt x="4171" y="95004"/>
                    <a:pt x="-96" y="99271"/>
                    <a:pt x="-96" y="104529"/>
                  </a:cubicBezTo>
                  <a:lnTo>
                    <a:pt x="-96" y="142629"/>
                  </a:lnTo>
                  <a:cubicBezTo>
                    <a:pt x="-96" y="147887"/>
                    <a:pt x="4171" y="152154"/>
                    <a:pt x="9429" y="152154"/>
                  </a:cubicBezTo>
                  <a:lnTo>
                    <a:pt x="47529" y="152154"/>
                  </a:lnTo>
                  <a:cubicBezTo>
                    <a:pt x="52787" y="152154"/>
                    <a:pt x="57054" y="147887"/>
                    <a:pt x="57054" y="142629"/>
                  </a:cubicBezTo>
                  <a:lnTo>
                    <a:pt x="57054" y="104529"/>
                  </a:lnTo>
                  <a:close/>
                  <a:moveTo>
                    <a:pt x="57054" y="199779"/>
                  </a:moveTo>
                  <a:cubicBezTo>
                    <a:pt x="57054" y="194521"/>
                    <a:pt x="52787" y="190254"/>
                    <a:pt x="47529" y="190254"/>
                  </a:cubicBezTo>
                  <a:lnTo>
                    <a:pt x="9429" y="190254"/>
                  </a:lnTo>
                  <a:cubicBezTo>
                    <a:pt x="4171" y="190254"/>
                    <a:pt x="-96" y="194521"/>
                    <a:pt x="-96" y="199779"/>
                  </a:cubicBezTo>
                  <a:lnTo>
                    <a:pt x="-96" y="237879"/>
                  </a:lnTo>
                  <a:cubicBezTo>
                    <a:pt x="-96" y="243137"/>
                    <a:pt x="4171" y="247404"/>
                    <a:pt x="9429" y="247404"/>
                  </a:cubicBezTo>
                  <a:lnTo>
                    <a:pt x="47529" y="247404"/>
                  </a:lnTo>
                  <a:cubicBezTo>
                    <a:pt x="52787" y="247404"/>
                    <a:pt x="57054" y="243137"/>
                    <a:pt x="57054" y="237879"/>
                  </a:cubicBezTo>
                  <a:lnTo>
                    <a:pt x="57054" y="199779"/>
                  </a:lnTo>
                  <a:close/>
                  <a:moveTo>
                    <a:pt x="152304" y="104529"/>
                  </a:moveTo>
                  <a:cubicBezTo>
                    <a:pt x="152304" y="99271"/>
                    <a:pt x="148037" y="95004"/>
                    <a:pt x="142779" y="95004"/>
                  </a:cubicBezTo>
                  <a:lnTo>
                    <a:pt x="104679" y="95004"/>
                  </a:lnTo>
                  <a:cubicBezTo>
                    <a:pt x="99421" y="95004"/>
                    <a:pt x="95154" y="99271"/>
                    <a:pt x="95154" y="104529"/>
                  </a:cubicBezTo>
                  <a:lnTo>
                    <a:pt x="95154" y="237879"/>
                  </a:lnTo>
                  <a:cubicBezTo>
                    <a:pt x="95154" y="243137"/>
                    <a:pt x="99421" y="247404"/>
                    <a:pt x="104679" y="247404"/>
                  </a:cubicBezTo>
                  <a:lnTo>
                    <a:pt x="142779" y="247404"/>
                  </a:lnTo>
                  <a:cubicBezTo>
                    <a:pt x="148037" y="247404"/>
                    <a:pt x="152304" y="243137"/>
                    <a:pt x="152304" y="237879"/>
                  </a:cubicBezTo>
                  <a:lnTo>
                    <a:pt x="152304" y="104529"/>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6" name="Freeform: Shape 115">
              <a:extLst>
                <a:ext uri="{FF2B5EF4-FFF2-40B4-BE49-F238E27FC236}">
                  <a16:creationId xmlns:a16="http://schemas.microsoft.com/office/drawing/2014/main" id="{AAF76D95-93D1-479C-80F0-0FE29CD89516}"/>
                </a:ext>
              </a:extLst>
            </p:cNvPr>
            <p:cNvSpPr/>
            <p:nvPr/>
          </p:nvSpPr>
          <p:spPr>
            <a:xfrm>
              <a:off x="4424362" y="2425065"/>
              <a:ext cx="299084" cy="394334"/>
            </a:xfrm>
            <a:custGeom>
              <a:avLst/>
              <a:gdLst>
                <a:gd name="connsiteX0" fmla="*/ 298989 w 299084"/>
                <a:gd name="connsiteY0" fmla="*/ 394089 h 394334"/>
                <a:gd name="connsiteX1" fmla="*/ -96 w 299084"/>
                <a:gd name="connsiteY1" fmla="*/ 394089 h 394334"/>
                <a:gd name="connsiteX2" fmla="*/ -96 w 299084"/>
                <a:gd name="connsiteY2" fmla="*/ -246 h 394334"/>
                <a:gd name="connsiteX3" fmla="*/ 298036 w 299084"/>
                <a:gd name="connsiteY3" fmla="*/ -246 h 394334"/>
                <a:gd name="connsiteX4" fmla="*/ 298036 w 299084"/>
                <a:gd name="connsiteY4" fmla="*/ 394089 h 394334"/>
                <a:gd name="connsiteX5" fmla="*/ 29431 w 299084"/>
                <a:gd name="connsiteY5" fmla="*/ 365514 h 394334"/>
                <a:gd name="connsiteX6" fmla="*/ 269461 w 299084"/>
                <a:gd name="connsiteY6" fmla="*/ 365514 h 394334"/>
                <a:gd name="connsiteX7" fmla="*/ 269461 w 299084"/>
                <a:gd name="connsiteY7" fmla="*/ 28329 h 394334"/>
                <a:gd name="connsiteX8" fmla="*/ 29431 w 299084"/>
                <a:gd name="connsiteY8" fmla="*/ 28329 h 394334"/>
                <a:gd name="connsiteX9" fmla="*/ 29431 w 299084"/>
                <a:gd name="connsiteY9" fmla="*/ 365514 h 39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9084" h="394334">
                  <a:moveTo>
                    <a:pt x="298989" y="394089"/>
                  </a:moveTo>
                  <a:lnTo>
                    <a:pt x="-96" y="394089"/>
                  </a:lnTo>
                  <a:lnTo>
                    <a:pt x="-96" y="-246"/>
                  </a:lnTo>
                  <a:lnTo>
                    <a:pt x="298036" y="-246"/>
                  </a:lnTo>
                  <a:lnTo>
                    <a:pt x="298036" y="394089"/>
                  </a:lnTo>
                  <a:close/>
                  <a:moveTo>
                    <a:pt x="29431" y="365514"/>
                  </a:moveTo>
                  <a:lnTo>
                    <a:pt x="269461" y="365514"/>
                  </a:lnTo>
                  <a:lnTo>
                    <a:pt x="269461" y="28329"/>
                  </a:lnTo>
                  <a:lnTo>
                    <a:pt x="29431" y="28329"/>
                  </a:lnTo>
                  <a:lnTo>
                    <a:pt x="29431" y="365514"/>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7" name="Freeform: Shape 116">
              <a:extLst>
                <a:ext uri="{FF2B5EF4-FFF2-40B4-BE49-F238E27FC236}">
                  <a16:creationId xmlns:a16="http://schemas.microsoft.com/office/drawing/2014/main" id="{E2ED6701-9CD4-45BB-AFFD-F53AE4711DA3}"/>
                </a:ext>
              </a:extLst>
            </p:cNvPr>
            <p:cNvSpPr/>
            <p:nvPr/>
          </p:nvSpPr>
          <p:spPr>
            <a:xfrm>
              <a:off x="4478651" y="2324100"/>
              <a:ext cx="190819" cy="153570"/>
            </a:xfrm>
            <a:custGeom>
              <a:avLst/>
              <a:gdLst>
                <a:gd name="connsiteX0" fmla="*/ 57057 w 190819"/>
                <a:gd name="connsiteY0" fmla="*/ 86432 h 153570"/>
                <a:gd name="connsiteX1" fmla="*/ 57057 w 190819"/>
                <a:gd name="connsiteY1" fmla="*/ 144534 h 153570"/>
                <a:gd name="connsiteX2" fmla="*/ 50522 w 190819"/>
                <a:gd name="connsiteY2" fmla="*/ 153107 h 153570"/>
                <a:gd name="connsiteX3" fmla="*/ 48484 w 190819"/>
                <a:gd name="connsiteY3" fmla="*/ 153107 h 153570"/>
                <a:gd name="connsiteX4" fmla="*/ 10384 w 190819"/>
                <a:gd name="connsiteY4" fmla="*/ 153107 h 153570"/>
                <a:gd name="connsiteX5" fmla="*/ 116 w 190819"/>
                <a:gd name="connsiteY5" fmla="*/ 146658 h 153570"/>
                <a:gd name="connsiteX6" fmla="*/ -93 w 190819"/>
                <a:gd name="connsiteY6" fmla="*/ 144534 h 153570"/>
                <a:gd name="connsiteX7" fmla="*/ -93 w 190819"/>
                <a:gd name="connsiteY7" fmla="*/ 86432 h 153570"/>
                <a:gd name="connsiteX8" fmla="*/ 10384 w 190819"/>
                <a:gd name="connsiteY8" fmla="*/ 75954 h 153570"/>
                <a:gd name="connsiteX9" fmla="*/ 18957 w 190819"/>
                <a:gd name="connsiteY9" fmla="*/ 75954 h 153570"/>
                <a:gd name="connsiteX10" fmla="*/ 18957 w 190819"/>
                <a:gd name="connsiteY10" fmla="*/ 9279 h 153570"/>
                <a:gd name="connsiteX11" fmla="*/ 28482 w 190819"/>
                <a:gd name="connsiteY11" fmla="*/ -246 h 153570"/>
                <a:gd name="connsiteX12" fmla="*/ 38007 w 190819"/>
                <a:gd name="connsiteY12" fmla="*/ 9279 h 153570"/>
                <a:gd name="connsiteX13" fmla="*/ 38007 w 190819"/>
                <a:gd name="connsiteY13" fmla="*/ 75954 h 153570"/>
                <a:gd name="connsiteX14" fmla="*/ 48484 w 190819"/>
                <a:gd name="connsiteY14" fmla="*/ 75954 h 153570"/>
                <a:gd name="connsiteX15" fmla="*/ 57066 w 190819"/>
                <a:gd name="connsiteY15" fmla="*/ 86336 h 153570"/>
                <a:gd name="connsiteX16" fmla="*/ 57057 w 190819"/>
                <a:gd name="connsiteY16" fmla="*/ 86432 h 153570"/>
                <a:gd name="connsiteX17" fmla="*/ 182787 w 190819"/>
                <a:gd name="connsiteY17" fmla="*/ 75954 h 153570"/>
                <a:gd name="connsiteX18" fmla="*/ 171357 w 190819"/>
                <a:gd name="connsiteY18" fmla="*/ 75954 h 153570"/>
                <a:gd name="connsiteX19" fmla="*/ 171357 w 190819"/>
                <a:gd name="connsiteY19" fmla="*/ 9279 h 153570"/>
                <a:gd name="connsiteX20" fmla="*/ 161832 w 190819"/>
                <a:gd name="connsiteY20" fmla="*/ -246 h 153570"/>
                <a:gd name="connsiteX21" fmla="*/ 152307 w 190819"/>
                <a:gd name="connsiteY21" fmla="*/ 9279 h 153570"/>
                <a:gd name="connsiteX22" fmla="*/ 152307 w 190819"/>
                <a:gd name="connsiteY22" fmla="*/ 75954 h 153570"/>
                <a:gd name="connsiteX23" fmla="*/ 144687 w 190819"/>
                <a:gd name="connsiteY23" fmla="*/ 75954 h 153570"/>
                <a:gd name="connsiteX24" fmla="*/ 133257 w 190819"/>
                <a:gd name="connsiteY24" fmla="*/ 86432 h 153570"/>
                <a:gd name="connsiteX25" fmla="*/ 133257 w 190819"/>
                <a:gd name="connsiteY25" fmla="*/ 144534 h 153570"/>
                <a:gd name="connsiteX26" fmla="*/ 144687 w 190819"/>
                <a:gd name="connsiteY26" fmla="*/ 153107 h 153570"/>
                <a:gd name="connsiteX27" fmla="*/ 182787 w 190819"/>
                <a:gd name="connsiteY27" fmla="*/ 153107 h 153570"/>
                <a:gd name="connsiteX28" fmla="*/ 190597 w 190819"/>
                <a:gd name="connsiteY28" fmla="*/ 147830 h 153570"/>
                <a:gd name="connsiteX29" fmla="*/ 190407 w 190819"/>
                <a:gd name="connsiteY29" fmla="*/ 144534 h 153570"/>
                <a:gd name="connsiteX30" fmla="*/ 190407 w 190819"/>
                <a:gd name="connsiteY30" fmla="*/ 86432 h 153570"/>
                <a:gd name="connsiteX31" fmla="*/ 183996 w 190819"/>
                <a:gd name="connsiteY31" fmla="*/ 76145 h 153570"/>
                <a:gd name="connsiteX32" fmla="*/ 182787 w 190819"/>
                <a:gd name="connsiteY32" fmla="*/ 75954 h 153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0819" h="153570">
                  <a:moveTo>
                    <a:pt x="57057" y="86432"/>
                  </a:moveTo>
                  <a:lnTo>
                    <a:pt x="57057" y="144534"/>
                  </a:lnTo>
                  <a:cubicBezTo>
                    <a:pt x="57619" y="148706"/>
                    <a:pt x="54694" y="152544"/>
                    <a:pt x="50522" y="153107"/>
                  </a:cubicBezTo>
                  <a:cubicBezTo>
                    <a:pt x="49846" y="153202"/>
                    <a:pt x="49160" y="153202"/>
                    <a:pt x="48484" y="153107"/>
                  </a:cubicBezTo>
                  <a:lnTo>
                    <a:pt x="10384" y="153107"/>
                  </a:lnTo>
                  <a:cubicBezTo>
                    <a:pt x="5764" y="154164"/>
                    <a:pt x="1173" y="151268"/>
                    <a:pt x="116" y="146658"/>
                  </a:cubicBezTo>
                  <a:cubicBezTo>
                    <a:pt x="-36" y="145963"/>
                    <a:pt x="-112" y="145248"/>
                    <a:pt x="-93" y="144534"/>
                  </a:cubicBezTo>
                  <a:lnTo>
                    <a:pt x="-93" y="86432"/>
                  </a:lnTo>
                  <a:cubicBezTo>
                    <a:pt x="-93" y="80640"/>
                    <a:pt x="4593" y="75954"/>
                    <a:pt x="10384" y="75954"/>
                  </a:cubicBezTo>
                  <a:lnTo>
                    <a:pt x="18957" y="75954"/>
                  </a:lnTo>
                  <a:lnTo>
                    <a:pt x="18957" y="9279"/>
                  </a:lnTo>
                  <a:cubicBezTo>
                    <a:pt x="18957" y="4021"/>
                    <a:pt x="23224" y="-246"/>
                    <a:pt x="28482" y="-246"/>
                  </a:cubicBezTo>
                  <a:cubicBezTo>
                    <a:pt x="33739" y="-246"/>
                    <a:pt x="38007" y="4021"/>
                    <a:pt x="38007" y="9279"/>
                  </a:cubicBezTo>
                  <a:lnTo>
                    <a:pt x="38007" y="75954"/>
                  </a:lnTo>
                  <a:lnTo>
                    <a:pt x="48484" y="75954"/>
                  </a:lnTo>
                  <a:cubicBezTo>
                    <a:pt x="53723" y="76449"/>
                    <a:pt x="57561" y="81097"/>
                    <a:pt x="57066" y="86336"/>
                  </a:cubicBezTo>
                  <a:cubicBezTo>
                    <a:pt x="57066" y="86365"/>
                    <a:pt x="57057" y="86403"/>
                    <a:pt x="57057" y="86432"/>
                  </a:cubicBezTo>
                  <a:close/>
                  <a:moveTo>
                    <a:pt x="182787" y="75954"/>
                  </a:moveTo>
                  <a:lnTo>
                    <a:pt x="171357" y="75954"/>
                  </a:lnTo>
                  <a:lnTo>
                    <a:pt x="171357" y="9279"/>
                  </a:lnTo>
                  <a:cubicBezTo>
                    <a:pt x="171357" y="4021"/>
                    <a:pt x="167089" y="-246"/>
                    <a:pt x="161832" y="-246"/>
                  </a:cubicBezTo>
                  <a:cubicBezTo>
                    <a:pt x="156574" y="-246"/>
                    <a:pt x="152307" y="4021"/>
                    <a:pt x="152307" y="9279"/>
                  </a:cubicBezTo>
                  <a:lnTo>
                    <a:pt x="152307" y="75954"/>
                  </a:lnTo>
                  <a:lnTo>
                    <a:pt x="144687" y="75954"/>
                  </a:lnTo>
                  <a:cubicBezTo>
                    <a:pt x="138895" y="76335"/>
                    <a:pt x="134142" y="80688"/>
                    <a:pt x="133257" y="86432"/>
                  </a:cubicBezTo>
                  <a:lnTo>
                    <a:pt x="133257" y="144534"/>
                  </a:lnTo>
                  <a:cubicBezTo>
                    <a:pt x="134228" y="149954"/>
                    <a:pt x="139219" y="153697"/>
                    <a:pt x="144687" y="153107"/>
                  </a:cubicBezTo>
                  <a:lnTo>
                    <a:pt x="182787" y="153107"/>
                  </a:lnTo>
                  <a:cubicBezTo>
                    <a:pt x="186406" y="153811"/>
                    <a:pt x="189902" y="151440"/>
                    <a:pt x="190597" y="147830"/>
                  </a:cubicBezTo>
                  <a:cubicBezTo>
                    <a:pt x="190816" y="146734"/>
                    <a:pt x="190750" y="145601"/>
                    <a:pt x="190407" y="144534"/>
                  </a:cubicBezTo>
                  <a:lnTo>
                    <a:pt x="190407" y="86432"/>
                  </a:lnTo>
                  <a:cubicBezTo>
                    <a:pt x="191473" y="81821"/>
                    <a:pt x="188606" y="77211"/>
                    <a:pt x="183996" y="76145"/>
                  </a:cubicBezTo>
                  <a:cubicBezTo>
                    <a:pt x="183596" y="76049"/>
                    <a:pt x="183196" y="75992"/>
                    <a:pt x="182787" y="7595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spTree>
    <p:extLst>
      <p:ext uri="{BB962C8B-B14F-4D97-AF65-F5344CB8AC3E}">
        <p14:creationId xmlns:p14="http://schemas.microsoft.com/office/powerpoint/2010/main" val="3256276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3" name="TextBox 42">
            <a:extLst>
              <a:ext uri="{FF2B5EF4-FFF2-40B4-BE49-F238E27FC236}">
                <a16:creationId xmlns:a16="http://schemas.microsoft.com/office/drawing/2014/main" id="{0E2AC368-5E12-460C-B7CD-397B3CDACAF4}"/>
              </a:ext>
            </a:extLst>
          </p:cNvPr>
          <p:cNvSpPr txBox="1"/>
          <p:nvPr/>
        </p:nvSpPr>
        <p:spPr>
          <a:xfrm>
            <a:off x="8090194" y="1261242"/>
            <a:ext cx="452111" cy="300082"/>
          </a:xfrm>
          <a:prstGeom prst="rect">
            <a:avLst/>
          </a:prstGeom>
          <a:solidFill>
            <a:schemeClr val="accent2"/>
          </a:solid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pic>
        <p:nvPicPr>
          <p:cNvPr id="6" name="Picture 5">
            <a:extLst>
              <a:ext uri="{FF2B5EF4-FFF2-40B4-BE49-F238E27FC236}">
                <a16:creationId xmlns:a16="http://schemas.microsoft.com/office/drawing/2014/main" id="{D4CADFB8-BDBA-408E-A730-D47F1F7B1F10}"/>
              </a:ext>
            </a:extLst>
          </p:cNvPr>
          <p:cNvPicPr>
            <a:picLocks noChangeAspect="1"/>
          </p:cNvPicPr>
          <p:nvPr/>
        </p:nvPicPr>
        <p:blipFill>
          <a:blip r:embed="rId2"/>
          <a:stretch>
            <a:fillRect/>
          </a:stretch>
        </p:blipFill>
        <p:spPr>
          <a:xfrm>
            <a:off x="2381157" y="1629628"/>
            <a:ext cx="4393263" cy="1115248"/>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C7BEDF92-5B1E-47C1-8C75-96B728EA95E7}"/>
              </a:ext>
            </a:extLst>
          </p:cNvPr>
          <p:cNvPicPr>
            <a:picLocks noChangeAspect="1"/>
          </p:cNvPicPr>
          <p:nvPr/>
        </p:nvPicPr>
        <p:blipFill>
          <a:blip r:embed="rId3"/>
          <a:stretch>
            <a:fillRect/>
          </a:stretch>
        </p:blipFill>
        <p:spPr>
          <a:xfrm>
            <a:off x="2010369" y="2826498"/>
            <a:ext cx="5124368" cy="2008122"/>
          </a:xfrm>
          <a:prstGeom prst="rect">
            <a:avLst/>
          </a:prstGeom>
          <a:ln>
            <a:noFill/>
          </a:ln>
          <a:effectLst>
            <a:outerShdw blurRad="292100" dist="139700" dir="2700000" algn="tl" rotWithShape="0">
              <a:srgbClr val="333333">
                <a:alpha val="65000"/>
              </a:srgbClr>
            </a:outerShdw>
          </a:effectLst>
        </p:spPr>
      </p:pic>
      <p:grpSp>
        <p:nvGrpSpPr>
          <p:cNvPr id="44" name="Group 43">
            <a:extLst>
              <a:ext uri="{FF2B5EF4-FFF2-40B4-BE49-F238E27FC236}">
                <a16:creationId xmlns:a16="http://schemas.microsoft.com/office/drawing/2014/main" id="{3F27C138-B4BA-4A53-A8CB-10498AAB121C}"/>
              </a:ext>
            </a:extLst>
          </p:cNvPr>
          <p:cNvGrpSpPr/>
          <p:nvPr/>
        </p:nvGrpSpPr>
        <p:grpSpPr>
          <a:xfrm>
            <a:off x="249703" y="653734"/>
            <a:ext cx="8295995" cy="907590"/>
            <a:chOff x="249703" y="653734"/>
            <a:chExt cx="8295995" cy="907590"/>
          </a:xfrm>
        </p:grpSpPr>
        <p:sp>
          <p:nvSpPr>
            <p:cNvPr id="45" name="TextBox 44">
              <a:extLst>
                <a:ext uri="{FF2B5EF4-FFF2-40B4-BE49-F238E27FC236}">
                  <a16:creationId xmlns:a16="http://schemas.microsoft.com/office/drawing/2014/main" id="{233C437D-D52D-4B4B-8A4E-2CE15D721FDC}"/>
                </a:ext>
              </a:extLst>
            </p:cNvPr>
            <p:cNvSpPr txBox="1"/>
            <p:nvPr/>
          </p:nvSpPr>
          <p:spPr>
            <a:xfrm>
              <a:off x="24970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Feb</a:t>
              </a:r>
            </a:p>
          </p:txBody>
        </p:sp>
        <p:cxnSp>
          <p:nvCxnSpPr>
            <p:cNvPr id="46" name="Straight Connector 45">
              <a:extLst>
                <a:ext uri="{FF2B5EF4-FFF2-40B4-BE49-F238E27FC236}">
                  <a16:creationId xmlns:a16="http://schemas.microsoft.com/office/drawing/2014/main" id="{DF9CE38C-1BB0-438E-A4AB-A313DDBE80C5}"/>
                </a:ext>
              </a:extLst>
            </p:cNvPr>
            <p:cNvCxnSpPr>
              <a:cxnSpLocks/>
            </p:cNvCxnSpPr>
            <p:nvPr/>
          </p:nvCxnSpPr>
          <p:spPr>
            <a:xfrm>
              <a:off x="47408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98C14B49-AA57-44BE-9DD9-469DA65A108F}"/>
                </a:ext>
              </a:extLst>
            </p:cNvPr>
            <p:cNvCxnSpPr>
              <a:cxnSpLocks/>
            </p:cNvCxnSpPr>
            <p:nvPr/>
          </p:nvCxnSpPr>
          <p:spPr>
            <a:xfrm>
              <a:off x="832006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147E841A-93D3-4266-AE42-B0E5FE4DA2CA}"/>
                </a:ext>
              </a:extLst>
            </p:cNvPr>
            <p:cNvCxnSpPr>
              <a:cxnSpLocks/>
            </p:cNvCxnSpPr>
            <p:nvPr/>
          </p:nvCxnSpPr>
          <p:spPr>
            <a:xfrm>
              <a:off x="1127919"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2A43C8FB-B64A-4717-8B54-9FE207D54C47}"/>
                </a:ext>
              </a:extLst>
            </p:cNvPr>
            <p:cNvCxnSpPr>
              <a:cxnSpLocks/>
            </p:cNvCxnSpPr>
            <p:nvPr/>
          </p:nvCxnSpPr>
          <p:spPr>
            <a:xfrm>
              <a:off x="1781750"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0E9ECAAC-94AF-4E1E-8DC2-93B0A3E6ABF0}"/>
                </a:ext>
              </a:extLst>
            </p:cNvPr>
            <p:cNvCxnSpPr>
              <a:cxnSpLocks/>
            </p:cNvCxnSpPr>
            <p:nvPr/>
          </p:nvCxnSpPr>
          <p:spPr>
            <a:xfrm>
              <a:off x="2435581"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14D024DF-5760-4B0B-8EF3-07E91C9B988F}"/>
                </a:ext>
              </a:extLst>
            </p:cNvPr>
            <p:cNvCxnSpPr>
              <a:cxnSpLocks/>
            </p:cNvCxnSpPr>
            <p:nvPr/>
          </p:nvCxnSpPr>
          <p:spPr>
            <a:xfrm>
              <a:off x="3089412"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D0EC53CF-A6B1-4FAA-AFD4-95A8F4B8D6E4}"/>
                </a:ext>
              </a:extLst>
            </p:cNvPr>
            <p:cNvCxnSpPr>
              <a:cxnSpLocks/>
            </p:cNvCxnSpPr>
            <p:nvPr/>
          </p:nvCxnSpPr>
          <p:spPr>
            <a:xfrm>
              <a:off x="3743243"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31E78EB6-742B-4197-ABDB-6A6292B66285}"/>
                </a:ext>
              </a:extLst>
            </p:cNvPr>
            <p:cNvCxnSpPr>
              <a:cxnSpLocks/>
            </p:cNvCxnSpPr>
            <p:nvPr/>
          </p:nvCxnSpPr>
          <p:spPr>
            <a:xfrm>
              <a:off x="4397074"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843DFC31-5AEC-465D-B910-0057DA1C6BBC}"/>
                </a:ext>
              </a:extLst>
            </p:cNvPr>
            <p:cNvCxnSpPr>
              <a:cxnSpLocks/>
            </p:cNvCxnSpPr>
            <p:nvPr/>
          </p:nvCxnSpPr>
          <p:spPr>
            <a:xfrm>
              <a:off x="5050905"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ABF14629-9241-4D55-9083-4A6A0D103D86}"/>
                </a:ext>
              </a:extLst>
            </p:cNvPr>
            <p:cNvCxnSpPr>
              <a:cxnSpLocks/>
            </p:cNvCxnSpPr>
            <p:nvPr/>
          </p:nvCxnSpPr>
          <p:spPr>
            <a:xfrm>
              <a:off x="5704736"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CC554565-5AF7-4C82-ABF3-665D47955600}"/>
                </a:ext>
              </a:extLst>
            </p:cNvPr>
            <p:cNvCxnSpPr>
              <a:cxnSpLocks/>
            </p:cNvCxnSpPr>
            <p:nvPr/>
          </p:nvCxnSpPr>
          <p:spPr>
            <a:xfrm>
              <a:off x="6358567"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61A82A77-45F9-4C9F-979A-94199E4E7235}"/>
                </a:ext>
              </a:extLst>
            </p:cNvPr>
            <p:cNvCxnSpPr>
              <a:cxnSpLocks/>
            </p:cNvCxnSpPr>
            <p:nvPr/>
          </p:nvCxnSpPr>
          <p:spPr>
            <a:xfrm>
              <a:off x="7012398" y="1001373"/>
              <a:ext cx="0" cy="252249"/>
            </a:xfrm>
            <a:prstGeom prst="line">
              <a:avLst/>
            </a:prstGeom>
            <a:ln w="19050"/>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7199DA70-972F-4D07-8CF5-BD5842529EC0}"/>
                </a:ext>
              </a:extLst>
            </p:cNvPr>
            <p:cNvCxnSpPr>
              <a:cxnSpLocks/>
            </p:cNvCxnSpPr>
            <p:nvPr/>
          </p:nvCxnSpPr>
          <p:spPr>
            <a:xfrm>
              <a:off x="7666229" y="1001373"/>
              <a:ext cx="0" cy="252249"/>
            </a:xfrm>
            <a:prstGeom prst="line">
              <a:avLst/>
            </a:prstGeom>
            <a:ln w="19050"/>
          </p:spPr>
          <p:style>
            <a:lnRef idx="1">
              <a:schemeClr val="dk1"/>
            </a:lnRef>
            <a:fillRef idx="0">
              <a:schemeClr val="dk1"/>
            </a:fillRef>
            <a:effectRef idx="0">
              <a:schemeClr val="dk1"/>
            </a:effectRef>
            <a:fontRef idx="minor">
              <a:schemeClr val="tx1"/>
            </a:fontRef>
          </p:style>
        </p:cxnSp>
        <p:sp>
          <p:nvSpPr>
            <p:cNvPr id="59" name="TextBox 58">
              <a:extLst>
                <a:ext uri="{FF2B5EF4-FFF2-40B4-BE49-F238E27FC236}">
                  <a16:creationId xmlns:a16="http://schemas.microsoft.com/office/drawing/2014/main" id="{188FE0B0-A4B7-44CB-AA08-28F3FEA5335B}"/>
                </a:ext>
              </a:extLst>
            </p:cNvPr>
            <p:cNvSpPr txBox="1"/>
            <p:nvPr/>
          </p:nvSpPr>
          <p:spPr>
            <a:xfrm>
              <a:off x="514449" y="653734"/>
              <a:ext cx="582532"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1</a:t>
              </a:r>
            </a:p>
          </p:txBody>
        </p:sp>
        <p:sp>
          <p:nvSpPr>
            <p:cNvPr id="60" name="TextBox 59">
              <a:extLst>
                <a:ext uri="{FF2B5EF4-FFF2-40B4-BE49-F238E27FC236}">
                  <a16:creationId xmlns:a16="http://schemas.microsoft.com/office/drawing/2014/main" id="{9969D0F4-4C19-4F4B-AB21-A110DDA100B8}"/>
                </a:ext>
              </a:extLst>
            </p:cNvPr>
            <p:cNvSpPr txBox="1"/>
            <p:nvPr/>
          </p:nvSpPr>
          <p:spPr>
            <a:xfrm>
              <a:off x="7685631" y="656093"/>
              <a:ext cx="588623"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ED7D31"/>
                  </a:solidFill>
                  <a:effectLst/>
                  <a:uLnTx/>
                  <a:uFillTx/>
                  <a:latin typeface="Franklin Gothic Book" panose="020B0503020102020204"/>
                  <a:ea typeface="+mn-ea"/>
                  <a:cs typeface="+mn-cs"/>
                </a:rPr>
                <a:t>2022</a:t>
              </a:r>
            </a:p>
          </p:txBody>
        </p:sp>
        <p:sp>
          <p:nvSpPr>
            <p:cNvPr id="61" name="TextBox 60">
              <a:extLst>
                <a:ext uri="{FF2B5EF4-FFF2-40B4-BE49-F238E27FC236}">
                  <a16:creationId xmlns:a16="http://schemas.microsoft.com/office/drawing/2014/main" id="{B9E928AD-AF7F-4304-888D-936A656E08D4}"/>
                </a:ext>
              </a:extLst>
            </p:cNvPr>
            <p:cNvSpPr txBox="1"/>
            <p:nvPr/>
          </p:nvSpPr>
          <p:spPr>
            <a:xfrm>
              <a:off x="90323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r</a:t>
              </a:r>
            </a:p>
          </p:txBody>
        </p:sp>
        <p:sp>
          <p:nvSpPr>
            <p:cNvPr id="62" name="TextBox 61">
              <a:extLst>
                <a:ext uri="{FF2B5EF4-FFF2-40B4-BE49-F238E27FC236}">
                  <a16:creationId xmlns:a16="http://schemas.microsoft.com/office/drawing/2014/main" id="{62B30040-BAC2-454C-B2CF-AA8E6C239D92}"/>
                </a:ext>
              </a:extLst>
            </p:cNvPr>
            <p:cNvSpPr txBox="1"/>
            <p:nvPr/>
          </p:nvSpPr>
          <p:spPr>
            <a:xfrm>
              <a:off x="1556769"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pr</a:t>
              </a:r>
            </a:p>
          </p:txBody>
        </p:sp>
        <p:sp>
          <p:nvSpPr>
            <p:cNvPr id="63" name="TextBox 62">
              <a:extLst>
                <a:ext uri="{FF2B5EF4-FFF2-40B4-BE49-F238E27FC236}">
                  <a16:creationId xmlns:a16="http://schemas.microsoft.com/office/drawing/2014/main" id="{87D55638-F8CF-4D51-93F9-3C8C09616689}"/>
                </a:ext>
              </a:extLst>
            </p:cNvPr>
            <p:cNvSpPr txBox="1"/>
            <p:nvPr/>
          </p:nvSpPr>
          <p:spPr>
            <a:xfrm>
              <a:off x="2210302"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May</a:t>
              </a:r>
            </a:p>
          </p:txBody>
        </p:sp>
        <p:sp>
          <p:nvSpPr>
            <p:cNvPr id="64" name="TextBox 63">
              <a:extLst>
                <a:ext uri="{FF2B5EF4-FFF2-40B4-BE49-F238E27FC236}">
                  <a16:creationId xmlns:a16="http://schemas.microsoft.com/office/drawing/2014/main" id="{B3C99030-6AE0-4D30-B0B5-A9F8A1B5F55D}"/>
                </a:ext>
              </a:extLst>
            </p:cNvPr>
            <p:cNvSpPr txBox="1"/>
            <p:nvPr/>
          </p:nvSpPr>
          <p:spPr>
            <a:xfrm>
              <a:off x="2863835"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n</a:t>
              </a:r>
            </a:p>
          </p:txBody>
        </p:sp>
        <p:sp>
          <p:nvSpPr>
            <p:cNvPr id="65" name="TextBox 64">
              <a:extLst>
                <a:ext uri="{FF2B5EF4-FFF2-40B4-BE49-F238E27FC236}">
                  <a16:creationId xmlns:a16="http://schemas.microsoft.com/office/drawing/2014/main" id="{0DA80851-D87F-450D-A567-8E0C1446F1ED}"/>
                </a:ext>
              </a:extLst>
            </p:cNvPr>
            <p:cNvSpPr txBox="1"/>
            <p:nvPr/>
          </p:nvSpPr>
          <p:spPr>
            <a:xfrm>
              <a:off x="351736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ul</a:t>
              </a:r>
            </a:p>
          </p:txBody>
        </p:sp>
        <p:sp>
          <p:nvSpPr>
            <p:cNvPr id="66" name="TextBox 65">
              <a:extLst>
                <a:ext uri="{FF2B5EF4-FFF2-40B4-BE49-F238E27FC236}">
                  <a16:creationId xmlns:a16="http://schemas.microsoft.com/office/drawing/2014/main" id="{18B23C3F-580C-487C-9B25-00DCC95FD5E0}"/>
                </a:ext>
              </a:extLst>
            </p:cNvPr>
            <p:cNvSpPr txBox="1"/>
            <p:nvPr/>
          </p:nvSpPr>
          <p:spPr>
            <a:xfrm>
              <a:off x="4170901"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Aug</a:t>
              </a:r>
            </a:p>
          </p:txBody>
        </p:sp>
        <p:sp>
          <p:nvSpPr>
            <p:cNvPr id="67" name="TextBox 66">
              <a:extLst>
                <a:ext uri="{FF2B5EF4-FFF2-40B4-BE49-F238E27FC236}">
                  <a16:creationId xmlns:a16="http://schemas.microsoft.com/office/drawing/2014/main" id="{6BBF0B64-8C7B-477B-BB94-F7861B6ECF74}"/>
                </a:ext>
              </a:extLst>
            </p:cNvPr>
            <p:cNvSpPr txBox="1"/>
            <p:nvPr/>
          </p:nvSpPr>
          <p:spPr>
            <a:xfrm>
              <a:off x="4824434"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Sep</a:t>
              </a:r>
            </a:p>
          </p:txBody>
        </p:sp>
        <p:sp>
          <p:nvSpPr>
            <p:cNvPr id="68" name="TextBox 67">
              <a:extLst>
                <a:ext uri="{FF2B5EF4-FFF2-40B4-BE49-F238E27FC236}">
                  <a16:creationId xmlns:a16="http://schemas.microsoft.com/office/drawing/2014/main" id="{59E52C5D-4711-4297-9197-E3ACC6296E44}"/>
                </a:ext>
              </a:extLst>
            </p:cNvPr>
            <p:cNvSpPr txBox="1"/>
            <p:nvPr/>
          </p:nvSpPr>
          <p:spPr>
            <a:xfrm>
              <a:off x="5477967"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Oct</a:t>
              </a:r>
            </a:p>
          </p:txBody>
        </p:sp>
        <p:sp>
          <p:nvSpPr>
            <p:cNvPr id="69" name="TextBox 68">
              <a:extLst>
                <a:ext uri="{FF2B5EF4-FFF2-40B4-BE49-F238E27FC236}">
                  <a16:creationId xmlns:a16="http://schemas.microsoft.com/office/drawing/2014/main" id="{26F4F58E-F0B4-4E6F-BA37-CB87706026F7}"/>
                </a:ext>
              </a:extLst>
            </p:cNvPr>
            <p:cNvSpPr txBox="1"/>
            <p:nvPr/>
          </p:nvSpPr>
          <p:spPr>
            <a:xfrm>
              <a:off x="6131500"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Nov</a:t>
              </a:r>
            </a:p>
          </p:txBody>
        </p:sp>
        <p:sp>
          <p:nvSpPr>
            <p:cNvPr id="70" name="TextBox 69">
              <a:extLst>
                <a:ext uri="{FF2B5EF4-FFF2-40B4-BE49-F238E27FC236}">
                  <a16:creationId xmlns:a16="http://schemas.microsoft.com/office/drawing/2014/main" id="{11BE42DA-1065-44E0-A5DA-19E2878D9A42}"/>
                </a:ext>
              </a:extLst>
            </p:cNvPr>
            <p:cNvSpPr txBox="1"/>
            <p:nvPr/>
          </p:nvSpPr>
          <p:spPr>
            <a:xfrm>
              <a:off x="6785033"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Dec</a:t>
              </a:r>
            </a:p>
          </p:txBody>
        </p:sp>
        <p:sp>
          <p:nvSpPr>
            <p:cNvPr id="71" name="TextBox 70">
              <a:extLst>
                <a:ext uri="{FF2B5EF4-FFF2-40B4-BE49-F238E27FC236}">
                  <a16:creationId xmlns:a16="http://schemas.microsoft.com/office/drawing/2014/main" id="{629E13FB-C4B8-4764-8162-17874EE7A173}"/>
                </a:ext>
              </a:extLst>
            </p:cNvPr>
            <p:cNvSpPr txBox="1"/>
            <p:nvPr/>
          </p:nvSpPr>
          <p:spPr>
            <a:xfrm>
              <a:off x="7438566"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black"/>
                  </a:solidFill>
                  <a:effectLst/>
                  <a:uLnTx/>
                  <a:uFillTx/>
                  <a:latin typeface="Franklin Gothic Book" panose="020B0503020102020204"/>
                  <a:ea typeface="+mn-ea"/>
                  <a:cs typeface="+mn-cs"/>
                </a:rPr>
                <a:t>Jan</a:t>
              </a:r>
            </a:p>
          </p:txBody>
        </p:sp>
        <p:sp>
          <p:nvSpPr>
            <p:cNvPr id="72" name="TextBox 71">
              <a:extLst>
                <a:ext uri="{FF2B5EF4-FFF2-40B4-BE49-F238E27FC236}">
                  <a16:creationId xmlns:a16="http://schemas.microsoft.com/office/drawing/2014/main" id="{FD823801-9383-466F-83C6-90D3C8CD8D55}"/>
                </a:ext>
              </a:extLst>
            </p:cNvPr>
            <p:cNvSpPr txBox="1"/>
            <p:nvPr/>
          </p:nvSpPr>
          <p:spPr>
            <a:xfrm>
              <a:off x="8092098" y="1261242"/>
              <a:ext cx="453600"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prstClr val="white"/>
                  </a:solidFill>
                  <a:effectLst/>
                  <a:uLnTx/>
                  <a:uFillTx/>
                  <a:latin typeface="Franklin Gothic Book" panose="020B0503020102020204"/>
                  <a:ea typeface="+mn-ea"/>
                  <a:cs typeface="+mn-cs"/>
                </a:rPr>
                <a:t>Feb</a:t>
              </a:r>
            </a:p>
          </p:txBody>
        </p:sp>
        <p:cxnSp>
          <p:nvCxnSpPr>
            <p:cNvPr id="73" name="Straight Connector 72">
              <a:extLst>
                <a:ext uri="{FF2B5EF4-FFF2-40B4-BE49-F238E27FC236}">
                  <a16:creationId xmlns:a16="http://schemas.microsoft.com/office/drawing/2014/main" id="{701F3D49-6E2D-44A5-B257-9B17E584B6CA}"/>
                </a:ext>
              </a:extLst>
            </p:cNvPr>
            <p:cNvCxnSpPr>
              <a:cxnSpLocks/>
            </p:cNvCxnSpPr>
            <p:nvPr/>
          </p:nvCxnSpPr>
          <p:spPr>
            <a:xfrm>
              <a:off x="7666229" y="756744"/>
              <a:ext cx="0" cy="252249"/>
            </a:xfrm>
            <a:prstGeom prst="line">
              <a:avLst/>
            </a:prstGeom>
            <a:ln w="19050"/>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4231695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F75203-290E-4AFA-B240-6067FCF79935}"/>
              </a:ext>
            </a:extLst>
          </p:cNvPr>
          <p:cNvSpPr>
            <a:spLocks noGrp="1"/>
          </p:cNvSpPr>
          <p:nvPr>
            <p:ph type="title"/>
          </p:nvPr>
        </p:nvSpPr>
        <p:spPr/>
        <p:txBody>
          <a:bodyPr>
            <a:normAutofit/>
          </a:bodyPr>
          <a:lstStyle/>
          <a:p>
            <a:r>
              <a:rPr lang="en-US" sz="3200" dirty="0"/>
              <a:t>Faculty</a:t>
            </a:r>
          </a:p>
        </p:txBody>
      </p:sp>
      <p:sp>
        <p:nvSpPr>
          <p:cNvPr id="14" name="Slide Number Placeholder 2">
            <a:extLst>
              <a:ext uri="{FF2B5EF4-FFF2-40B4-BE49-F238E27FC236}">
                <a16:creationId xmlns:a16="http://schemas.microsoft.com/office/drawing/2014/main" id="{125023CC-51EC-440D-AD37-9C45F3747B95}"/>
              </a:ext>
            </a:extLst>
          </p:cNvPr>
          <p:cNvSpPr>
            <a:spLocks noGrp="1"/>
          </p:cNvSpPr>
          <p:nvPr>
            <p:ph type="sldNum" sz="quarter" idx="10"/>
          </p:nvPr>
        </p:nvSpPr>
        <p:spPr bwMode="auto">
          <a:xfrm>
            <a:off x="6985487" y="59946"/>
            <a:ext cx="2057400" cy="273844"/>
          </a:xfrm>
        </p:spPr>
        <p:txBody>
          <a:bodyPr vert="horz" lIns="91440" tIns="45720" rIns="91440" bIns="4572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fld id="{11F1F4C4-F463-47E2-84C0-F8B9CB59F585}" type="slidenum">
              <a:rPr kumimoji="0" lang="en-US" altLang="en-US" sz="900" b="0" i="0" u="none" strike="noStrike" kern="1200" cap="none" spc="0" normalizeH="0" baseline="0" noProof="0">
                <a:ln>
                  <a:noFill/>
                </a:ln>
                <a:solidFill>
                  <a:prstClr val="black"/>
                </a:solidFill>
                <a:effectLst/>
                <a:uLnTx/>
                <a:uFillTx/>
                <a:latin typeface="Franklin Gothic Book"/>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en-US" altLang="en-US" sz="900" b="0" i="0" u="none" strike="noStrike" kern="1200" cap="none" spc="0" normalizeH="0" baseline="0" noProof="0">
              <a:ln>
                <a:noFill/>
              </a:ln>
              <a:solidFill>
                <a:prstClr val="black"/>
              </a:solidFill>
              <a:effectLst/>
              <a:uLnTx/>
              <a:uFillTx/>
              <a:latin typeface="Franklin Gothic Book"/>
              <a:ea typeface="+mn-ea"/>
              <a:cs typeface="+mn-cs"/>
            </a:endParaRPr>
          </a:p>
        </p:txBody>
      </p:sp>
      <p:sp>
        <p:nvSpPr>
          <p:cNvPr id="7" name="TextBox 6">
            <a:extLst>
              <a:ext uri="{FF2B5EF4-FFF2-40B4-BE49-F238E27FC236}">
                <a16:creationId xmlns:a16="http://schemas.microsoft.com/office/drawing/2014/main" id="{034D49A7-A9BB-42F1-AC89-53165E645DCF}"/>
              </a:ext>
            </a:extLst>
          </p:cNvPr>
          <p:cNvSpPr txBox="1"/>
          <p:nvPr/>
        </p:nvSpPr>
        <p:spPr>
          <a:xfrm>
            <a:off x="8213708" y="4354966"/>
            <a:ext cx="930292" cy="667696"/>
          </a:xfrm>
          <a:prstGeom prst="rect">
            <a:avLst/>
          </a:prstGeom>
          <a:solidFill>
            <a:schemeClr val="bg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grpSp>
        <p:nvGrpSpPr>
          <p:cNvPr id="27" name="Group 26">
            <a:extLst>
              <a:ext uri="{FF2B5EF4-FFF2-40B4-BE49-F238E27FC236}">
                <a16:creationId xmlns:a16="http://schemas.microsoft.com/office/drawing/2014/main" id="{E6AC4190-5BBD-4275-AA2B-C03C8E912221}"/>
              </a:ext>
            </a:extLst>
          </p:cNvPr>
          <p:cNvGrpSpPr/>
          <p:nvPr/>
        </p:nvGrpSpPr>
        <p:grpSpPr>
          <a:xfrm>
            <a:off x="5051621" y="3158624"/>
            <a:ext cx="1574522" cy="1857403"/>
            <a:chOff x="4892318" y="3094966"/>
            <a:chExt cx="1574522" cy="1857403"/>
          </a:xfrm>
        </p:grpSpPr>
        <p:pic>
          <p:nvPicPr>
            <p:cNvPr id="12" name="Picture 11" descr="A person wearing glasses&#10;&#10;Description automatically generated with low confidence">
              <a:extLst>
                <a:ext uri="{FF2B5EF4-FFF2-40B4-BE49-F238E27FC236}">
                  <a16:creationId xmlns:a16="http://schemas.microsoft.com/office/drawing/2014/main" id="{78F4010F-A4D5-40AF-BFE1-044DE4CFA1E2}"/>
                </a:ext>
              </a:extLst>
            </p:cNvPr>
            <p:cNvPicPr>
              <a:picLocks noChangeAspect="1"/>
            </p:cNvPicPr>
            <p:nvPr/>
          </p:nvPicPr>
          <p:blipFill rotWithShape="1">
            <a:blip r:embed="rId3"/>
            <a:srcRect t="2874" b="12692"/>
            <a:stretch/>
          </p:blipFill>
          <p:spPr>
            <a:xfrm>
              <a:off x="5047503" y="3094966"/>
              <a:ext cx="1264152" cy="1260000"/>
            </a:xfrm>
            <a:prstGeom prst="ellipse">
              <a:avLst/>
            </a:prstGeom>
            <a:ln w="28575">
              <a:solidFill>
                <a:schemeClr val="accent2"/>
              </a:solidFill>
            </a:ln>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939258E2-BD6A-4759-8D8C-5DA563171E68}"/>
                </a:ext>
              </a:extLst>
            </p:cNvPr>
            <p:cNvSpPr txBox="1"/>
            <p:nvPr/>
          </p:nvSpPr>
          <p:spPr>
            <a:xfrm>
              <a:off x="4892318" y="4413760"/>
              <a:ext cx="1574522" cy="538609"/>
            </a:xfrm>
            <a:prstGeom prst="rect">
              <a:avLst/>
            </a:prstGeom>
            <a:noFill/>
          </p:spPr>
          <p:txBody>
            <a:bodyPr wrap="square" lIns="91440" tIns="45720" rIns="91440" bIns="45720" anchor="t">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t>Caroline Halford</a:t>
              </a:r>
              <a:b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Digital Publishing Manager, </a:t>
              </a:r>
              <a:r>
                <a:rPr kumimoji="0" lang="en-US" sz="900" b="0" i="0" u="none" strike="noStrike" kern="1200" cap="none" spc="0" normalizeH="0" baseline="0" noProof="0" dirty="0" err="1">
                  <a:ln>
                    <a:noFill/>
                  </a:ln>
                  <a:solidFill>
                    <a:prstClr val="black"/>
                  </a:solidFill>
                  <a:effectLst/>
                  <a:uLnTx/>
                  <a:uFillTx/>
                  <a:latin typeface="Arial"/>
                  <a:ea typeface="Calibri" panose="020F0502020204030204" pitchFamily="34" charset="0"/>
                  <a:cs typeface="Arial"/>
                </a:rPr>
                <a:t>ADIS│Springer</a:t>
              </a: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 Healthcare</a:t>
              </a:r>
              <a:endParaRPr kumimoji="0" lang="en-US" sz="1100" b="0" i="0" u="none" strike="noStrike" kern="1200" cap="none" spc="0" normalizeH="0" baseline="0" noProof="0" dirty="0">
                <a:ln>
                  <a:noFill/>
                </a:ln>
                <a:solidFill>
                  <a:prstClr val="black"/>
                </a:solidFill>
                <a:effectLst/>
                <a:uLnTx/>
                <a:uFillTx/>
                <a:latin typeface="Arial"/>
                <a:ea typeface="+mn-ea"/>
                <a:cs typeface="Arial"/>
              </a:endParaRPr>
            </a:p>
          </p:txBody>
        </p:sp>
      </p:grpSp>
      <p:grpSp>
        <p:nvGrpSpPr>
          <p:cNvPr id="26" name="Group 25">
            <a:extLst>
              <a:ext uri="{FF2B5EF4-FFF2-40B4-BE49-F238E27FC236}">
                <a16:creationId xmlns:a16="http://schemas.microsoft.com/office/drawing/2014/main" id="{10A85588-D086-4EC2-9C8D-C3438869DC48}"/>
              </a:ext>
            </a:extLst>
          </p:cNvPr>
          <p:cNvGrpSpPr/>
          <p:nvPr/>
        </p:nvGrpSpPr>
        <p:grpSpPr>
          <a:xfrm>
            <a:off x="367779" y="3155704"/>
            <a:ext cx="2474654" cy="1860323"/>
            <a:chOff x="3005646" y="2112942"/>
            <a:chExt cx="2474654" cy="1860323"/>
          </a:xfrm>
        </p:grpSpPr>
        <p:pic>
          <p:nvPicPr>
            <p:cNvPr id="13" name="Picture 12" descr="A close-up of a person smiling&#10;&#10;Description automatically generated">
              <a:extLst>
                <a:ext uri="{FF2B5EF4-FFF2-40B4-BE49-F238E27FC236}">
                  <a16:creationId xmlns:a16="http://schemas.microsoft.com/office/drawing/2014/main" id="{652718C5-1698-4ECA-AE2F-A1E9A8D0CDD7}"/>
                </a:ext>
              </a:extLst>
            </p:cNvPr>
            <p:cNvPicPr>
              <a:picLocks noChangeAspect="1"/>
            </p:cNvPicPr>
            <p:nvPr/>
          </p:nvPicPr>
          <p:blipFill>
            <a:blip r:embed="rId4"/>
            <a:stretch>
              <a:fillRect/>
            </a:stretch>
          </p:blipFill>
          <p:spPr>
            <a:xfrm>
              <a:off x="3612973" y="2112942"/>
              <a:ext cx="1260000" cy="1260000"/>
            </a:xfrm>
            <a:prstGeom prst="ellipse">
              <a:avLst/>
            </a:prstGeom>
            <a:ln w="28575">
              <a:solidFill>
                <a:schemeClr val="accent2"/>
              </a:solidFill>
            </a:ln>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2C48476D-2311-4934-95AD-9BBA506D5754}"/>
                </a:ext>
              </a:extLst>
            </p:cNvPr>
            <p:cNvSpPr txBox="1"/>
            <p:nvPr/>
          </p:nvSpPr>
          <p:spPr>
            <a:xfrm>
              <a:off x="3005646" y="3434656"/>
              <a:ext cx="2474654" cy="538609"/>
            </a:xfrm>
            <a:prstGeom prst="rect">
              <a:avLst/>
            </a:prstGeom>
            <a:noFill/>
          </p:spPr>
          <p:txBody>
            <a:bodyPr wrap="square" lIns="91440" tIns="45720" rIns="91440" bIns="45720" anchor="t">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t>Dawn Lobban</a:t>
              </a:r>
              <a:b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Patient Partnerships, </a:t>
              </a:r>
              <a:b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Envision the Patient, Envision Pharma Group</a:t>
              </a:r>
              <a:endParaRPr kumimoji="0" lang="en-US" sz="1100" b="0" i="0" u="none" strike="noStrike" kern="1200" cap="none" spc="0" normalizeH="0" baseline="0" noProof="0" dirty="0">
                <a:ln>
                  <a:noFill/>
                </a:ln>
                <a:solidFill>
                  <a:prstClr val="black"/>
                </a:solidFill>
                <a:effectLst/>
                <a:uLnTx/>
                <a:uFillTx/>
                <a:latin typeface="Arial"/>
                <a:ea typeface="+mn-ea"/>
                <a:cs typeface="Arial"/>
              </a:endParaRPr>
            </a:p>
          </p:txBody>
        </p:sp>
      </p:grpSp>
      <p:grpSp>
        <p:nvGrpSpPr>
          <p:cNvPr id="3" name="Group 2">
            <a:extLst>
              <a:ext uri="{FF2B5EF4-FFF2-40B4-BE49-F238E27FC236}">
                <a16:creationId xmlns:a16="http://schemas.microsoft.com/office/drawing/2014/main" id="{592B001A-4F60-4FF5-ACEB-471E0C2E277A}"/>
              </a:ext>
            </a:extLst>
          </p:cNvPr>
          <p:cNvGrpSpPr/>
          <p:nvPr/>
        </p:nvGrpSpPr>
        <p:grpSpPr>
          <a:xfrm>
            <a:off x="457999" y="1131158"/>
            <a:ext cx="2294214" cy="1850922"/>
            <a:chOff x="-181877" y="2186900"/>
            <a:chExt cx="2294214" cy="1850922"/>
          </a:xfrm>
        </p:grpSpPr>
        <p:pic>
          <p:nvPicPr>
            <p:cNvPr id="10" name="Picture 9" descr="A person smiling for the camera&#10;&#10;Description automatically generated with medium confidence">
              <a:extLst>
                <a:ext uri="{FF2B5EF4-FFF2-40B4-BE49-F238E27FC236}">
                  <a16:creationId xmlns:a16="http://schemas.microsoft.com/office/drawing/2014/main" id="{5F588C88-8663-442A-B8FB-C4B276E6BD47}"/>
                </a:ext>
              </a:extLst>
            </p:cNvPr>
            <p:cNvPicPr>
              <a:picLocks noChangeAspect="1"/>
            </p:cNvPicPr>
            <p:nvPr/>
          </p:nvPicPr>
          <p:blipFill>
            <a:blip r:embed="rId5"/>
            <a:stretch>
              <a:fillRect/>
            </a:stretch>
          </p:blipFill>
          <p:spPr>
            <a:xfrm>
              <a:off x="334959" y="2186900"/>
              <a:ext cx="1260543" cy="1260000"/>
            </a:xfrm>
            <a:prstGeom prst="ellipse">
              <a:avLst/>
            </a:prstGeom>
            <a:ln w="28575">
              <a:solidFill>
                <a:schemeClr val="accent1"/>
              </a:solidFill>
            </a:ln>
            <a:effectLst>
              <a:outerShdw blurRad="50800" dist="38100" dir="2700000" algn="tl" rotWithShape="0">
                <a:prstClr val="black">
                  <a:alpha val="40000"/>
                </a:prstClr>
              </a:outerShdw>
            </a:effectLst>
          </p:spPr>
        </p:pic>
        <p:sp>
          <p:nvSpPr>
            <p:cNvPr id="19" name="TextBox 18">
              <a:extLst>
                <a:ext uri="{FF2B5EF4-FFF2-40B4-BE49-F238E27FC236}">
                  <a16:creationId xmlns:a16="http://schemas.microsoft.com/office/drawing/2014/main" id="{CAC16040-60D4-47D4-B589-45367854A4BE}"/>
                </a:ext>
              </a:extLst>
            </p:cNvPr>
            <p:cNvSpPr txBox="1"/>
            <p:nvPr/>
          </p:nvSpPr>
          <p:spPr>
            <a:xfrm>
              <a:off x="-181877" y="3499213"/>
              <a:ext cx="2294214" cy="538609"/>
            </a:xfrm>
            <a:prstGeom prst="rect">
              <a:avLst/>
            </a:prstGeom>
            <a:noFill/>
          </p:spPr>
          <p:txBody>
            <a:bodyPr wrap="square" lIns="91440" tIns="45720" rIns="91440" bIns="45720" anchor="t">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0C0"/>
                  </a:solidFill>
                  <a:effectLst/>
                  <a:uLnTx/>
                  <a:uFillTx/>
                  <a:latin typeface="Arial" panose="020B0604020202020204" pitchFamily="34" charset="0"/>
                  <a:ea typeface="Calibri" panose="020F0502020204030204" pitchFamily="34" charset="0"/>
                  <a:cs typeface="+mn-cs"/>
                </a:rPr>
                <a:t>Moderator, </a:t>
              </a:r>
              <a:r>
                <a:rPr kumimoji="0" lang="en-US" sz="1100" b="1" i="0" u="none" strike="noStrike" kern="1200" cap="none" spc="0" normalizeH="0" baseline="0" noProof="0" dirty="0">
                  <a:ln>
                    <a:noFill/>
                  </a:ln>
                  <a:solidFill>
                    <a:srgbClr val="4472C4"/>
                  </a:solidFill>
                  <a:effectLst/>
                  <a:uLnTx/>
                  <a:uFillTx/>
                  <a:latin typeface="Arial"/>
                  <a:ea typeface="Calibri" panose="020F0502020204030204" pitchFamily="34" charset="0"/>
                  <a:cs typeface="Arial"/>
                </a:rPr>
                <a:t>Jason Gardner</a:t>
              </a:r>
              <a:b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Head of Medical Services, CMC Connect, </a:t>
              </a:r>
              <a:b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McCann Health Medical Communications   </a:t>
              </a:r>
              <a:endParaRPr kumimoji="0" lang="en-US" sz="1100" b="0" i="0" u="none" strike="noStrike" kern="1200" cap="none" spc="0" normalizeH="0" baseline="0" noProof="0" dirty="0">
                <a:ln>
                  <a:noFill/>
                </a:ln>
                <a:solidFill>
                  <a:prstClr val="black"/>
                </a:solidFill>
                <a:effectLst/>
                <a:uLnTx/>
                <a:uFillTx/>
                <a:latin typeface="Arial"/>
                <a:ea typeface="+mn-ea"/>
                <a:cs typeface="Arial"/>
              </a:endParaRPr>
            </a:p>
          </p:txBody>
        </p:sp>
      </p:grpSp>
      <p:grpSp>
        <p:nvGrpSpPr>
          <p:cNvPr id="6" name="Group 5">
            <a:extLst>
              <a:ext uri="{FF2B5EF4-FFF2-40B4-BE49-F238E27FC236}">
                <a16:creationId xmlns:a16="http://schemas.microsoft.com/office/drawing/2014/main" id="{4982A0D9-6880-4D19-9378-9BA2BD36D797}"/>
              </a:ext>
            </a:extLst>
          </p:cNvPr>
          <p:cNvGrpSpPr/>
          <p:nvPr/>
        </p:nvGrpSpPr>
        <p:grpSpPr>
          <a:xfrm>
            <a:off x="5118310" y="1131158"/>
            <a:ext cx="1415979" cy="1855531"/>
            <a:chOff x="4895579" y="1067366"/>
            <a:chExt cx="1415979" cy="1855531"/>
          </a:xfrm>
        </p:grpSpPr>
        <p:pic>
          <p:nvPicPr>
            <p:cNvPr id="9" name="Picture 8" descr="A person smiling for the camera&#10;&#10;Description automatically generated with low confidence">
              <a:extLst>
                <a:ext uri="{FF2B5EF4-FFF2-40B4-BE49-F238E27FC236}">
                  <a16:creationId xmlns:a16="http://schemas.microsoft.com/office/drawing/2014/main" id="{B6018868-040A-496E-A8F2-BF5DF42CE71C}"/>
                </a:ext>
              </a:extLst>
            </p:cNvPr>
            <p:cNvPicPr>
              <a:picLocks noChangeAspect="1"/>
            </p:cNvPicPr>
            <p:nvPr/>
          </p:nvPicPr>
          <p:blipFill>
            <a:blip r:embed="rId6"/>
            <a:stretch>
              <a:fillRect/>
            </a:stretch>
          </p:blipFill>
          <p:spPr>
            <a:xfrm>
              <a:off x="4986151" y="1067366"/>
              <a:ext cx="1260000" cy="1260000"/>
            </a:xfrm>
            <a:prstGeom prst="ellipse">
              <a:avLst/>
            </a:prstGeom>
            <a:ln w="28575">
              <a:solidFill>
                <a:schemeClr val="accent2"/>
              </a:solidFill>
            </a:ln>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DA07A7D3-2950-485F-92B6-BA59BB9BE164}"/>
                </a:ext>
              </a:extLst>
            </p:cNvPr>
            <p:cNvSpPr txBox="1"/>
            <p:nvPr/>
          </p:nvSpPr>
          <p:spPr>
            <a:xfrm>
              <a:off x="4895579" y="2384288"/>
              <a:ext cx="1415979" cy="538609"/>
            </a:xfrm>
            <a:prstGeom prst="rect">
              <a:avLst/>
            </a:prstGeom>
            <a:noFill/>
          </p:spPr>
          <p:txBody>
            <a:bodyPr wrap="square" lIns="91440" tIns="45720" rIns="91440" bIns="45720" anchor="t">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t>Laura Dormer</a:t>
              </a:r>
              <a:b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Editorial Director, </a:t>
              </a:r>
              <a:b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Future Science Group</a:t>
              </a:r>
              <a:endParaRPr kumimoji="0" lang="en-US" sz="1100" b="0" i="0" u="none" strike="noStrike" kern="1200" cap="none" spc="0" normalizeH="0" baseline="0" noProof="0" dirty="0">
                <a:ln>
                  <a:noFill/>
                </a:ln>
                <a:solidFill>
                  <a:prstClr val="black"/>
                </a:solidFill>
                <a:effectLst/>
                <a:uLnTx/>
                <a:uFillTx/>
                <a:latin typeface="Arial"/>
                <a:ea typeface="+mn-ea"/>
                <a:cs typeface="Arial"/>
              </a:endParaRPr>
            </a:p>
          </p:txBody>
        </p:sp>
      </p:grpSp>
      <p:grpSp>
        <p:nvGrpSpPr>
          <p:cNvPr id="25" name="Group 24">
            <a:extLst>
              <a:ext uri="{FF2B5EF4-FFF2-40B4-BE49-F238E27FC236}">
                <a16:creationId xmlns:a16="http://schemas.microsoft.com/office/drawing/2014/main" id="{108179B7-3FE6-4FB3-A74B-0198B2F85167}"/>
              </a:ext>
            </a:extLst>
          </p:cNvPr>
          <p:cNvGrpSpPr/>
          <p:nvPr/>
        </p:nvGrpSpPr>
        <p:grpSpPr>
          <a:xfrm>
            <a:off x="6923638" y="1131158"/>
            <a:ext cx="1509690" cy="1855531"/>
            <a:chOff x="6799664" y="1067366"/>
            <a:chExt cx="1509690" cy="1855531"/>
          </a:xfrm>
        </p:grpSpPr>
        <p:pic>
          <p:nvPicPr>
            <p:cNvPr id="4" name="Picture 3">
              <a:extLst>
                <a:ext uri="{FF2B5EF4-FFF2-40B4-BE49-F238E27FC236}">
                  <a16:creationId xmlns:a16="http://schemas.microsoft.com/office/drawing/2014/main" id="{46654C86-E5FD-45A2-93AE-C92749B929BF}"/>
                </a:ext>
              </a:extLst>
            </p:cNvPr>
            <p:cNvPicPr>
              <a:picLocks noChangeAspect="1"/>
            </p:cNvPicPr>
            <p:nvPr/>
          </p:nvPicPr>
          <p:blipFill rotWithShape="1">
            <a:blip r:embed="rId7"/>
            <a:srcRect l="2781" t="6623" r="4568" b="5641"/>
            <a:stretch/>
          </p:blipFill>
          <p:spPr>
            <a:xfrm>
              <a:off x="6917311" y="1067366"/>
              <a:ext cx="1274396" cy="1260000"/>
            </a:xfrm>
            <a:prstGeom prst="ellipse">
              <a:avLst/>
            </a:prstGeom>
            <a:ln w="28575">
              <a:solidFill>
                <a:schemeClr val="accent2"/>
              </a:solidFill>
            </a:ln>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D57E4319-5568-4731-83C7-E0D8E6098E37}"/>
                </a:ext>
              </a:extLst>
            </p:cNvPr>
            <p:cNvSpPr txBox="1"/>
            <p:nvPr/>
          </p:nvSpPr>
          <p:spPr>
            <a:xfrm>
              <a:off x="6799664" y="2384288"/>
              <a:ext cx="1509690" cy="538609"/>
            </a:xfrm>
            <a:prstGeom prst="rect">
              <a:avLst/>
            </a:prstGeom>
            <a:noFill/>
          </p:spPr>
          <p:txBody>
            <a:bodyPr wrap="square" lIns="91440" tIns="45720" rIns="91440" bIns="45720" anchor="t">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t>Melissa Crouse</a:t>
              </a:r>
              <a:b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Patient/Patient Advocate </a:t>
              </a:r>
              <a:b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Lung Cancer)</a:t>
              </a:r>
              <a:endParaRPr kumimoji="0" lang="en-US" sz="1100" b="0" i="0" u="none" strike="noStrike" kern="1200" cap="none" spc="0" normalizeH="0" baseline="0" noProof="0" dirty="0">
                <a:ln>
                  <a:noFill/>
                </a:ln>
                <a:solidFill>
                  <a:prstClr val="black"/>
                </a:solidFill>
                <a:effectLst/>
                <a:uLnTx/>
                <a:uFillTx/>
                <a:latin typeface="Arial"/>
                <a:ea typeface="+mn-ea"/>
                <a:cs typeface="Arial"/>
              </a:endParaRPr>
            </a:p>
          </p:txBody>
        </p:sp>
      </p:grpSp>
      <p:grpSp>
        <p:nvGrpSpPr>
          <p:cNvPr id="28" name="Group 27">
            <a:extLst>
              <a:ext uri="{FF2B5EF4-FFF2-40B4-BE49-F238E27FC236}">
                <a16:creationId xmlns:a16="http://schemas.microsoft.com/office/drawing/2014/main" id="{DF38ADC7-08A8-4500-BA07-39DF773689B2}"/>
              </a:ext>
            </a:extLst>
          </p:cNvPr>
          <p:cNvGrpSpPr/>
          <p:nvPr/>
        </p:nvGrpSpPr>
        <p:grpSpPr>
          <a:xfrm>
            <a:off x="6923638" y="3158624"/>
            <a:ext cx="1509690" cy="1857403"/>
            <a:chOff x="6891677" y="3064577"/>
            <a:chExt cx="1509690" cy="1857403"/>
          </a:xfrm>
        </p:grpSpPr>
        <p:pic>
          <p:nvPicPr>
            <p:cNvPr id="8" name="Picture 7" descr="A picture containing person, person, striped&#10;&#10;Description automatically generated">
              <a:extLst>
                <a:ext uri="{FF2B5EF4-FFF2-40B4-BE49-F238E27FC236}">
                  <a16:creationId xmlns:a16="http://schemas.microsoft.com/office/drawing/2014/main" id="{7D7B9FB4-515E-4401-BAEC-D60C720863F0}"/>
                </a:ext>
              </a:extLst>
            </p:cNvPr>
            <p:cNvPicPr>
              <a:picLocks noChangeAspect="1"/>
            </p:cNvPicPr>
            <p:nvPr/>
          </p:nvPicPr>
          <p:blipFill rotWithShape="1">
            <a:blip r:embed="rId8"/>
            <a:srcRect l="6916" t="7127" r="9926" b="26965"/>
            <a:stretch/>
          </p:blipFill>
          <p:spPr>
            <a:xfrm>
              <a:off x="7014993" y="3064577"/>
              <a:ext cx="1263058" cy="1260000"/>
            </a:xfrm>
            <a:prstGeom prst="ellipse">
              <a:avLst/>
            </a:prstGeom>
            <a:ln w="28575">
              <a:solidFill>
                <a:schemeClr val="accent2"/>
              </a:solidFill>
            </a:ln>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0F0D430D-7BEF-48C5-AB23-881263656700}"/>
                </a:ext>
              </a:extLst>
            </p:cNvPr>
            <p:cNvSpPr txBox="1"/>
            <p:nvPr/>
          </p:nvSpPr>
          <p:spPr>
            <a:xfrm>
              <a:off x="6891677" y="4383371"/>
              <a:ext cx="1509690" cy="538609"/>
            </a:xfrm>
            <a:prstGeom prst="rect">
              <a:avLst/>
            </a:prstGeom>
            <a:noFill/>
          </p:spPr>
          <p:txBody>
            <a:bodyPr wrap="square" lIns="91440" tIns="45720" rIns="91440" bIns="45720" anchor="t">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t>Jessie </a:t>
              </a:r>
              <a:r>
                <a:rPr kumimoji="0" lang="en-US" sz="1100" b="1" i="0" u="none" strike="noStrike" kern="1200" cap="none" spc="0" normalizeH="0" baseline="0" noProof="0" dirty="0" err="1">
                  <a:ln>
                    <a:noFill/>
                  </a:ln>
                  <a:solidFill>
                    <a:srgbClr val="ED7D31"/>
                  </a:solidFill>
                  <a:effectLst/>
                  <a:uLnTx/>
                  <a:uFillTx/>
                  <a:latin typeface="Arial"/>
                  <a:ea typeface="Calibri" panose="020F0502020204030204" pitchFamily="34" charset="0"/>
                  <a:cs typeface="Arial"/>
                </a:rPr>
                <a:t>Daw</a:t>
              </a:r>
              <a:b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Patient/Patient Advocate </a:t>
              </a:r>
              <a:b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Multiple Myeloma)</a:t>
              </a:r>
              <a:endParaRPr kumimoji="0" lang="en-US" sz="1100" b="0" i="0" u="none" strike="noStrike" kern="1200" cap="none" spc="0" normalizeH="0" baseline="0" noProof="0" dirty="0">
                <a:ln>
                  <a:noFill/>
                </a:ln>
                <a:solidFill>
                  <a:prstClr val="black"/>
                </a:solidFill>
                <a:effectLst/>
                <a:uLnTx/>
                <a:uFillTx/>
                <a:latin typeface="Arial"/>
                <a:ea typeface="+mn-ea"/>
                <a:cs typeface="Arial"/>
              </a:endParaRPr>
            </a:p>
          </p:txBody>
        </p:sp>
      </p:grpSp>
      <p:grpSp>
        <p:nvGrpSpPr>
          <p:cNvPr id="29" name="Group 28">
            <a:extLst>
              <a:ext uri="{FF2B5EF4-FFF2-40B4-BE49-F238E27FC236}">
                <a16:creationId xmlns:a16="http://schemas.microsoft.com/office/drawing/2014/main" id="{8F6A2CD0-6619-413F-BD33-FFD76AC186BD}"/>
              </a:ext>
            </a:extLst>
          </p:cNvPr>
          <p:cNvGrpSpPr/>
          <p:nvPr/>
        </p:nvGrpSpPr>
        <p:grpSpPr>
          <a:xfrm>
            <a:off x="2854438" y="3148027"/>
            <a:ext cx="2263872" cy="1868000"/>
            <a:chOff x="1421260" y="3126763"/>
            <a:chExt cx="2263872" cy="1868000"/>
          </a:xfrm>
        </p:grpSpPr>
        <p:pic>
          <p:nvPicPr>
            <p:cNvPr id="11" name="Picture 10" descr="A picture containing person, person, indoor, shirt&#10;&#10;Description automatically generated">
              <a:extLst>
                <a:ext uri="{FF2B5EF4-FFF2-40B4-BE49-F238E27FC236}">
                  <a16:creationId xmlns:a16="http://schemas.microsoft.com/office/drawing/2014/main" id="{4ED81AB9-EFE9-4C44-A1B2-BBC69F2BAB92}"/>
                </a:ext>
              </a:extLst>
            </p:cNvPr>
            <p:cNvPicPr>
              <a:picLocks noChangeAspect="1"/>
            </p:cNvPicPr>
            <p:nvPr/>
          </p:nvPicPr>
          <p:blipFill>
            <a:blip r:embed="rId9"/>
            <a:stretch>
              <a:fillRect/>
            </a:stretch>
          </p:blipFill>
          <p:spPr>
            <a:xfrm>
              <a:off x="1923196" y="3126763"/>
              <a:ext cx="1260000" cy="1260000"/>
            </a:xfrm>
            <a:prstGeom prst="ellipse">
              <a:avLst/>
            </a:prstGeom>
            <a:ln w="28575">
              <a:solidFill>
                <a:schemeClr val="accent2"/>
              </a:solidFill>
            </a:ln>
            <a:effectLst>
              <a:outerShdw blurRad="50800" dist="38100" dir="2700000" algn="tl" rotWithShape="0">
                <a:prstClr val="black">
                  <a:alpha val="40000"/>
                </a:prstClr>
              </a:outerShdw>
            </a:effectLst>
          </p:spPr>
        </p:pic>
        <p:sp>
          <p:nvSpPr>
            <p:cNvPr id="23" name="TextBox 22">
              <a:extLst>
                <a:ext uri="{FF2B5EF4-FFF2-40B4-BE49-F238E27FC236}">
                  <a16:creationId xmlns:a16="http://schemas.microsoft.com/office/drawing/2014/main" id="{FDF3A7F4-2681-4919-AAF6-D556A49A4737}"/>
                </a:ext>
              </a:extLst>
            </p:cNvPr>
            <p:cNvSpPr txBox="1"/>
            <p:nvPr/>
          </p:nvSpPr>
          <p:spPr>
            <a:xfrm>
              <a:off x="1421260" y="4456154"/>
              <a:ext cx="2263872" cy="538609"/>
            </a:xfrm>
            <a:prstGeom prst="rect">
              <a:avLst/>
            </a:prstGeom>
            <a:noFill/>
          </p:spPr>
          <p:txBody>
            <a:bodyPr wrap="square" lIns="91440" tIns="45720" rIns="91440" bIns="45720" anchor="t">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t>Will </a:t>
              </a:r>
              <a:r>
                <a:rPr kumimoji="0" lang="en-US" sz="1100" b="1" i="0" u="none" strike="noStrike" kern="1200" cap="none" spc="0" normalizeH="0" baseline="0" noProof="0" dirty="0" err="1">
                  <a:ln>
                    <a:noFill/>
                  </a:ln>
                  <a:solidFill>
                    <a:srgbClr val="ED7D31"/>
                  </a:solidFill>
                  <a:effectLst/>
                  <a:uLnTx/>
                  <a:uFillTx/>
                  <a:latin typeface="Arial"/>
                  <a:ea typeface="Calibri" panose="020F0502020204030204" pitchFamily="34" charset="0"/>
                  <a:cs typeface="Arial"/>
                </a:rPr>
                <a:t>Gattrell</a:t>
              </a:r>
              <a:b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Senior Manager, Global Medical</a:t>
              </a:r>
              <a:b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Publications and Communications, Ipsen</a:t>
              </a:r>
              <a:endParaRPr kumimoji="0" lang="en-US" sz="1100" b="0" i="0" u="none" strike="noStrike" kern="1200" cap="none" spc="0" normalizeH="0" baseline="0" noProof="0" dirty="0">
                <a:ln>
                  <a:noFill/>
                </a:ln>
                <a:solidFill>
                  <a:prstClr val="black"/>
                </a:solidFill>
                <a:effectLst/>
                <a:uLnTx/>
                <a:uFillTx/>
                <a:latin typeface="Arial"/>
                <a:ea typeface="+mn-ea"/>
                <a:cs typeface="Arial"/>
              </a:endParaRPr>
            </a:p>
          </p:txBody>
        </p:sp>
      </p:grpSp>
      <p:grpSp>
        <p:nvGrpSpPr>
          <p:cNvPr id="5" name="Group 4">
            <a:extLst>
              <a:ext uri="{FF2B5EF4-FFF2-40B4-BE49-F238E27FC236}">
                <a16:creationId xmlns:a16="http://schemas.microsoft.com/office/drawing/2014/main" id="{D929D3B8-55CB-46EA-85BD-D721FA1D2DC1}"/>
              </a:ext>
            </a:extLst>
          </p:cNvPr>
          <p:cNvGrpSpPr/>
          <p:nvPr/>
        </p:nvGrpSpPr>
        <p:grpSpPr>
          <a:xfrm>
            <a:off x="3202011" y="1131158"/>
            <a:ext cx="1568727" cy="1855531"/>
            <a:chOff x="1768833" y="1067366"/>
            <a:chExt cx="1568727" cy="1855531"/>
          </a:xfrm>
        </p:grpSpPr>
        <p:pic>
          <p:nvPicPr>
            <p:cNvPr id="15" name="Picture 14" descr="A person with curly hair&#10;&#10;Description automatically generated with low confidence">
              <a:extLst>
                <a:ext uri="{FF2B5EF4-FFF2-40B4-BE49-F238E27FC236}">
                  <a16:creationId xmlns:a16="http://schemas.microsoft.com/office/drawing/2014/main" id="{A1A0125B-B79F-4F15-9378-DA9A0E1B9A79}"/>
                </a:ext>
              </a:extLst>
            </p:cNvPr>
            <p:cNvPicPr>
              <a:picLocks noChangeAspect="1"/>
            </p:cNvPicPr>
            <p:nvPr/>
          </p:nvPicPr>
          <p:blipFill rotWithShape="1">
            <a:blip r:embed="rId10"/>
            <a:srcRect l="17041" r="23241"/>
            <a:stretch/>
          </p:blipFill>
          <p:spPr>
            <a:xfrm>
              <a:off x="1919300" y="1067366"/>
              <a:ext cx="1267793" cy="1260000"/>
            </a:xfrm>
            <a:prstGeom prst="ellipse">
              <a:avLst/>
            </a:prstGeom>
            <a:ln w="28575">
              <a:solidFill>
                <a:schemeClr val="accent2"/>
              </a:solidFill>
            </a:ln>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0C4A0EA6-4930-4799-B892-C85224217A58}"/>
                </a:ext>
              </a:extLst>
            </p:cNvPr>
            <p:cNvSpPr txBox="1"/>
            <p:nvPr/>
          </p:nvSpPr>
          <p:spPr>
            <a:xfrm>
              <a:off x="1768833" y="2384288"/>
              <a:ext cx="1568727" cy="538609"/>
            </a:xfrm>
            <a:prstGeom prst="rect">
              <a:avLst/>
            </a:prstGeom>
            <a:noFill/>
          </p:spPr>
          <p:txBody>
            <a:bodyPr wrap="square" lIns="91440" tIns="45720" rIns="91440" bIns="45720" anchor="t">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t>Angela Sykes</a:t>
              </a:r>
              <a:br>
                <a:rPr kumimoji="0" lang="en-US" sz="1100" b="1" i="0" u="none" strike="noStrike" kern="1200" cap="none" spc="0" normalizeH="0" baseline="0" noProof="0" dirty="0">
                  <a:ln>
                    <a:noFill/>
                  </a:ln>
                  <a:solidFill>
                    <a:srgbClr val="ED7D31"/>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Publications Standards &amp;</a:t>
              </a:r>
              <a:b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br>
              <a:r>
                <a:rPr kumimoji="0" lang="en-US" sz="900" b="0" i="0" u="none" strike="noStrike" kern="1200" cap="none" spc="0" normalizeH="0" baseline="0" noProof="0" dirty="0">
                  <a:ln>
                    <a:noFill/>
                  </a:ln>
                  <a:solidFill>
                    <a:prstClr val="black"/>
                  </a:solidFill>
                  <a:effectLst/>
                  <a:uLnTx/>
                  <a:uFillTx/>
                  <a:latin typeface="Arial"/>
                  <a:ea typeface="Calibri" panose="020F0502020204030204" pitchFamily="34" charset="0"/>
                  <a:cs typeface="Arial"/>
                </a:rPr>
                <a:t>Best Practices Lead, Pfizer</a:t>
              </a:r>
              <a:endParaRPr kumimoji="0" lang="en-US" sz="1100" b="0" i="0" u="none" strike="noStrike" kern="1200" cap="none" spc="0" normalizeH="0" baseline="0" noProof="0" dirty="0">
                <a:ln>
                  <a:noFill/>
                </a:ln>
                <a:solidFill>
                  <a:prstClr val="black"/>
                </a:solidFill>
                <a:effectLst/>
                <a:uLnTx/>
                <a:uFillTx/>
                <a:latin typeface="Arial"/>
                <a:ea typeface="+mn-ea"/>
                <a:cs typeface="Arial"/>
              </a:endParaRPr>
            </a:p>
          </p:txBody>
        </p:sp>
      </p:grpSp>
    </p:spTree>
    <p:extLst>
      <p:ext uri="{BB962C8B-B14F-4D97-AF65-F5344CB8AC3E}">
        <p14:creationId xmlns:p14="http://schemas.microsoft.com/office/powerpoint/2010/main" val="26099520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7134F-F5D1-4656-8CC1-0FD5B197DD29}"/>
              </a:ext>
            </a:extLst>
          </p:cNvPr>
          <p:cNvSpPr>
            <a:spLocks noGrp="1"/>
          </p:cNvSpPr>
          <p:nvPr>
            <p:ph type="title"/>
          </p:nvPr>
        </p:nvSpPr>
        <p:spPr/>
        <p:txBody>
          <a:bodyPr>
            <a:normAutofit/>
          </a:bodyPr>
          <a:lstStyle/>
          <a:p>
            <a:r>
              <a:rPr lang="en-US" sz="3200"/>
              <a:t>Disclaimer</a:t>
            </a:r>
            <a:endParaRPr lang="en-US" sz="2000"/>
          </a:p>
        </p:txBody>
      </p:sp>
      <p:sp>
        <p:nvSpPr>
          <p:cNvPr id="4" name="Content Placeholder 3">
            <a:extLst>
              <a:ext uri="{FF2B5EF4-FFF2-40B4-BE49-F238E27FC236}">
                <a16:creationId xmlns:a16="http://schemas.microsoft.com/office/drawing/2014/main" id="{79C78045-050D-4096-BEE3-B6607DCF8DE0}"/>
              </a:ext>
            </a:extLst>
          </p:cNvPr>
          <p:cNvSpPr>
            <a:spLocks noGrp="1"/>
          </p:cNvSpPr>
          <p:nvPr>
            <p:ph idx="1"/>
          </p:nvPr>
        </p:nvSpPr>
        <p:spPr/>
        <p:txBody>
          <a:bodyPr/>
          <a:lstStyle/>
          <a:p>
            <a:r>
              <a:rPr lang="en-US" dirty="0"/>
              <a:t>Information presented reflects the personal knowledge and opinions of the faculty and does not necessarily represent the position of their current or past employers or ISMPP</a:t>
            </a:r>
          </a:p>
          <a:p>
            <a:endParaRPr lang="en-US" dirty="0"/>
          </a:p>
          <a:p>
            <a:endParaRPr lang="en-US" dirty="0"/>
          </a:p>
        </p:txBody>
      </p:sp>
      <p:sp>
        <p:nvSpPr>
          <p:cNvPr id="3" name="Slide Number Placeholder 2">
            <a:extLst>
              <a:ext uri="{FF2B5EF4-FFF2-40B4-BE49-F238E27FC236}">
                <a16:creationId xmlns:a16="http://schemas.microsoft.com/office/drawing/2014/main" id="{7B8DA75C-44EC-42C6-9220-762929D91FA8}"/>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a:ln>
                <a:noFill/>
              </a:ln>
              <a:solidFill>
                <a:prstClr val="black"/>
              </a:solidFill>
              <a:effectLst/>
              <a:uLnTx/>
              <a:uFillTx/>
              <a:latin typeface="Franklin Gothic Book"/>
              <a:ea typeface="+mn-ea"/>
              <a:cs typeface="+mn-cs"/>
            </a:endParaRPr>
          </a:p>
        </p:txBody>
      </p:sp>
    </p:spTree>
    <p:extLst>
      <p:ext uri="{BB962C8B-B14F-4D97-AF65-F5344CB8AC3E}">
        <p14:creationId xmlns:p14="http://schemas.microsoft.com/office/powerpoint/2010/main" val="10341876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99FD9-5969-4AB4-9EED-9EB2B7FC1DCD}"/>
              </a:ext>
            </a:extLst>
          </p:cNvPr>
          <p:cNvSpPr>
            <a:spLocks noGrp="1"/>
          </p:cNvSpPr>
          <p:nvPr>
            <p:ph type="title"/>
          </p:nvPr>
        </p:nvSpPr>
        <p:spPr/>
        <p:txBody>
          <a:bodyPr>
            <a:normAutofit/>
          </a:bodyPr>
          <a:lstStyle/>
          <a:p>
            <a:r>
              <a:rPr lang="en-US" sz="3200"/>
              <a:t>Objectives</a:t>
            </a:r>
          </a:p>
        </p:txBody>
      </p:sp>
      <p:sp>
        <p:nvSpPr>
          <p:cNvPr id="3" name="Content Placeholder 2">
            <a:extLst>
              <a:ext uri="{FF2B5EF4-FFF2-40B4-BE49-F238E27FC236}">
                <a16:creationId xmlns:a16="http://schemas.microsoft.com/office/drawing/2014/main" id="{5E43AB08-E4BE-4D22-B393-D586B180881E}"/>
              </a:ext>
            </a:extLst>
          </p:cNvPr>
          <p:cNvSpPr>
            <a:spLocks noGrp="1"/>
          </p:cNvSpPr>
          <p:nvPr>
            <p:ph idx="1"/>
          </p:nvPr>
        </p:nvSpPr>
        <p:spPr/>
        <p:txBody>
          <a:bodyPr>
            <a:normAutofit/>
          </a:bodyPr>
          <a:lstStyle/>
          <a:p>
            <a:r>
              <a:rPr lang="en-US" dirty="0"/>
              <a:t>Understand key points in the PLS guidance documents and publications developed by the ISMPP PLS Perspectives Working Group, Open Pharma and Pfizer</a:t>
            </a:r>
          </a:p>
          <a:p>
            <a:r>
              <a:rPr lang="en-US" dirty="0"/>
              <a:t>Understand how to create an implementation process for PLS generation</a:t>
            </a:r>
          </a:p>
          <a:p>
            <a:r>
              <a:rPr lang="en-US" dirty="0"/>
              <a:t>Understand what medical communication professionals can do to support the discoverability and accessibility of PLS</a:t>
            </a:r>
          </a:p>
          <a:p>
            <a:r>
              <a:rPr lang="en-US" dirty="0"/>
              <a:t>Understand if PLS increase the impact of published research</a:t>
            </a:r>
          </a:p>
          <a:p>
            <a:r>
              <a:rPr lang="en-US" dirty="0"/>
              <a:t>Gain knowledge of how to work with patients/patient advocates on PLS generation</a:t>
            </a:r>
          </a:p>
          <a:p>
            <a:endParaRPr lang="en-US" dirty="0"/>
          </a:p>
        </p:txBody>
      </p:sp>
      <p:sp>
        <p:nvSpPr>
          <p:cNvPr id="4" name="Slide Number Placeholder 3">
            <a:extLst>
              <a:ext uri="{FF2B5EF4-FFF2-40B4-BE49-F238E27FC236}">
                <a16:creationId xmlns:a16="http://schemas.microsoft.com/office/drawing/2014/main" id="{0244A883-B857-4BA7-B236-7B371BAE72E6}"/>
              </a:ext>
            </a:extLst>
          </p:cNvPr>
          <p:cNvSpPr>
            <a:spLocks noGrp="1"/>
          </p:cNvSpPr>
          <p:nvPr>
            <p:ph type="sldNum" sz="quarter" idx="10"/>
          </p:nvPr>
        </p:nvSpPr>
        <p:spPr/>
        <p:txBody>
          <a:bodyPr/>
          <a:lstStyle/>
          <a:p>
            <a:pPr fontAlgn="base">
              <a:spcBef>
                <a:spcPct val="0"/>
              </a:spcBef>
              <a:spcAft>
                <a:spcPct val="0"/>
              </a:spcAft>
              <a:defRPr/>
            </a:pPr>
            <a:fld id="{C79F3CE7-12BC-4F55-8C78-3D25B804A499}" type="slidenum">
              <a:rPr lang="en-US">
                <a:solidFill>
                  <a:prstClr val="black"/>
                </a:solidFill>
                <a:latin typeface="Calibri" pitchFamily="34" charset="0"/>
                <a:cs typeface="Arial" pitchFamily="34" charset="0"/>
              </a:rPr>
              <a:pPr fontAlgn="base">
                <a:spcBef>
                  <a:spcPct val="0"/>
                </a:spcBef>
                <a:spcAft>
                  <a:spcPct val="0"/>
                </a:spcAft>
                <a:defRPr/>
              </a:pPr>
              <a:t>25</a:t>
            </a:fld>
            <a:endParaRPr lang="en-US">
              <a:solidFill>
                <a:prstClr val="black"/>
              </a:solidFill>
              <a:latin typeface="Calibri" pitchFamily="34" charset="0"/>
              <a:cs typeface="Arial" pitchFamily="34" charset="0"/>
            </a:endParaRPr>
          </a:p>
        </p:txBody>
      </p:sp>
    </p:spTree>
    <p:extLst>
      <p:ext uri="{BB962C8B-B14F-4D97-AF65-F5344CB8AC3E}">
        <p14:creationId xmlns:p14="http://schemas.microsoft.com/office/powerpoint/2010/main" val="5230190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8C3231E-1738-4AC1-8DD9-3C6C45069CEC}"/>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 name="Content Placeholder 3">
            <a:extLst>
              <a:ext uri="{FF2B5EF4-FFF2-40B4-BE49-F238E27FC236}">
                <a16:creationId xmlns:a16="http://schemas.microsoft.com/office/drawing/2014/main" id="{82681E2F-22B5-4534-BD0F-6FF98C2E2FB8}"/>
              </a:ext>
            </a:extLst>
          </p:cNvPr>
          <p:cNvSpPr>
            <a:spLocks noGrp="1"/>
          </p:cNvSpPr>
          <p:nvPr>
            <p:ph idx="1"/>
          </p:nvPr>
        </p:nvSpPr>
        <p:spPr>
          <a:xfrm>
            <a:off x="857251" y="1447801"/>
            <a:ext cx="7016749" cy="3302000"/>
          </a:xfrm>
          <a:ln>
            <a:solidFill>
              <a:srgbClr val="0070C0"/>
            </a:solidFill>
          </a:ln>
        </p:spPr>
        <p:txBody>
          <a:bodyPr>
            <a:normAutofit/>
          </a:bodyPr>
          <a:lstStyle/>
          <a:p>
            <a:r>
              <a:rPr lang="en-US" dirty="0"/>
              <a:t>Best practices for developing a PLS </a:t>
            </a:r>
          </a:p>
          <a:p>
            <a:r>
              <a:rPr lang="en-US" dirty="0"/>
              <a:t>Incorporating PLS development into SOPs </a:t>
            </a:r>
          </a:p>
          <a:p>
            <a:r>
              <a:rPr lang="en-US" dirty="0"/>
              <a:t>Best practices for working with patients in the development of PLS </a:t>
            </a:r>
          </a:p>
          <a:p>
            <a:r>
              <a:rPr lang="en-US" dirty="0"/>
              <a:t>How to make PLS more discoverable </a:t>
            </a:r>
          </a:p>
          <a:p>
            <a:r>
              <a:rPr lang="en-US" dirty="0"/>
              <a:t>Journal perspectives on PLS (</a:t>
            </a:r>
            <a:r>
              <a:rPr lang="en-US" dirty="0" err="1"/>
              <a:t>ie</a:t>
            </a:r>
            <a:r>
              <a:rPr lang="en-US" dirty="0"/>
              <a:t>, value, accessibility, increased readership, </a:t>
            </a:r>
            <a:r>
              <a:rPr lang="en-US" dirty="0" err="1"/>
              <a:t>etc</a:t>
            </a:r>
            <a:r>
              <a:rPr lang="en-US" dirty="0"/>
              <a:t>) </a:t>
            </a:r>
          </a:p>
          <a:p>
            <a:r>
              <a:rPr lang="en-US" dirty="0"/>
              <a:t>Something else </a:t>
            </a:r>
          </a:p>
          <a:p>
            <a:pPr marL="0" indent="0">
              <a:buNone/>
            </a:pPr>
            <a:endParaRPr lang="en-US" dirty="0"/>
          </a:p>
        </p:txBody>
      </p:sp>
      <p:sp>
        <p:nvSpPr>
          <p:cNvPr id="2" name="Title 1">
            <a:extLst>
              <a:ext uri="{FF2B5EF4-FFF2-40B4-BE49-F238E27FC236}">
                <a16:creationId xmlns:a16="http://schemas.microsoft.com/office/drawing/2014/main" id="{8AE7DF0F-79EA-4C0E-A289-180B65798D45}"/>
              </a:ext>
            </a:extLst>
          </p:cNvPr>
          <p:cNvSpPr>
            <a:spLocks noGrp="1"/>
          </p:cNvSpPr>
          <p:nvPr>
            <p:ph type="title"/>
          </p:nvPr>
        </p:nvSpPr>
        <p:spPr>
          <a:xfrm>
            <a:off x="857250" y="122288"/>
            <a:ext cx="7462661" cy="941541"/>
          </a:xfrm>
        </p:spPr>
        <p:txBody>
          <a:bodyPr>
            <a:noAutofit/>
          </a:bodyPr>
          <a:lstStyle/>
          <a:p>
            <a:r>
              <a:rPr lang="en-US" sz="2400" dirty="0"/>
              <a:t>What do you want to know about Plain Language Summaries?</a:t>
            </a:r>
          </a:p>
        </p:txBody>
      </p:sp>
    </p:spTree>
    <p:extLst>
      <p:ext uri="{BB962C8B-B14F-4D97-AF65-F5344CB8AC3E}">
        <p14:creationId xmlns:p14="http://schemas.microsoft.com/office/powerpoint/2010/main" val="14577910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p:txBody>
          <a:bodyPr/>
          <a:lstStyle/>
          <a:p>
            <a:r>
              <a:rPr lang="en-US" dirty="0"/>
              <a:t>ISMPP PLS Perspectives Study</a:t>
            </a:r>
          </a:p>
        </p:txBody>
      </p:sp>
      <p:sp>
        <p:nvSpPr>
          <p:cNvPr id="6" name="Text Placeholder 5">
            <a:extLst>
              <a:ext uri="{FF2B5EF4-FFF2-40B4-BE49-F238E27FC236}">
                <a16:creationId xmlns:a16="http://schemas.microsoft.com/office/drawing/2014/main" id="{5992C889-06EC-4A3C-949B-CB79887518ED}"/>
              </a:ext>
            </a:extLst>
          </p:cNvPr>
          <p:cNvSpPr>
            <a:spLocks noGrp="1"/>
          </p:cNvSpPr>
          <p:nvPr>
            <p:ph type="body" idx="1"/>
          </p:nvPr>
        </p:nvSpPr>
        <p:spPr/>
        <p:txBody>
          <a:bodyPr>
            <a:normAutofit/>
          </a:bodyPr>
          <a:lstStyle/>
          <a:p>
            <a:pPr algn="r"/>
            <a:r>
              <a:rPr lang="en-US" dirty="0">
                <a:cs typeface="Arial" panose="020B0604020202020204" pitchFamily="34" charset="0"/>
              </a:rPr>
              <a:t>Dawn Lobban                                                Global Head, Patient Partnerships        Envision Pharma Group </a:t>
            </a:r>
          </a:p>
          <a:p>
            <a:pPr algn="r"/>
            <a:endParaRPr lang="en-US" sz="2000" dirty="0"/>
          </a:p>
          <a:p>
            <a:endParaRPr lang="en-US" dirty="0"/>
          </a:p>
        </p:txBody>
      </p:sp>
      <p:sp>
        <p:nvSpPr>
          <p:cNvPr id="4" name="TextBox 3">
            <a:extLst>
              <a:ext uri="{FF2B5EF4-FFF2-40B4-BE49-F238E27FC236}">
                <a16:creationId xmlns:a16="http://schemas.microsoft.com/office/drawing/2014/main" id="{AF3F962A-88D8-4A0D-9A49-AE86446AC937}"/>
              </a:ext>
            </a:extLst>
          </p:cNvPr>
          <p:cNvSpPr txBox="1"/>
          <p:nvPr/>
        </p:nvSpPr>
        <p:spPr>
          <a:xfrm>
            <a:off x="2904464" y="4461926"/>
            <a:ext cx="5266948" cy="50783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Franklin Gothic Book" panose="020B0503020102020204"/>
                <a:ea typeface="+mn-ea"/>
                <a:cs typeface="+mn-cs"/>
              </a:rPr>
              <a:t>Dawn Lobban, Jason Gardner and Rob Matheis </a:t>
            </a:r>
            <a:br>
              <a:rPr kumimoji="0" lang="en-GB" sz="900" b="0" i="0" u="none" strike="noStrike" kern="1200" cap="none" spc="0" normalizeH="0" baseline="0" noProof="0" dirty="0">
                <a:ln>
                  <a:noFill/>
                </a:ln>
                <a:solidFill>
                  <a:prstClr val="black"/>
                </a:solidFill>
                <a:effectLst/>
                <a:uLnTx/>
                <a:uFillTx/>
                <a:latin typeface="Franklin Gothic Book" panose="020B0503020102020204"/>
                <a:ea typeface="+mn-ea"/>
                <a:cs typeface="+mn-cs"/>
              </a:rPr>
            </a:br>
            <a:r>
              <a:rPr kumimoji="0" lang="en-GB" sz="900" b="0" i="0" u="none" strike="noStrike" kern="1200" cap="none" spc="0" normalizeH="0" baseline="0" noProof="0" dirty="0">
                <a:ln>
                  <a:noFill/>
                </a:ln>
                <a:solidFill>
                  <a:prstClr val="black"/>
                </a:solidFill>
                <a:effectLst/>
                <a:uLnTx/>
                <a:uFillTx/>
                <a:latin typeface="Franklin Gothic Book" panose="020B0503020102020204"/>
                <a:ea typeface="+mn-ea"/>
                <a:cs typeface="+mn-cs"/>
              </a:rPr>
              <a:t>on behalf of the ISMPP PLS perspectives Working Group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a:ln>
                  <a:noFill/>
                </a:ln>
                <a:solidFill>
                  <a:prstClr val="black"/>
                </a:solidFill>
                <a:effectLst/>
                <a:uLnTx/>
                <a:uFillTx/>
                <a:latin typeface="Franklin Gothic Book" panose="020B0503020102020204"/>
                <a:ea typeface="+mn-ea"/>
                <a:cs typeface="+mn-cs"/>
              </a:rPr>
              <a:t>Curr</a:t>
            </a:r>
            <a:r>
              <a:rPr kumimoji="0" lang="en-GB" sz="900" b="0" i="0" u="none" strike="noStrike" kern="1200" cap="none" spc="0" normalizeH="0" baseline="0" noProof="0" dirty="0">
                <a:ln>
                  <a:noFill/>
                </a:ln>
                <a:solidFill>
                  <a:prstClr val="black"/>
                </a:solidFill>
                <a:effectLst/>
                <a:uLnTx/>
                <a:uFillTx/>
                <a:latin typeface="Franklin Gothic Book" panose="020B0503020102020204"/>
                <a:ea typeface="+mn-ea"/>
                <a:cs typeface="+mn-cs"/>
              </a:rPr>
              <a:t> Med Res </a:t>
            </a:r>
            <a:r>
              <a:rPr kumimoji="0" lang="en-GB" sz="900" b="0" i="0" u="none" strike="noStrike" kern="1200" cap="none" spc="0" normalizeH="0" baseline="0" noProof="0" dirty="0" err="1">
                <a:ln>
                  <a:noFill/>
                </a:ln>
                <a:solidFill>
                  <a:prstClr val="black"/>
                </a:solidFill>
                <a:effectLst/>
                <a:uLnTx/>
                <a:uFillTx/>
                <a:latin typeface="Franklin Gothic Book" panose="020B0503020102020204"/>
                <a:ea typeface="+mn-ea"/>
                <a:cs typeface="+mn-cs"/>
              </a:rPr>
              <a:t>Opin</a:t>
            </a:r>
            <a:r>
              <a:rPr kumimoji="0" lang="en-GB" sz="900" b="0" i="0" u="none" strike="noStrike" kern="1200" cap="none" spc="0" normalizeH="0" baseline="0" noProof="0" dirty="0">
                <a:ln>
                  <a:noFill/>
                </a:ln>
                <a:solidFill>
                  <a:prstClr val="black"/>
                </a:solidFill>
                <a:effectLst/>
                <a:uLnTx/>
                <a:uFillTx/>
                <a:latin typeface="Franklin Gothic Book" panose="020B0503020102020204"/>
                <a:ea typeface="+mn-ea"/>
                <a:cs typeface="+mn-cs"/>
              </a:rPr>
              <a:t>. 2021. doi.org/10.1080/03007995.2021.1997221. </a:t>
            </a:r>
          </a:p>
        </p:txBody>
      </p:sp>
      <p:sp>
        <p:nvSpPr>
          <p:cNvPr id="2" name="Rectangle 1">
            <a:extLst>
              <a:ext uri="{FF2B5EF4-FFF2-40B4-BE49-F238E27FC236}">
                <a16:creationId xmlns:a16="http://schemas.microsoft.com/office/drawing/2014/main" id="{D5A80057-36AF-44EF-9A3B-360AFD7C92A6}"/>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chemeClr val="tx1"/>
                </a:solidFill>
                <a:effectLst/>
                <a:latin typeface="Arial" panose="020B0604020202020204" pitchFamily="34" charset="0"/>
                <a:ea typeface="Calibri" panose="020F0502020204030204" pitchFamily="34" charset="0"/>
              </a:rPr>
              <a:t>ISMPP PLS Perspectives Study’ </a:t>
            </a:r>
            <a:endParaRPr kumimoji="0" lang="en-GB" altLang="en-US" sz="1800" b="0" i="0" u="none" strike="noStrike" cap="none" normalizeH="0" baseline="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C0F73BD3-8720-4240-B80C-584B8DE9DBD9}"/>
              </a:ext>
            </a:extLst>
          </p:cNvPr>
          <p:cNvSpPr>
            <a:spLocks noChangeArrowheads="1"/>
          </p:cNvSpPr>
          <p:nvPr/>
        </p:nvSpPr>
        <p:spPr bwMode="auto">
          <a:xfrm>
            <a:off x="152400" y="1524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chemeClr val="tx1"/>
                </a:solidFill>
                <a:effectLst/>
                <a:latin typeface="Arial" panose="020B0604020202020204" pitchFamily="34" charset="0"/>
                <a:ea typeface="Calibri" panose="020F0502020204030204" pitchFamily="34" charset="0"/>
              </a:rPr>
              <a:t>ISMPP PLS Perspectives Study’ </a:t>
            </a:r>
            <a:endParaRPr kumimoji="0" lang="en-GB" altLang="en-US"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16463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762C33B-F1BD-4293-94BC-4454618318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9762C33B-F1BD-4293-94BC-4454618318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C82B7-C494-4057-9EE7-0F084AC83410}"/>
              </a:ext>
            </a:extLst>
          </p:cNvPr>
          <p:cNvSpPr>
            <a:spLocks noGrp="1"/>
          </p:cNvSpPr>
          <p:nvPr>
            <p:ph type="title"/>
          </p:nvPr>
        </p:nvSpPr>
        <p:spPr/>
        <p:txBody>
          <a:bodyPr/>
          <a:lstStyle/>
          <a:p>
            <a:r>
              <a:rPr lang="en-GB" dirty="0"/>
              <a:t>What were the objectives of the </a:t>
            </a:r>
            <a:br>
              <a:rPr lang="en-GB" dirty="0"/>
            </a:br>
            <a:r>
              <a:rPr lang="en-GB" dirty="0"/>
              <a:t>ISMPP PLS Perspectives Project?</a:t>
            </a:r>
          </a:p>
        </p:txBody>
      </p:sp>
      <p:sp>
        <p:nvSpPr>
          <p:cNvPr id="46" name="Text Placeholder 5">
            <a:extLst>
              <a:ext uri="{FF2B5EF4-FFF2-40B4-BE49-F238E27FC236}">
                <a16:creationId xmlns:a16="http://schemas.microsoft.com/office/drawing/2014/main" id="{08EC7059-3A6E-4466-883B-5A38F9F9E44C}"/>
              </a:ext>
            </a:extLst>
          </p:cNvPr>
          <p:cNvSpPr txBox="1">
            <a:spLocks/>
          </p:cNvSpPr>
          <p:nvPr/>
        </p:nvSpPr>
        <p:spPr bwMode="invGray">
          <a:xfrm>
            <a:off x="468804" y="1125566"/>
            <a:ext cx="7883431" cy="576000"/>
          </a:xfrm>
          <a:prstGeom prst="roundRect">
            <a:avLst>
              <a:gd name="adj" fmla="val 0"/>
            </a:avLst>
          </a:prstGeom>
          <a:solidFill>
            <a:schemeClr val="accent2">
              <a:lumMod val="20000"/>
              <a:lumOff val="80000"/>
            </a:schemeClr>
          </a:solidFill>
          <a:ln>
            <a:noFill/>
          </a:ln>
          <a:effectLst/>
        </p:spPr>
        <p:txBody>
          <a:bodyPr vert="horz" lIns="135000" tIns="45712" rIns="135000" bIns="45712" rtlCol="0" anchor="ctr">
            <a:noAutofit/>
          </a:bodyPr>
          <a:lstStyle>
            <a:lvl1pPr marL="0" indent="0" algn="ctr" defTabSz="1218987" rtl="0" eaLnBrk="1" latinLnBrk="0" hangingPunct="1">
              <a:lnSpc>
                <a:spcPct val="102857"/>
              </a:lnSpc>
              <a:spcBef>
                <a:spcPts val="0"/>
              </a:spcBef>
              <a:buClr>
                <a:schemeClr val="accent4"/>
              </a:buClr>
              <a:buSzPct val="100000"/>
              <a:buFont typeface="Arial" pitchFamily="34" charset="0"/>
              <a:buNone/>
              <a:defRPr lang="en-US" sz="2000" kern="1200" cap="all" spc="200" baseline="0" dirty="0" smtClean="0">
                <a:solidFill>
                  <a:schemeClr val="tx1"/>
                </a:solidFill>
                <a:latin typeface="+mn-lt"/>
                <a:ea typeface="+mn-ea"/>
                <a:cs typeface="+mn-cs"/>
              </a:defRPr>
            </a:lvl1pPr>
            <a:lvl2pPr marL="609493" indent="0" algn="l" defTabSz="1218987" rtl="0" eaLnBrk="1" latinLnBrk="0" hangingPunct="1">
              <a:lnSpc>
                <a:spcPct val="90000"/>
              </a:lnSpc>
              <a:spcBef>
                <a:spcPts val="600"/>
              </a:spcBef>
              <a:buClr>
                <a:schemeClr val="accent4"/>
              </a:buClr>
              <a:buSzPct val="100000"/>
              <a:buFont typeface="Calibri" panose="020F0502020204030204" pitchFamily="34" charset="0"/>
              <a:buNone/>
              <a:defRPr sz="2700" b="1" kern="1200">
                <a:solidFill>
                  <a:schemeClr val="tx1"/>
                </a:solidFill>
                <a:latin typeface="+mn-lt"/>
                <a:ea typeface="+mn-ea"/>
                <a:cs typeface="+mn-cs"/>
              </a:defRPr>
            </a:lvl2pPr>
            <a:lvl3pPr marL="1218987" indent="0" algn="l" defTabSz="1218987" rtl="0" eaLnBrk="1" latinLnBrk="0" hangingPunct="1">
              <a:lnSpc>
                <a:spcPct val="90000"/>
              </a:lnSpc>
              <a:spcBef>
                <a:spcPts val="600"/>
              </a:spcBef>
              <a:buClr>
                <a:schemeClr val="accent4"/>
              </a:buClr>
              <a:buSzPct val="100000"/>
              <a:buFont typeface="Wingdings" panose="05000000000000000000" pitchFamily="2" charset="2"/>
              <a:buNone/>
              <a:defRPr sz="2400" b="1" kern="1200">
                <a:solidFill>
                  <a:schemeClr val="tx1"/>
                </a:solidFill>
                <a:latin typeface="+mn-lt"/>
                <a:ea typeface="+mn-ea"/>
                <a:cs typeface="+mn-cs"/>
              </a:defRPr>
            </a:lvl3pPr>
            <a:lvl4pPr marL="1828480" indent="0" algn="l" defTabSz="1218987" rtl="0" eaLnBrk="1" latinLnBrk="0" hangingPunct="1">
              <a:lnSpc>
                <a:spcPct val="90000"/>
              </a:lnSpc>
              <a:spcBef>
                <a:spcPts val="400"/>
              </a:spcBef>
              <a:buClr>
                <a:schemeClr val="accent4"/>
              </a:buClr>
              <a:buSzPct val="100000"/>
              <a:buFont typeface="Calibri" panose="020F0502020204030204" pitchFamily="34" charset="0"/>
              <a:buNone/>
              <a:defRPr sz="2100" b="1" kern="1200">
                <a:solidFill>
                  <a:schemeClr val="tx1"/>
                </a:solidFill>
                <a:latin typeface="+mn-lt"/>
                <a:ea typeface="+mn-ea"/>
                <a:cs typeface="+mn-cs"/>
              </a:defRPr>
            </a:lvl4pPr>
            <a:lvl5pPr marL="2437973" indent="0" algn="l" defTabSz="1218987" rtl="0" eaLnBrk="1" latinLnBrk="0" hangingPunct="1">
              <a:lnSpc>
                <a:spcPct val="90000"/>
              </a:lnSpc>
              <a:spcBef>
                <a:spcPts val="400"/>
              </a:spcBef>
              <a:buClr>
                <a:schemeClr val="accent4"/>
              </a:buClr>
              <a:buSzPct val="100000"/>
              <a:buFont typeface="Arial" pitchFamily="34" charset="0"/>
              <a:buNone/>
              <a:defRPr sz="2100" b="1" kern="1200">
                <a:solidFill>
                  <a:schemeClr val="tx1"/>
                </a:solidFill>
                <a:latin typeface="+mn-lt"/>
                <a:ea typeface="+mn-ea"/>
                <a:cs typeface="+mn-cs"/>
              </a:defRPr>
            </a:lvl5pPr>
            <a:lvl6pPr marL="3047467" indent="0" algn="l" defTabSz="1218987" rtl="0" eaLnBrk="1" latinLnBrk="0" hangingPunct="1">
              <a:lnSpc>
                <a:spcPct val="90000"/>
              </a:lnSpc>
              <a:spcBef>
                <a:spcPts val="800"/>
              </a:spcBef>
              <a:buClr>
                <a:schemeClr val="accent1"/>
              </a:buClr>
              <a:buSzPct val="80000"/>
              <a:buFont typeface="Arial" pitchFamily="34" charset="0"/>
              <a:buNone/>
              <a:defRPr sz="2100" b="1" kern="1200">
                <a:solidFill>
                  <a:schemeClr val="tx1"/>
                </a:solidFill>
                <a:latin typeface="+mn-lt"/>
                <a:ea typeface="+mn-ea"/>
                <a:cs typeface="+mn-cs"/>
              </a:defRPr>
            </a:lvl6pPr>
            <a:lvl7pPr marL="3656960" indent="0" algn="l" defTabSz="1218987" rtl="0" eaLnBrk="1" latinLnBrk="0" hangingPunct="1">
              <a:lnSpc>
                <a:spcPct val="90000"/>
              </a:lnSpc>
              <a:spcBef>
                <a:spcPts val="800"/>
              </a:spcBef>
              <a:buClr>
                <a:schemeClr val="accent1"/>
              </a:buClr>
              <a:buSzPct val="80000"/>
              <a:buFont typeface="Arial" pitchFamily="34" charset="0"/>
              <a:buNone/>
              <a:defRPr sz="2100" b="1" kern="1200">
                <a:solidFill>
                  <a:schemeClr val="tx1"/>
                </a:solidFill>
                <a:latin typeface="+mn-lt"/>
                <a:ea typeface="+mn-ea"/>
                <a:cs typeface="+mn-cs"/>
              </a:defRPr>
            </a:lvl7pPr>
            <a:lvl8pPr marL="4266453" indent="0" algn="l" defTabSz="1218987" rtl="0" eaLnBrk="1" latinLnBrk="0" hangingPunct="1">
              <a:lnSpc>
                <a:spcPct val="90000"/>
              </a:lnSpc>
              <a:spcBef>
                <a:spcPts val="800"/>
              </a:spcBef>
              <a:buClr>
                <a:schemeClr val="accent1"/>
              </a:buClr>
              <a:buSzPct val="80000"/>
              <a:buFont typeface="Arial" pitchFamily="34" charset="0"/>
              <a:buNone/>
              <a:defRPr sz="2100" b="1" kern="1200" baseline="0">
                <a:solidFill>
                  <a:schemeClr val="tx1"/>
                </a:solidFill>
                <a:latin typeface="+mn-lt"/>
                <a:ea typeface="+mn-ea"/>
                <a:cs typeface="+mn-cs"/>
              </a:defRPr>
            </a:lvl8pPr>
            <a:lvl9pPr marL="4875947" indent="0" algn="l" defTabSz="1218987" rtl="0" eaLnBrk="1" latinLnBrk="0" hangingPunct="1">
              <a:lnSpc>
                <a:spcPct val="90000"/>
              </a:lnSpc>
              <a:spcBef>
                <a:spcPts val="800"/>
              </a:spcBef>
              <a:buClr>
                <a:schemeClr val="accent1"/>
              </a:buClr>
              <a:buSzPct val="80000"/>
              <a:buFont typeface="Arial" pitchFamily="34" charset="0"/>
              <a:buNone/>
              <a:defRPr sz="2100" b="1" kern="1200" baseline="0">
                <a:solidFill>
                  <a:schemeClr val="tx1"/>
                </a:solidFill>
                <a:latin typeface="+mn-lt"/>
                <a:ea typeface="+mn-ea"/>
                <a:cs typeface="+mn-cs"/>
              </a:defRPr>
            </a:lvl9pPr>
          </a:lstStyle>
          <a:p>
            <a:pPr marL="0" marR="0" lvl="0" indent="0" algn="ctr" defTabSz="1218987" rtl="0" eaLnBrk="1" fontAlgn="auto" latinLnBrk="0" hangingPunct="1">
              <a:lnSpc>
                <a:spcPct val="100000"/>
              </a:lnSpc>
              <a:spcBef>
                <a:spcPts val="450"/>
              </a:spcBef>
              <a:spcAft>
                <a:spcPts val="450"/>
              </a:spcAft>
              <a:buClrTx/>
              <a:buSzPct val="100000"/>
              <a:buFont typeface="Arial" pitchFamily="34" charset="0"/>
              <a:buNone/>
              <a:tabLst/>
              <a:defRPr/>
            </a:pPr>
            <a:r>
              <a:rPr kumimoji="0" lang="en-GB" sz="1400" b="0" i="0" u="none" strike="noStrike" kern="1200" cap="none" spc="0" normalizeH="0" baseline="0" noProof="0" dirty="0">
                <a:ln>
                  <a:noFill/>
                </a:ln>
                <a:solidFill>
                  <a:srgbClr val="000000">
                    <a:lumMod val="85000"/>
                    <a:lumOff val="15000"/>
                  </a:srgbClr>
                </a:solidFill>
                <a:effectLst/>
                <a:uLnTx/>
                <a:uFillTx/>
                <a:latin typeface="Franklin Gothic Book" panose="020B0503020102020204"/>
                <a:ea typeface="+mn-ea"/>
                <a:cs typeface="Calibri" panose="020F0502020204030204" pitchFamily="34" charset="0"/>
              </a:rPr>
              <a:t>To provide multi-stakeholder perspectives on the key issues relating to publication PLS </a:t>
            </a:r>
            <a:br>
              <a:rPr kumimoji="0" lang="en-GB" sz="1400" b="0" i="0" u="none" strike="noStrike" kern="1200" cap="none" spc="0" normalizeH="0" baseline="0" noProof="0" dirty="0">
                <a:ln>
                  <a:noFill/>
                </a:ln>
                <a:solidFill>
                  <a:srgbClr val="000000">
                    <a:lumMod val="85000"/>
                    <a:lumOff val="15000"/>
                  </a:srgbClr>
                </a:solidFill>
                <a:effectLst/>
                <a:uLnTx/>
                <a:uFillTx/>
                <a:latin typeface="Franklin Gothic Book" panose="020B0503020102020204"/>
                <a:ea typeface="+mn-ea"/>
                <a:cs typeface="Calibri" panose="020F0502020204030204" pitchFamily="34" charset="0"/>
              </a:rPr>
            </a:br>
            <a:r>
              <a:rPr kumimoji="0" lang="en-GB" sz="1400" b="0" i="0" u="none" strike="noStrike" kern="1200" cap="none" spc="0" normalizeH="0" baseline="0" noProof="0" dirty="0">
                <a:ln>
                  <a:noFill/>
                </a:ln>
                <a:solidFill>
                  <a:srgbClr val="000000">
                    <a:lumMod val="85000"/>
                    <a:lumOff val="15000"/>
                  </a:srgbClr>
                </a:solidFill>
                <a:effectLst/>
                <a:uLnTx/>
                <a:uFillTx/>
                <a:latin typeface="Franklin Gothic Book" panose="020B0503020102020204"/>
                <a:ea typeface="+mn-ea"/>
                <a:cs typeface="Calibri" panose="020F0502020204030204" pitchFamily="34" charset="0"/>
              </a:rPr>
              <a:t>of company-sponsored medical research</a:t>
            </a:r>
          </a:p>
        </p:txBody>
      </p:sp>
      <p:sp>
        <p:nvSpPr>
          <p:cNvPr id="47" name="Rectangle: Rounded Corners 46">
            <a:extLst>
              <a:ext uri="{FF2B5EF4-FFF2-40B4-BE49-F238E27FC236}">
                <a16:creationId xmlns:a16="http://schemas.microsoft.com/office/drawing/2014/main" id="{8A81FD1A-164D-4319-831B-43B84B15C412}"/>
              </a:ext>
            </a:extLst>
          </p:cNvPr>
          <p:cNvSpPr/>
          <p:nvPr/>
        </p:nvSpPr>
        <p:spPr>
          <a:xfrm>
            <a:off x="468804" y="2724409"/>
            <a:ext cx="2468627" cy="1135028"/>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351000" rIns="27000" rtlCol="0" anchor="t"/>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Franklin Gothic Book" panose="020B0503020102020204"/>
                <a:ea typeface="+mn-ea"/>
                <a:cs typeface="Calibri" panose="020F0502020204030204" pitchFamily="34" charset="0"/>
              </a:rPr>
              <a:t>Publish an evidence-based  paper that provides perspectives</a:t>
            </a:r>
          </a:p>
        </p:txBody>
      </p:sp>
      <p:sp>
        <p:nvSpPr>
          <p:cNvPr id="48" name="Rectangle: Rounded Corners 47">
            <a:extLst>
              <a:ext uri="{FF2B5EF4-FFF2-40B4-BE49-F238E27FC236}">
                <a16:creationId xmlns:a16="http://schemas.microsoft.com/office/drawing/2014/main" id="{CB80824F-18D7-4EC0-88EA-9F932DF4A8DB}"/>
              </a:ext>
            </a:extLst>
          </p:cNvPr>
          <p:cNvSpPr/>
          <p:nvPr/>
        </p:nvSpPr>
        <p:spPr>
          <a:xfrm>
            <a:off x="3180307" y="2724409"/>
            <a:ext cx="2468627" cy="1135028"/>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351000" rIns="27000" rtlCol="0" anchor="t"/>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Franklin Gothic Book" panose="020B0503020102020204"/>
                <a:ea typeface="+mn-ea"/>
                <a:cs typeface="Calibri" panose="020F0502020204030204" pitchFamily="34" charset="0"/>
              </a:rPr>
              <a:t>Robust, prospective methodology</a:t>
            </a:r>
          </a:p>
        </p:txBody>
      </p:sp>
      <p:sp>
        <p:nvSpPr>
          <p:cNvPr id="49" name="Rectangle: Rounded Corners 48">
            <a:extLst>
              <a:ext uri="{FF2B5EF4-FFF2-40B4-BE49-F238E27FC236}">
                <a16:creationId xmlns:a16="http://schemas.microsoft.com/office/drawing/2014/main" id="{E6F06359-D7C7-4261-B35D-DBE8DF55E214}"/>
              </a:ext>
            </a:extLst>
          </p:cNvPr>
          <p:cNvSpPr/>
          <p:nvPr/>
        </p:nvSpPr>
        <p:spPr>
          <a:xfrm>
            <a:off x="5883608" y="2724409"/>
            <a:ext cx="2468627" cy="1135028"/>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351000" rIns="27000" rtlCol="0" anchor="t"/>
          <a:lstStyle/>
          <a:p>
            <a:pPr marL="0" marR="0" lvl="0" indent="0" algn="ctr" defTabSz="914240" rtl="0" eaLnBrk="1" fontAlgn="auto" latinLnBrk="0" hangingPunct="1">
              <a:lnSpc>
                <a:spcPct val="100000"/>
              </a:lnSpc>
              <a:spcBef>
                <a:spcPts val="0"/>
              </a:spcBef>
              <a:spcAft>
                <a:spcPts val="45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Franklin Gothic Book" panose="020B0503020102020204"/>
                <a:ea typeface="+mn-ea"/>
                <a:cs typeface="Calibri" panose="020F0502020204030204" pitchFamily="34" charset="0"/>
              </a:rPr>
              <a:t>Endorsed and promoted by ISMPP</a:t>
            </a:r>
          </a:p>
        </p:txBody>
      </p:sp>
      <p:sp>
        <p:nvSpPr>
          <p:cNvPr id="50" name="Oval 49">
            <a:extLst>
              <a:ext uri="{FF2B5EF4-FFF2-40B4-BE49-F238E27FC236}">
                <a16:creationId xmlns:a16="http://schemas.microsoft.com/office/drawing/2014/main" id="{1B651AB1-4867-453B-83F7-D76069002FC2}"/>
              </a:ext>
            </a:extLst>
          </p:cNvPr>
          <p:cNvSpPr/>
          <p:nvPr/>
        </p:nvSpPr>
        <p:spPr>
          <a:xfrm>
            <a:off x="1392311" y="2455212"/>
            <a:ext cx="621611" cy="62161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endParaRPr kumimoji="0" lang="en-GB" sz="21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51" name="Oval 50">
            <a:extLst>
              <a:ext uri="{FF2B5EF4-FFF2-40B4-BE49-F238E27FC236}">
                <a16:creationId xmlns:a16="http://schemas.microsoft.com/office/drawing/2014/main" id="{A18BC13B-60A1-437F-B040-321255638395}"/>
              </a:ext>
            </a:extLst>
          </p:cNvPr>
          <p:cNvSpPr/>
          <p:nvPr/>
        </p:nvSpPr>
        <p:spPr>
          <a:xfrm>
            <a:off x="4103814" y="2455212"/>
            <a:ext cx="621611" cy="62161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endParaRPr kumimoji="0" lang="en-GB" sz="21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52" name="Oval 51">
            <a:extLst>
              <a:ext uri="{FF2B5EF4-FFF2-40B4-BE49-F238E27FC236}">
                <a16:creationId xmlns:a16="http://schemas.microsoft.com/office/drawing/2014/main" id="{D9C39F1D-BFFA-45AA-AFFA-CF057FB24E46}"/>
              </a:ext>
            </a:extLst>
          </p:cNvPr>
          <p:cNvSpPr/>
          <p:nvPr/>
        </p:nvSpPr>
        <p:spPr>
          <a:xfrm>
            <a:off x="6778835" y="2455212"/>
            <a:ext cx="621611" cy="621610"/>
          </a:xfrm>
          <a:prstGeom prst="ellipse">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endParaRPr kumimoji="0" lang="en-GB" sz="21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grpSp>
        <p:nvGrpSpPr>
          <p:cNvPr id="53" name="Graphic 17">
            <a:extLst>
              <a:ext uri="{FF2B5EF4-FFF2-40B4-BE49-F238E27FC236}">
                <a16:creationId xmlns:a16="http://schemas.microsoft.com/office/drawing/2014/main" id="{30C3A46C-6D17-4B42-A9DD-0A739C0506B7}"/>
              </a:ext>
            </a:extLst>
          </p:cNvPr>
          <p:cNvGrpSpPr/>
          <p:nvPr/>
        </p:nvGrpSpPr>
        <p:grpSpPr>
          <a:xfrm>
            <a:off x="1580416" y="2600329"/>
            <a:ext cx="245401" cy="306752"/>
            <a:chOff x="5939631" y="3236119"/>
            <a:chExt cx="304800" cy="381000"/>
          </a:xfrm>
          <a:noFill/>
        </p:grpSpPr>
        <p:sp>
          <p:nvSpPr>
            <p:cNvPr id="54" name="Freeform: Shape 53">
              <a:extLst>
                <a:ext uri="{FF2B5EF4-FFF2-40B4-BE49-F238E27FC236}">
                  <a16:creationId xmlns:a16="http://schemas.microsoft.com/office/drawing/2014/main" id="{5053FAE4-C1EA-4247-8D23-97FDB8A08A9D}"/>
                </a:ext>
              </a:extLst>
            </p:cNvPr>
            <p:cNvSpPr/>
            <p:nvPr/>
          </p:nvSpPr>
          <p:spPr>
            <a:xfrm>
              <a:off x="5939631" y="3275076"/>
              <a:ext cx="266700" cy="342900"/>
            </a:xfrm>
            <a:custGeom>
              <a:avLst/>
              <a:gdLst>
                <a:gd name="connsiteX0" fmla="*/ 272701 w 266700"/>
                <a:gd name="connsiteY0" fmla="*/ 350615 h 342900"/>
                <a:gd name="connsiteX1" fmla="*/ 0 w 266700"/>
                <a:gd name="connsiteY1" fmla="*/ 350615 h 342900"/>
                <a:gd name="connsiteX2" fmla="*/ 0 w 266700"/>
                <a:gd name="connsiteY2" fmla="*/ 0 h 342900"/>
                <a:gd name="connsiteX3" fmla="*/ 194786 w 266700"/>
                <a:gd name="connsiteY3" fmla="*/ 0 h 342900"/>
                <a:gd name="connsiteX4" fmla="*/ 233744 w 266700"/>
                <a:gd name="connsiteY4" fmla="*/ 38957 h 342900"/>
                <a:gd name="connsiteX5" fmla="*/ 272701 w 266700"/>
                <a:gd name="connsiteY5" fmla="*/ 77915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00" h="342900">
                  <a:moveTo>
                    <a:pt x="272701" y="350615"/>
                  </a:moveTo>
                  <a:lnTo>
                    <a:pt x="0" y="350615"/>
                  </a:lnTo>
                  <a:lnTo>
                    <a:pt x="0" y="0"/>
                  </a:lnTo>
                  <a:lnTo>
                    <a:pt x="194786" y="0"/>
                  </a:lnTo>
                  <a:lnTo>
                    <a:pt x="233744" y="38957"/>
                  </a:lnTo>
                  <a:lnTo>
                    <a:pt x="272701" y="77915"/>
                  </a:lnTo>
                  <a:close/>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55" name="Freeform: Shape 54">
              <a:extLst>
                <a:ext uri="{FF2B5EF4-FFF2-40B4-BE49-F238E27FC236}">
                  <a16:creationId xmlns:a16="http://schemas.microsoft.com/office/drawing/2014/main" id="{9DFB9CC2-593C-4A7C-80B7-E1B493246928}"/>
                </a:ext>
              </a:extLst>
            </p:cNvPr>
            <p:cNvSpPr/>
            <p:nvPr/>
          </p:nvSpPr>
          <p:spPr>
            <a:xfrm>
              <a:off x="6134417" y="3275076"/>
              <a:ext cx="76200" cy="76200"/>
            </a:xfrm>
            <a:custGeom>
              <a:avLst/>
              <a:gdLst>
                <a:gd name="connsiteX0" fmla="*/ 0 w 76200"/>
                <a:gd name="connsiteY0" fmla="*/ 77915 h 76200"/>
                <a:gd name="connsiteX1" fmla="*/ 0 w 76200"/>
                <a:gd name="connsiteY1" fmla="*/ 0 h 76200"/>
                <a:gd name="connsiteX2" fmla="*/ 77914 w 76200"/>
                <a:gd name="connsiteY2" fmla="*/ 77915 h 76200"/>
              </a:gdLst>
              <a:ahLst/>
              <a:cxnLst>
                <a:cxn ang="0">
                  <a:pos x="connsiteX0" y="connsiteY0"/>
                </a:cxn>
                <a:cxn ang="0">
                  <a:pos x="connsiteX1" y="connsiteY1"/>
                </a:cxn>
                <a:cxn ang="0">
                  <a:pos x="connsiteX2" y="connsiteY2"/>
                </a:cxn>
              </a:cxnLst>
              <a:rect l="l" t="t" r="r" b="b"/>
              <a:pathLst>
                <a:path w="76200" h="76200">
                  <a:moveTo>
                    <a:pt x="0" y="77915"/>
                  </a:moveTo>
                  <a:lnTo>
                    <a:pt x="0" y="0"/>
                  </a:lnTo>
                  <a:lnTo>
                    <a:pt x="77914" y="77915"/>
                  </a:lnTo>
                  <a:close/>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56" name="Freeform: Shape 55">
              <a:extLst>
                <a:ext uri="{FF2B5EF4-FFF2-40B4-BE49-F238E27FC236}">
                  <a16:creationId xmlns:a16="http://schemas.microsoft.com/office/drawing/2014/main" id="{D734046A-3512-41D1-B528-9B3D1FC3BF6C}"/>
                </a:ext>
              </a:extLst>
            </p:cNvPr>
            <p:cNvSpPr/>
            <p:nvPr/>
          </p:nvSpPr>
          <p:spPr>
            <a:xfrm>
              <a:off x="5978588" y="3236119"/>
              <a:ext cx="266700" cy="342900"/>
            </a:xfrm>
            <a:custGeom>
              <a:avLst/>
              <a:gdLst>
                <a:gd name="connsiteX0" fmla="*/ 0 w 266700"/>
                <a:gd name="connsiteY0" fmla="*/ 38957 h 342900"/>
                <a:gd name="connsiteX1" fmla="*/ 0 w 266700"/>
                <a:gd name="connsiteY1" fmla="*/ 0 h 342900"/>
                <a:gd name="connsiteX2" fmla="*/ 272701 w 266700"/>
                <a:gd name="connsiteY2" fmla="*/ 0 h 342900"/>
                <a:gd name="connsiteX3" fmla="*/ 272701 w 266700"/>
                <a:gd name="connsiteY3" fmla="*/ 350615 h 342900"/>
                <a:gd name="connsiteX4" fmla="*/ 233743 w 266700"/>
                <a:gd name="connsiteY4" fmla="*/ 350615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00" h="342900">
                  <a:moveTo>
                    <a:pt x="0" y="38957"/>
                  </a:moveTo>
                  <a:lnTo>
                    <a:pt x="0" y="0"/>
                  </a:lnTo>
                  <a:lnTo>
                    <a:pt x="272701" y="0"/>
                  </a:lnTo>
                  <a:lnTo>
                    <a:pt x="272701" y="350615"/>
                  </a:lnTo>
                  <a:lnTo>
                    <a:pt x="233743" y="350615"/>
                  </a:lnTo>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grpSp>
      <p:grpSp>
        <p:nvGrpSpPr>
          <p:cNvPr id="57" name="Graphic 22">
            <a:extLst>
              <a:ext uri="{FF2B5EF4-FFF2-40B4-BE49-F238E27FC236}">
                <a16:creationId xmlns:a16="http://schemas.microsoft.com/office/drawing/2014/main" id="{CF821718-36D7-483E-B2C4-79F536F720E9}"/>
              </a:ext>
            </a:extLst>
          </p:cNvPr>
          <p:cNvGrpSpPr/>
          <p:nvPr/>
        </p:nvGrpSpPr>
        <p:grpSpPr>
          <a:xfrm>
            <a:off x="4222377" y="2624147"/>
            <a:ext cx="370074" cy="294376"/>
            <a:chOff x="5670549" y="3095625"/>
            <a:chExt cx="838200" cy="666750"/>
          </a:xfrm>
          <a:noFill/>
        </p:grpSpPr>
        <p:sp>
          <p:nvSpPr>
            <p:cNvPr id="58" name="Freeform: Shape 57">
              <a:extLst>
                <a:ext uri="{FF2B5EF4-FFF2-40B4-BE49-F238E27FC236}">
                  <a16:creationId xmlns:a16="http://schemas.microsoft.com/office/drawing/2014/main" id="{146D2E74-8C71-49C8-9805-55684BCE8DA0}"/>
                </a:ext>
              </a:extLst>
            </p:cNvPr>
            <p:cNvSpPr/>
            <p:nvPr/>
          </p:nvSpPr>
          <p:spPr>
            <a:xfrm>
              <a:off x="5670549" y="3095625"/>
              <a:ext cx="400050" cy="485775"/>
            </a:xfrm>
            <a:custGeom>
              <a:avLst/>
              <a:gdLst>
                <a:gd name="connsiteX0" fmla="*/ 287465 w 400050"/>
                <a:gd name="connsiteY0" fmla="*/ 408432 h 485775"/>
                <a:gd name="connsiteX1" fmla="*/ 320040 w 400050"/>
                <a:gd name="connsiteY1" fmla="*/ 152400 h 485775"/>
                <a:gd name="connsiteX2" fmla="*/ 323279 w 400050"/>
                <a:gd name="connsiteY2" fmla="*/ 146018 h 485775"/>
                <a:gd name="connsiteX3" fmla="*/ 337375 w 400050"/>
                <a:gd name="connsiteY3" fmla="*/ 125540 h 485775"/>
                <a:gd name="connsiteX4" fmla="*/ 400241 w 400050"/>
                <a:gd name="connsiteY4" fmla="*/ 86963 h 485775"/>
                <a:gd name="connsiteX5" fmla="*/ 383476 w 400050"/>
                <a:gd name="connsiteY5" fmla="*/ 54293 h 485775"/>
                <a:gd name="connsiteX6" fmla="*/ 356425 w 400050"/>
                <a:gd name="connsiteY6" fmla="*/ 34671 h 485775"/>
                <a:gd name="connsiteX7" fmla="*/ 363950 w 400050"/>
                <a:gd name="connsiteY7" fmla="*/ 34671 h 485775"/>
                <a:gd name="connsiteX8" fmla="*/ 281273 w 400050"/>
                <a:gd name="connsiteY8" fmla="*/ 15050 h 485775"/>
                <a:gd name="connsiteX9" fmla="*/ 284321 w 400050"/>
                <a:gd name="connsiteY9" fmla="*/ 7525 h 485775"/>
                <a:gd name="connsiteX10" fmla="*/ 260223 w 400050"/>
                <a:gd name="connsiteY10" fmla="*/ 13621 h 485775"/>
                <a:gd name="connsiteX11" fmla="*/ 261747 w 400050"/>
                <a:gd name="connsiteY11" fmla="*/ 0 h 485775"/>
                <a:gd name="connsiteX12" fmla="*/ 248222 w 400050"/>
                <a:gd name="connsiteY12" fmla="*/ 19622 h 485775"/>
                <a:gd name="connsiteX13" fmla="*/ 176117 w 400050"/>
                <a:gd name="connsiteY13" fmla="*/ 54388 h 485775"/>
                <a:gd name="connsiteX14" fmla="*/ 155067 w 400050"/>
                <a:gd name="connsiteY14" fmla="*/ 161544 h 485775"/>
                <a:gd name="connsiteX15" fmla="*/ 167069 w 400050"/>
                <a:gd name="connsiteY15" fmla="*/ 218885 h 485775"/>
                <a:gd name="connsiteX16" fmla="*/ 179070 w 400050"/>
                <a:gd name="connsiteY16" fmla="*/ 256604 h 485775"/>
                <a:gd name="connsiteX17" fmla="*/ 205169 w 400050"/>
                <a:gd name="connsiteY17" fmla="*/ 323469 h 485775"/>
                <a:gd name="connsiteX18" fmla="*/ 194119 w 400050"/>
                <a:gd name="connsiteY18" fmla="*/ 359950 h 485775"/>
                <a:gd name="connsiteX19" fmla="*/ 194119 w 400050"/>
                <a:gd name="connsiteY19" fmla="*/ 358426 h 485775"/>
                <a:gd name="connsiteX20" fmla="*/ 158115 w 400050"/>
                <a:gd name="connsiteY20" fmla="*/ 372047 h 485775"/>
                <a:gd name="connsiteX21" fmla="*/ 7906 w 400050"/>
                <a:gd name="connsiteY21" fmla="*/ 447485 h 485775"/>
                <a:gd name="connsiteX22" fmla="*/ 0 w 400050"/>
                <a:gd name="connsiteY22" fmla="*/ 493300 h 485775"/>
                <a:gd name="connsiteX23" fmla="*/ 343567 w 400050"/>
                <a:gd name="connsiteY23" fmla="*/ 493300 h 485775"/>
                <a:gd name="connsiteX24" fmla="*/ 287465 w 400050"/>
                <a:gd name="connsiteY24" fmla="*/ 408432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0050" h="485775">
                  <a:moveTo>
                    <a:pt x="287465" y="408432"/>
                  </a:moveTo>
                  <a:cubicBezTo>
                    <a:pt x="286988" y="400336"/>
                    <a:pt x="278225" y="236696"/>
                    <a:pt x="320040" y="152400"/>
                  </a:cubicBezTo>
                  <a:lnTo>
                    <a:pt x="323279" y="146018"/>
                  </a:lnTo>
                  <a:cubicBezTo>
                    <a:pt x="326898" y="138779"/>
                    <a:pt x="330613" y="131255"/>
                    <a:pt x="337375" y="125540"/>
                  </a:cubicBezTo>
                  <a:cubicBezTo>
                    <a:pt x="353663" y="107156"/>
                    <a:pt x="375095" y="94107"/>
                    <a:pt x="400241" y="86963"/>
                  </a:cubicBezTo>
                  <a:cubicBezTo>
                    <a:pt x="396621" y="74390"/>
                    <a:pt x="391382" y="62675"/>
                    <a:pt x="383476" y="54293"/>
                  </a:cubicBezTo>
                  <a:cubicBezTo>
                    <a:pt x="375952" y="46768"/>
                    <a:pt x="366903" y="40672"/>
                    <a:pt x="356425" y="34671"/>
                  </a:cubicBezTo>
                  <a:cubicBezTo>
                    <a:pt x="359474" y="34671"/>
                    <a:pt x="360902" y="34671"/>
                    <a:pt x="363950" y="34671"/>
                  </a:cubicBezTo>
                  <a:cubicBezTo>
                    <a:pt x="329375" y="10573"/>
                    <a:pt x="293370" y="13526"/>
                    <a:pt x="281273" y="15050"/>
                  </a:cubicBezTo>
                  <a:cubicBezTo>
                    <a:pt x="279749" y="12002"/>
                    <a:pt x="281273" y="9049"/>
                    <a:pt x="284321" y="7525"/>
                  </a:cubicBezTo>
                  <a:cubicBezTo>
                    <a:pt x="276797" y="6001"/>
                    <a:pt x="267748" y="7525"/>
                    <a:pt x="260223" y="13621"/>
                  </a:cubicBezTo>
                  <a:cubicBezTo>
                    <a:pt x="257175" y="12097"/>
                    <a:pt x="258699" y="1524"/>
                    <a:pt x="261747" y="0"/>
                  </a:cubicBezTo>
                  <a:cubicBezTo>
                    <a:pt x="252698" y="1524"/>
                    <a:pt x="246698" y="12097"/>
                    <a:pt x="248222" y="19622"/>
                  </a:cubicBezTo>
                  <a:cubicBezTo>
                    <a:pt x="216694" y="24098"/>
                    <a:pt x="192596" y="37719"/>
                    <a:pt x="176117" y="54388"/>
                  </a:cubicBezTo>
                  <a:cubicBezTo>
                    <a:pt x="147542" y="83058"/>
                    <a:pt x="150590" y="149447"/>
                    <a:pt x="155067" y="161544"/>
                  </a:cubicBezTo>
                  <a:cubicBezTo>
                    <a:pt x="140018" y="161544"/>
                    <a:pt x="165544" y="218885"/>
                    <a:pt x="167069" y="218885"/>
                  </a:cubicBezTo>
                  <a:cubicBezTo>
                    <a:pt x="168593" y="230981"/>
                    <a:pt x="178689" y="255175"/>
                    <a:pt x="179070" y="256604"/>
                  </a:cubicBezTo>
                  <a:cubicBezTo>
                    <a:pt x="185928" y="283750"/>
                    <a:pt x="194881" y="305848"/>
                    <a:pt x="205169" y="323469"/>
                  </a:cubicBezTo>
                  <a:cubicBezTo>
                    <a:pt x="200787" y="345948"/>
                    <a:pt x="194119" y="359950"/>
                    <a:pt x="194119" y="359950"/>
                  </a:cubicBezTo>
                  <a:cubicBezTo>
                    <a:pt x="194119" y="358426"/>
                    <a:pt x="194119" y="358426"/>
                    <a:pt x="194119" y="358426"/>
                  </a:cubicBezTo>
                  <a:cubicBezTo>
                    <a:pt x="182118" y="368999"/>
                    <a:pt x="162592" y="372047"/>
                    <a:pt x="158115" y="372047"/>
                  </a:cubicBezTo>
                  <a:cubicBezTo>
                    <a:pt x="86011" y="382619"/>
                    <a:pt x="22860" y="409766"/>
                    <a:pt x="7906" y="447485"/>
                  </a:cubicBezTo>
                  <a:cubicBezTo>
                    <a:pt x="3334" y="458629"/>
                    <a:pt x="1048" y="475298"/>
                    <a:pt x="0" y="493300"/>
                  </a:cubicBezTo>
                  <a:lnTo>
                    <a:pt x="343567" y="493300"/>
                  </a:lnTo>
                  <a:cubicBezTo>
                    <a:pt x="322040" y="480250"/>
                    <a:pt x="294418" y="454914"/>
                    <a:pt x="287465" y="408432"/>
                  </a:cubicBezTo>
                  <a:close/>
                </a:path>
              </a:pathLst>
            </a:custGeom>
            <a:grp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59" name="Freeform: Shape 58">
              <a:extLst>
                <a:ext uri="{FF2B5EF4-FFF2-40B4-BE49-F238E27FC236}">
                  <a16:creationId xmlns:a16="http://schemas.microsoft.com/office/drawing/2014/main" id="{DF8A7852-CFBE-4566-A1B6-9A9D1FCA4FA6}"/>
                </a:ext>
              </a:extLst>
            </p:cNvPr>
            <p:cNvSpPr/>
            <p:nvPr/>
          </p:nvSpPr>
          <p:spPr>
            <a:xfrm>
              <a:off x="6185947" y="3107787"/>
              <a:ext cx="323850" cy="476250"/>
            </a:xfrm>
            <a:custGeom>
              <a:avLst/>
              <a:gdLst>
                <a:gd name="connsiteX0" fmla="*/ 321469 w 323850"/>
                <a:gd name="connsiteY0" fmla="*/ 376458 h 476250"/>
                <a:gd name="connsiteX1" fmla="*/ 211741 w 323850"/>
                <a:gd name="connsiteY1" fmla="*/ 321879 h 476250"/>
                <a:gd name="connsiteX2" fmla="*/ 185166 w 323850"/>
                <a:gd name="connsiteY2" fmla="*/ 310735 h 476250"/>
                <a:gd name="connsiteX3" fmla="*/ 176022 w 323850"/>
                <a:gd name="connsiteY3" fmla="*/ 285684 h 476250"/>
                <a:gd name="connsiteX4" fmla="*/ 197929 w 323850"/>
                <a:gd name="connsiteY4" fmla="*/ 284256 h 476250"/>
                <a:gd name="connsiteX5" fmla="*/ 230696 w 323850"/>
                <a:gd name="connsiteY5" fmla="*/ 290256 h 476250"/>
                <a:gd name="connsiteX6" fmla="*/ 228600 w 323850"/>
                <a:gd name="connsiteY6" fmla="*/ 264729 h 476250"/>
                <a:gd name="connsiteX7" fmla="*/ 268796 w 323850"/>
                <a:gd name="connsiteY7" fmla="*/ 264729 h 476250"/>
                <a:gd name="connsiteX8" fmla="*/ 246793 w 323850"/>
                <a:gd name="connsiteY8" fmla="*/ 246727 h 476250"/>
                <a:gd name="connsiteX9" fmla="*/ 272225 w 323850"/>
                <a:gd name="connsiteY9" fmla="*/ 212151 h 476250"/>
                <a:gd name="connsiteX10" fmla="*/ 249841 w 323850"/>
                <a:gd name="connsiteY10" fmla="*/ 177957 h 476250"/>
                <a:gd name="connsiteX11" fmla="*/ 182499 w 323850"/>
                <a:gd name="connsiteY11" fmla="*/ 19556 h 476250"/>
                <a:gd name="connsiteX12" fmla="*/ 127635 w 323850"/>
                <a:gd name="connsiteY12" fmla="*/ 887 h 476250"/>
                <a:gd name="connsiteX13" fmla="*/ 94012 w 323850"/>
                <a:gd name="connsiteY13" fmla="*/ 4983 h 476250"/>
                <a:gd name="connsiteX14" fmla="*/ 34195 w 323850"/>
                <a:gd name="connsiteY14" fmla="*/ 29748 h 476250"/>
                <a:gd name="connsiteX15" fmla="*/ 0 w 323850"/>
                <a:gd name="connsiteY15" fmla="*/ 77277 h 476250"/>
                <a:gd name="connsiteX16" fmla="*/ 48006 w 323850"/>
                <a:gd name="connsiteY16" fmla="*/ 106138 h 476250"/>
                <a:gd name="connsiteX17" fmla="*/ 55150 w 323850"/>
                <a:gd name="connsiteY17" fmla="*/ 112996 h 476250"/>
                <a:gd name="connsiteX18" fmla="*/ 57626 w 323850"/>
                <a:gd name="connsiteY18" fmla="*/ 114996 h 476250"/>
                <a:gd name="connsiteX19" fmla="*/ 106108 w 323850"/>
                <a:gd name="connsiteY19" fmla="*/ 395222 h 476250"/>
                <a:gd name="connsiteX20" fmla="*/ 51054 w 323850"/>
                <a:gd name="connsiteY20" fmla="*/ 481233 h 476250"/>
                <a:gd name="connsiteX21" fmla="*/ 148400 w 323850"/>
                <a:gd name="connsiteY21" fmla="*/ 481233 h 476250"/>
                <a:gd name="connsiteX22" fmla="*/ 260318 w 323850"/>
                <a:gd name="connsiteY22" fmla="*/ 481233 h 476250"/>
                <a:gd name="connsiteX23" fmla="*/ 322421 w 323850"/>
                <a:gd name="connsiteY23" fmla="*/ 481233 h 476250"/>
                <a:gd name="connsiteX24" fmla="*/ 324612 w 323850"/>
                <a:gd name="connsiteY24" fmla="*/ 480090 h 476250"/>
                <a:gd name="connsiteX25" fmla="*/ 321469 w 323850"/>
                <a:gd name="connsiteY25" fmla="*/ 37645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3850" h="476250">
                  <a:moveTo>
                    <a:pt x="321469" y="376458"/>
                  </a:moveTo>
                  <a:cubicBezTo>
                    <a:pt x="310420" y="348645"/>
                    <a:pt x="263842" y="328547"/>
                    <a:pt x="211741" y="321879"/>
                  </a:cubicBezTo>
                  <a:cubicBezTo>
                    <a:pt x="207264" y="320736"/>
                    <a:pt x="192881" y="318546"/>
                    <a:pt x="185166" y="310735"/>
                  </a:cubicBezTo>
                  <a:cubicBezTo>
                    <a:pt x="183071" y="304925"/>
                    <a:pt x="178022" y="291018"/>
                    <a:pt x="176022" y="285684"/>
                  </a:cubicBezTo>
                  <a:cubicBezTo>
                    <a:pt x="176022" y="285684"/>
                    <a:pt x="195834" y="283779"/>
                    <a:pt x="197929" y="284256"/>
                  </a:cubicBezTo>
                  <a:cubicBezTo>
                    <a:pt x="207836" y="286637"/>
                    <a:pt x="220599" y="292352"/>
                    <a:pt x="230696" y="290256"/>
                  </a:cubicBezTo>
                  <a:cubicBezTo>
                    <a:pt x="231838" y="289971"/>
                    <a:pt x="215170" y="272921"/>
                    <a:pt x="228600" y="264729"/>
                  </a:cubicBezTo>
                  <a:cubicBezTo>
                    <a:pt x="239649" y="268444"/>
                    <a:pt x="255651" y="271587"/>
                    <a:pt x="268796" y="264729"/>
                  </a:cubicBezTo>
                  <a:cubicBezTo>
                    <a:pt x="268796" y="264729"/>
                    <a:pt x="247936" y="259300"/>
                    <a:pt x="246793" y="246727"/>
                  </a:cubicBezTo>
                  <a:cubicBezTo>
                    <a:pt x="263842" y="241107"/>
                    <a:pt x="267653" y="230249"/>
                    <a:pt x="272225" y="212151"/>
                  </a:cubicBezTo>
                  <a:cubicBezTo>
                    <a:pt x="255079" y="226439"/>
                    <a:pt x="250603" y="193101"/>
                    <a:pt x="249841" y="177957"/>
                  </a:cubicBezTo>
                  <a:cubicBezTo>
                    <a:pt x="246888" y="116806"/>
                    <a:pt x="230600" y="61656"/>
                    <a:pt x="182499" y="19556"/>
                  </a:cubicBezTo>
                  <a:cubicBezTo>
                    <a:pt x="166402" y="5459"/>
                    <a:pt x="149352" y="-2828"/>
                    <a:pt x="127635" y="887"/>
                  </a:cubicBezTo>
                  <a:cubicBezTo>
                    <a:pt x="116491" y="2792"/>
                    <a:pt x="105251" y="4887"/>
                    <a:pt x="94012" y="4983"/>
                  </a:cubicBezTo>
                  <a:cubicBezTo>
                    <a:pt x="70580" y="5268"/>
                    <a:pt x="50959" y="13650"/>
                    <a:pt x="34195" y="29748"/>
                  </a:cubicBezTo>
                  <a:cubicBezTo>
                    <a:pt x="19241" y="44130"/>
                    <a:pt x="8287" y="60132"/>
                    <a:pt x="0" y="77277"/>
                  </a:cubicBezTo>
                  <a:cubicBezTo>
                    <a:pt x="18669" y="83564"/>
                    <a:pt x="34957" y="93089"/>
                    <a:pt x="48006" y="106138"/>
                  </a:cubicBezTo>
                  <a:cubicBezTo>
                    <a:pt x="50959" y="108043"/>
                    <a:pt x="53245" y="110234"/>
                    <a:pt x="55150" y="112996"/>
                  </a:cubicBezTo>
                  <a:lnTo>
                    <a:pt x="57626" y="114996"/>
                  </a:lnTo>
                  <a:cubicBezTo>
                    <a:pt x="118300" y="186243"/>
                    <a:pt x="106680" y="386745"/>
                    <a:pt x="106108" y="395222"/>
                  </a:cubicBezTo>
                  <a:cubicBezTo>
                    <a:pt x="99441" y="441513"/>
                    <a:pt x="72866" y="467326"/>
                    <a:pt x="51054" y="481233"/>
                  </a:cubicBezTo>
                  <a:cubicBezTo>
                    <a:pt x="148400" y="481233"/>
                    <a:pt x="148400" y="481233"/>
                    <a:pt x="148400" y="481233"/>
                  </a:cubicBezTo>
                  <a:cubicBezTo>
                    <a:pt x="260318" y="481233"/>
                    <a:pt x="260318" y="481233"/>
                    <a:pt x="260318" y="481233"/>
                  </a:cubicBezTo>
                  <a:cubicBezTo>
                    <a:pt x="322421" y="481233"/>
                    <a:pt x="322421" y="481233"/>
                    <a:pt x="322421" y="481233"/>
                  </a:cubicBezTo>
                  <a:cubicBezTo>
                    <a:pt x="323469" y="481233"/>
                    <a:pt x="324612" y="481233"/>
                    <a:pt x="324612" y="480090"/>
                  </a:cubicBezTo>
                  <a:cubicBezTo>
                    <a:pt x="325850" y="478947"/>
                    <a:pt x="332518" y="405414"/>
                    <a:pt x="321469" y="376458"/>
                  </a:cubicBezTo>
                  <a:close/>
                </a:path>
              </a:pathLst>
            </a:custGeom>
            <a:grp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60" name="Freeform: Shape 59">
              <a:extLst>
                <a:ext uri="{FF2B5EF4-FFF2-40B4-BE49-F238E27FC236}">
                  <a16:creationId xmlns:a16="http://schemas.microsoft.com/office/drawing/2014/main" id="{758050AA-3898-4AC3-A0B4-D400D33DDA16}"/>
                </a:ext>
              </a:extLst>
            </p:cNvPr>
            <p:cNvSpPr/>
            <p:nvPr/>
          </p:nvSpPr>
          <p:spPr>
            <a:xfrm>
              <a:off x="5857715" y="3201448"/>
              <a:ext cx="523875" cy="552450"/>
            </a:xfrm>
            <a:custGeom>
              <a:avLst/>
              <a:gdLst>
                <a:gd name="connsiteX0" fmla="*/ 0 w 523875"/>
                <a:gd name="connsiteY0" fmla="*/ 561308 h 552450"/>
                <a:gd name="connsiteX1" fmla="*/ 526161 w 523875"/>
                <a:gd name="connsiteY1" fmla="*/ 561308 h 552450"/>
                <a:gd name="connsiteX2" fmla="*/ 515017 w 523875"/>
                <a:gd name="connsiteY2" fmla="*/ 493967 h 552450"/>
                <a:gd name="connsiteX3" fmla="*/ 393097 w 523875"/>
                <a:gd name="connsiteY3" fmla="*/ 421672 h 552450"/>
                <a:gd name="connsiteX4" fmla="*/ 392906 w 523875"/>
                <a:gd name="connsiteY4" fmla="*/ 421672 h 552450"/>
                <a:gd name="connsiteX5" fmla="*/ 341281 w 523875"/>
                <a:gd name="connsiteY5" fmla="*/ 397764 h 552450"/>
                <a:gd name="connsiteX6" fmla="*/ 324803 w 523875"/>
                <a:gd name="connsiteY6" fmla="*/ 383477 h 552450"/>
                <a:gd name="connsiteX7" fmla="*/ 345377 w 523875"/>
                <a:gd name="connsiteY7" fmla="*/ 376333 h 552450"/>
                <a:gd name="connsiteX8" fmla="*/ 409194 w 523875"/>
                <a:gd name="connsiteY8" fmla="*/ 298895 h 552450"/>
                <a:gd name="connsiteX9" fmla="*/ 370046 w 523875"/>
                <a:gd name="connsiteY9" fmla="*/ 42101 h 552450"/>
                <a:gd name="connsiteX10" fmla="*/ 368141 w 523875"/>
                <a:gd name="connsiteY10" fmla="*/ 42101 h 552450"/>
                <a:gd name="connsiteX11" fmla="*/ 359378 w 523875"/>
                <a:gd name="connsiteY11" fmla="*/ 31242 h 552450"/>
                <a:gd name="connsiteX12" fmla="*/ 272796 w 523875"/>
                <a:gd name="connsiteY12" fmla="*/ 0 h 552450"/>
                <a:gd name="connsiteX13" fmla="*/ 260223 w 523875"/>
                <a:gd name="connsiteY13" fmla="*/ 0 h 552450"/>
                <a:gd name="connsiteX14" fmla="*/ 167640 w 523875"/>
                <a:gd name="connsiteY14" fmla="*/ 37814 h 552450"/>
                <a:gd name="connsiteX15" fmla="*/ 158687 w 523875"/>
                <a:gd name="connsiteY15" fmla="*/ 51340 h 552450"/>
                <a:gd name="connsiteX16" fmla="*/ 155258 w 523875"/>
                <a:gd name="connsiteY16" fmla="*/ 58102 h 552450"/>
                <a:gd name="connsiteX17" fmla="*/ 125444 w 523875"/>
                <a:gd name="connsiteY17" fmla="*/ 299942 h 552450"/>
                <a:gd name="connsiteX18" fmla="*/ 187547 w 523875"/>
                <a:gd name="connsiteY18" fmla="*/ 374428 h 552450"/>
                <a:gd name="connsiteX19" fmla="*/ 206692 w 523875"/>
                <a:gd name="connsiteY19" fmla="*/ 381095 h 552450"/>
                <a:gd name="connsiteX20" fmla="*/ 192310 w 523875"/>
                <a:gd name="connsiteY20" fmla="*/ 395383 h 552450"/>
                <a:gd name="connsiteX21" fmla="*/ 136303 w 523875"/>
                <a:gd name="connsiteY21" fmla="*/ 421767 h 552450"/>
                <a:gd name="connsiteX22" fmla="*/ 8668 w 523875"/>
                <a:gd name="connsiteY22" fmla="*/ 493776 h 552450"/>
                <a:gd name="connsiteX23" fmla="*/ 0 w 523875"/>
                <a:gd name="connsiteY23" fmla="*/ 561308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3875" h="552450">
                  <a:moveTo>
                    <a:pt x="0" y="561308"/>
                  </a:moveTo>
                  <a:lnTo>
                    <a:pt x="526161" y="561308"/>
                  </a:lnTo>
                  <a:cubicBezTo>
                    <a:pt x="523684" y="530828"/>
                    <a:pt x="519875" y="507206"/>
                    <a:pt x="515017" y="493967"/>
                  </a:cubicBezTo>
                  <a:cubicBezTo>
                    <a:pt x="501396" y="454438"/>
                    <a:pt x="466058" y="433483"/>
                    <a:pt x="393097" y="421672"/>
                  </a:cubicBezTo>
                  <a:cubicBezTo>
                    <a:pt x="393002" y="421672"/>
                    <a:pt x="393002" y="421672"/>
                    <a:pt x="392906" y="421672"/>
                  </a:cubicBezTo>
                  <a:cubicBezTo>
                    <a:pt x="384429" y="421672"/>
                    <a:pt x="357092" y="411385"/>
                    <a:pt x="341281" y="397764"/>
                  </a:cubicBezTo>
                  <a:lnTo>
                    <a:pt x="324803" y="383477"/>
                  </a:lnTo>
                  <a:lnTo>
                    <a:pt x="345377" y="376333"/>
                  </a:lnTo>
                  <a:cubicBezTo>
                    <a:pt x="362045" y="370523"/>
                    <a:pt x="401669" y="351282"/>
                    <a:pt x="409194" y="298895"/>
                  </a:cubicBezTo>
                  <a:cubicBezTo>
                    <a:pt x="409194" y="297942"/>
                    <a:pt x="420148" y="109823"/>
                    <a:pt x="370046" y="42101"/>
                  </a:cubicBezTo>
                  <a:lnTo>
                    <a:pt x="368141" y="42101"/>
                  </a:lnTo>
                  <a:lnTo>
                    <a:pt x="359378" y="31242"/>
                  </a:lnTo>
                  <a:cubicBezTo>
                    <a:pt x="339566" y="10859"/>
                    <a:pt x="309658" y="0"/>
                    <a:pt x="272796" y="0"/>
                  </a:cubicBezTo>
                  <a:lnTo>
                    <a:pt x="260223" y="0"/>
                  </a:lnTo>
                  <a:cubicBezTo>
                    <a:pt x="221266" y="0"/>
                    <a:pt x="190214" y="12764"/>
                    <a:pt x="167640" y="37814"/>
                  </a:cubicBezTo>
                  <a:cubicBezTo>
                    <a:pt x="163640" y="41339"/>
                    <a:pt x="161354" y="46006"/>
                    <a:pt x="158687" y="51340"/>
                  </a:cubicBezTo>
                  <a:cubicBezTo>
                    <a:pt x="157543" y="53531"/>
                    <a:pt x="156496" y="55816"/>
                    <a:pt x="155258" y="58102"/>
                  </a:cubicBezTo>
                  <a:cubicBezTo>
                    <a:pt x="116586" y="136112"/>
                    <a:pt x="125254" y="298323"/>
                    <a:pt x="125444" y="299942"/>
                  </a:cubicBezTo>
                  <a:cubicBezTo>
                    <a:pt x="133255" y="351663"/>
                    <a:pt x="174974" y="370046"/>
                    <a:pt x="187547" y="374428"/>
                  </a:cubicBezTo>
                  <a:lnTo>
                    <a:pt x="206692" y="381095"/>
                  </a:lnTo>
                  <a:lnTo>
                    <a:pt x="192310" y="395383"/>
                  </a:lnTo>
                  <a:cubicBezTo>
                    <a:pt x="176022" y="411480"/>
                    <a:pt x="146399" y="421767"/>
                    <a:pt x="136303" y="421767"/>
                  </a:cubicBezTo>
                  <a:cubicBezTo>
                    <a:pt x="61532" y="434054"/>
                    <a:pt x="21527" y="456343"/>
                    <a:pt x="8668" y="493776"/>
                  </a:cubicBezTo>
                  <a:cubicBezTo>
                    <a:pt x="3810" y="507206"/>
                    <a:pt x="857" y="530352"/>
                    <a:pt x="0" y="561308"/>
                  </a:cubicBezTo>
                  <a:close/>
                </a:path>
              </a:pathLst>
            </a:custGeom>
            <a:grp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grpSp>
      <p:grpSp>
        <p:nvGrpSpPr>
          <p:cNvPr id="61" name="Graphic 27">
            <a:extLst>
              <a:ext uri="{FF2B5EF4-FFF2-40B4-BE49-F238E27FC236}">
                <a16:creationId xmlns:a16="http://schemas.microsoft.com/office/drawing/2014/main" id="{39D98A6F-ED92-4145-8781-6C9145ECAF80}"/>
              </a:ext>
            </a:extLst>
          </p:cNvPr>
          <p:cNvGrpSpPr/>
          <p:nvPr/>
        </p:nvGrpSpPr>
        <p:grpSpPr>
          <a:xfrm>
            <a:off x="6901528" y="2591589"/>
            <a:ext cx="376224" cy="353047"/>
            <a:chOff x="5903912" y="3252787"/>
            <a:chExt cx="365411" cy="342900"/>
          </a:xfrm>
          <a:noFill/>
        </p:grpSpPr>
        <p:grpSp>
          <p:nvGrpSpPr>
            <p:cNvPr id="62" name="Graphic 27">
              <a:extLst>
                <a:ext uri="{FF2B5EF4-FFF2-40B4-BE49-F238E27FC236}">
                  <a16:creationId xmlns:a16="http://schemas.microsoft.com/office/drawing/2014/main" id="{FDF05C25-AB2A-4F74-BD85-563DCF717D2A}"/>
                </a:ext>
              </a:extLst>
            </p:cNvPr>
            <p:cNvGrpSpPr/>
            <p:nvPr/>
          </p:nvGrpSpPr>
          <p:grpSpPr>
            <a:xfrm>
              <a:off x="5903912" y="3252787"/>
              <a:ext cx="342900" cy="342900"/>
              <a:chOff x="5903912" y="3252787"/>
              <a:chExt cx="342900" cy="342900"/>
            </a:xfrm>
            <a:noFill/>
          </p:grpSpPr>
          <p:sp>
            <p:nvSpPr>
              <p:cNvPr id="69" name="Freeform: Shape 68">
                <a:extLst>
                  <a:ext uri="{FF2B5EF4-FFF2-40B4-BE49-F238E27FC236}">
                    <a16:creationId xmlns:a16="http://schemas.microsoft.com/office/drawing/2014/main" id="{9B068F1D-8257-4803-A902-40A09EE007A7}"/>
                  </a:ext>
                </a:extLst>
              </p:cNvPr>
              <p:cNvSpPr/>
              <p:nvPr/>
            </p:nvSpPr>
            <p:spPr>
              <a:xfrm>
                <a:off x="6148895" y="3386137"/>
                <a:ext cx="95250" cy="95250"/>
              </a:xfrm>
              <a:custGeom>
                <a:avLst/>
                <a:gdLst>
                  <a:gd name="connsiteX0" fmla="*/ 37243 w 95250"/>
                  <a:gd name="connsiteY0" fmla="*/ 0 h 95250"/>
                  <a:gd name="connsiteX1" fmla="*/ 93059 w 95250"/>
                  <a:gd name="connsiteY1" fmla="*/ 55817 h 95250"/>
                  <a:gd name="connsiteX2" fmla="*/ 93059 w 95250"/>
                  <a:gd name="connsiteY2" fmla="*/ 93059 h 95250"/>
                  <a:gd name="connsiteX3" fmla="*/ 55817 w 95250"/>
                  <a:gd name="connsiteY3" fmla="*/ 93059 h 95250"/>
                  <a:gd name="connsiteX4" fmla="*/ 0 w 95250"/>
                  <a:gd name="connsiteY4" fmla="*/ 3724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37243" y="0"/>
                    </a:moveTo>
                    <a:lnTo>
                      <a:pt x="93059" y="55817"/>
                    </a:lnTo>
                    <a:cubicBezTo>
                      <a:pt x="93059" y="55817"/>
                      <a:pt x="111633" y="74390"/>
                      <a:pt x="93059" y="93059"/>
                    </a:cubicBezTo>
                    <a:cubicBezTo>
                      <a:pt x="74486" y="111633"/>
                      <a:pt x="55817" y="93059"/>
                      <a:pt x="55817" y="93059"/>
                    </a:cubicBezTo>
                    <a:lnTo>
                      <a:pt x="0" y="37243"/>
                    </a:lnTo>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70" name="Freeform: Shape 69">
                <a:extLst>
                  <a:ext uri="{FF2B5EF4-FFF2-40B4-BE49-F238E27FC236}">
                    <a16:creationId xmlns:a16="http://schemas.microsoft.com/office/drawing/2014/main" id="{CC0CF38C-52D0-4BF7-9C2D-6C56F20C3E3A}"/>
                  </a:ext>
                </a:extLst>
              </p:cNvPr>
              <p:cNvSpPr/>
              <p:nvPr/>
            </p:nvSpPr>
            <p:spPr>
              <a:xfrm>
                <a:off x="6111652" y="3423380"/>
                <a:ext cx="95250" cy="95250"/>
              </a:xfrm>
              <a:custGeom>
                <a:avLst/>
                <a:gdLst>
                  <a:gd name="connsiteX0" fmla="*/ 37243 w 95250"/>
                  <a:gd name="connsiteY0" fmla="*/ 0 h 95250"/>
                  <a:gd name="connsiteX1" fmla="*/ 93059 w 95250"/>
                  <a:gd name="connsiteY1" fmla="*/ 55817 h 95250"/>
                  <a:gd name="connsiteX2" fmla="*/ 93059 w 95250"/>
                  <a:gd name="connsiteY2" fmla="*/ 92964 h 95250"/>
                  <a:gd name="connsiteX3" fmla="*/ 55817 w 95250"/>
                  <a:gd name="connsiteY3" fmla="*/ 92964 h 95250"/>
                  <a:gd name="connsiteX4" fmla="*/ 0 w 95250"/>
                  <a:gd name="connsiteY4" fmla="*/ 37147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37243" y="0"/>
                    </a:moveTo>
                    <a:lnTo>
                      <a:pt x="93059" y="55817"/>
                    </a:lnTo>
                    <a:cubicBezTo>
                      <a:pt x="93059" y="55817"/>
                      <a:pt x="111633" y="74390"/>
                      <a:pt x="93059" y="92964"/>
                    </a:cubicBezTo>
                    <a:cubicBezTo>
                      <a:pt x="74486" y="111538"/>
                      <a:pt x="55817" y="92964"/>
                      <a:pt x="55817" y="92964"/>
                    </a:cubicBezTo>
                    <a:lnTo>
                      <a:pt x="0" y="37147"/>
                    </a:lnTo>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71" name="Freeform: Shape 70">
                <a:extLst>
                  <a:ext uri="{FF2B5EF4-FFF2-40B4-BE49-F238E27FC236}">
                    <a16:creationId xmlns:a16="http://schemas.microsoft.com/office/drawing/2014/main" id="{B562A90C-4252-4F09-AE19-4BBC64C35882}"/>
                  </a:ext>
                </a:extLst>
              </p:cNvPr>
              <p:cNvSpPr/>
              <p:nvPr/>
            </p:nvSpPr>
            <p:spPr>
              <a:xfrm>
                <a:off x="6074409" y="3460622"/>
                <a:ext cx="95250" cy="95250"/>
              </a:xfrm>
              <a:custGeom>
                <a:avLst/>
                <a:gdLst>
                  <a:gd name="connsiteX0" fmla="*/ 37243 w 95250"/>
                  <a:gd name="connsiteY0" fmla="*/ 0 h 95250"/>
                  <a:gd name="connsiteX1" fmla="*/ 93059 w 95250"/>
                  <a:gd name="connsiteY1" fmla="*/ 55817 h 95250"/>
                  <a:gd name="connsiteX2" fmla="*/ 93059 w 95250"/>
                  <a:gd name="connsiteY2" fmla="*/ 93059 h 95250"/>
                  <a:gd name="connsiteX3" fmla="*/ 55817 w 95250"/>
                  <a:gd name="connsiteY3" fmla="*/ 93059 h 95250"/>
                  <a:gd name="connsiteX4" fmla="*/ 0 w 95250"/>
                  <a:gd name="connsiteY4" fmla="*/ 3724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37243" y="0"/>
                    </a:moveTo>
                    <a:lnTo>
                      <a:pt x="93059" y="55817"/>
                    </a:lnTo>
                    <a:cubicBezTo>
                      <a:pt x="93059" y="55817"/>
                      <a:pt x="111633" y="74390"/>
                      <a:pt x="93059" y="93059"/>
                    </a:cubicBezTo>
                    <a:cubicBezTo>
                      <a:pt x="74486" y="111633"/>
                      <a:pt x="55817" y="93059"/>
                      <a:pt x="55817" y="93059"/>
                    </a:cubicBezTo>
                    <a:lnTo>
                      <a:pt x="0" y="37243"/>
                    </a:lnTo>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72" name="Freeform: Shape 71">
                <a:extLst>
                  <a:ext uri="{FF2B5EF4-FFF2-40B4-BE49-F238E27FC236}">
                    <a16:creationId xmlns:a16="http://schemas.microsoft.com/office/drawing/2014/main" id="{D1CB5045-6446-4D27-BEB2-8FF79D6D9C11}"/>
                  </a:ext>
                </a:extLst>
              </p:cNvPr>
              <p:cNvSpPr/>
              <p:nvPr/>
            </p:nvSpPr>
            <p:spPr>
              <a:xfrm>
                <a:off x="5903912" y="3252787"/>
                <a:ext cx="9525" cy="9525"/>
              </a:xfrm>
              <a:custGeom>
                <a:avLst/>
                <a:gdLst/>
                <a:ahLst/>
                <a:cxnLst/>
                <a:rect l="l" t="t" r="r" b="b"/>
                <a:pathLst>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73" name="Freeform: Shape 72">
                <a:extLst>
                  <a:ext uri="{FF2B5EF4-FFF2-40B4-BE49-F238E27FC236}">
                    <a16:creationId xmlns:a16="http://schemas.microsoft.com/office/drawing/2014/main" id="{119FF048-27F0-47B2-B2CC-D45E6696F86A}"/>
                  </a:ext>
                </a:extLst>
              </p:cNvPr>
              <p:cNvSpPr/>
              <p:nvPr/>
            </p:nvSpPr>
            <p:spPr>
              <a:xfrm>
                <a:off x="6074505" y="3497770"/>
                <a:ext cx="57150" cy="95250"/>
              </a:xfrm>
              <a:custGeom>
                <a:avLst/>
                <a:gdLst>
                  <a:gd name="connsiteX0" fmla="*/ 0 w 57150"/>
                  <a:gd name="connsiteY0" fmla="*/ 0 h 95250"/>
                  <a:gd name="connsiteX1" fmla="*/ 55817 w 57150"/>
                  <a:gd name="connsiteY1" fmla="*/ 55817 h 95250"/>
                  <a:gd name="connsiteX2" fmla="*/ 55817 w 57150"/>
                  <a:gd name="connsiteY2" fmla="*/ 93059 h 95250"/>
                  <a:gd name="connsiteX3" fmla="*/ 18574 w 57150"/>
                  <a:gd name="connsiteY3" fmla="*/ 93059 h 95250"/>
                </a:gdLst>
                <a:ahLst/>
                <a:cxnLst>
                  <a:cxn ang="0">
                    <a:pos x="connsiteX0" y="connsiteY0"/>
                  </a:cxn>
                  <a:cxn ang="0">
                    <a:pos x="connsiteX1" y="connsiteY1"/>
                  </a:cxn>
                  <a:cxn ang="0">
                    <a:pos x="connsiteX2" y="connsiteY2"/>
                  </a:cxn>
                  <a:cxn ang="0">
                    <a:pos x="connsiteX3" y="connsiteY3"/>
                  </a:cxn>
                </a:cxnLst>
                <a:rect l="l" t="t" r="r" b="b"/>
                <a:pathLst>
                  <a:path w="57150" h="95250">
                    <a:moveTo>
                      <a:pt x="0" y="0"/>
                    </a:moveTo>
                    <a:lnTo>
                      <a:pt x="55817" y="55817"/>
                    </a:lnTo>
                    <a:cubicBezTo>
                      <a:pt x="55817" y="55817"/>
                      <a:pt x="74390" y="74390"/>
                      <a:pt x="55817" y="93059"/>
                    </a:cubicBezTo>
                    <a:cubicBezTo>
                      <a:pt x="37243" y="111633"/>
                      <a:pt x="18574" y="93059"/>
                      <a:pt x="18574" y="93059"/>
                    </a:cubicBezTo>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74" name="Freeform: Shape 73">
                <a:extLst>
                  <a:ext uri="{FF2B5EF4-FFF2-40B4-BE49-F238E27FC236}">
                    <a16:creationId xmlns:a16="http://schemas.microsoft.com/office/drawing/2014/main" id="{3B8F0171-E707-42C2-A757-57B11735C886}"/>
                  </a:ext>
                </a:extLst>
              </p:cNvPr>
              <p:cNvSpPr/>
              <p:nvPr/>
            </p:nvSpPr>
            <p:spPr>
              <a:xfrm>
                <a:off x="5913508" y="3262312"/>
                <a:ext cx="171450" cy="171450"/>
              </a:xfrm>
              <a:custGeom>
                <a:avLst/>
                <a:gdLst>
                  <a:gd name="connsiteX0" fmla="*/ 179570 w 171450"/>
                  <a:gd name="connsiteY0" fmla="*/ 30861 h 171450"/>
                  <a:gd name="connsiteX1" fmla="*/ 30790 w 171450"/>
                  <a:gd name="connsiteY1" fmla="*/ 30861 h 171450"/>
                  <a:gd name="connsiteX2" fmla="*/ 30790 w 171450"/>
                  <a:gd name="connsiteY2" fmla="*/ 179737 h 171450"/>
                </a:gdLst>
                <a:ahLst/>
                <a:cxnLst>
                  <a:cxn ang="0">
                    <a:pos x="connsiteX0" y="connsiteY0"/>
                  </a:cxn>
                  <a:cxn ang="0">
                    <a:pos x="connsiteX1" y="connsiteY1"/>
                  </a:cxn>
                  <a:cxn ang="0">
                    <a:pos x="connsiteX2" y="connsiteY2"/>
                  </a:cxn>
                </a:cxnLst>
                <a:rect l="l" t="t" r="r" b="b"/>
                <a:pathLst>
                  <a:path w="171450" h="171450">
                    <a:moveTo>
                      <a:pt x="179570" y="30861"/>
                    </a:moveTo>
                    <a:cubicBezTo>
                      <a:pt x="138517" y="-10287"/>
                      <a:pt x="71842" y="-10287"/>
                      <a:pt x="30790" y="30861"/>
                    </a:cubicBezTo>
                    <a:cubicBezTo>
                      <a:pt x="-10263" y="71914"/>
                      <a:pt x="-10263" y="138589"/>
                      <a:pt x="30790" y="179737"/>
                    </a:cubicBezTo>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75" name="Freeform: Shape 74">
                <a:extLst>
                  <a:ext uri="{FF2B5EF4-FFF2-40B4-BE49-F238E27FC236}">
                    <a16:creationId xmlns:a16="http://schemas.microsoft.com/office/drawing/2014/main" id="{CF1C575B-9F58-49E6-A0BC-BAA8328546E3}"/>
                  </a:ext>
                </a:extLst>
              </p:cNvPr>
              <p:cNvSpPr/>
              <p:nvPr/>
            </p:nvSpPr>
            <p:spPr>
              <a:xfrm>
                <a:off x="6093079" y="3330321"/>
                <a:ext cx="152400" cy="266700"/>
              </a:xfrm>
              <a:custGeom>
                <a:avLst/>
                <a:gdLst>
                  <a:gd name="connsiteX0" fmla="*/ 0 w 152400"/>
                  <a:gd name="connsiteY0" fmla="*/ 260509 h 266700"/>
                  <a:gd name="connsiteX1" fmla="*/ 37243 w 152400"/>
                  <a:gd name="connsiteY1" fmla="*/ 260509 h 266700"/>
                  <a:gd name="connsiteX2" fmla="*/ 37243 w 152400"/>
                  <a:gd name="connsiteY2" fmla="*/ 223266 h 266700"/>
                  <a:gd name="connsiteX3" fmla="*/ 74486 w 152400"/>
                  <a:gd name="connsiteY3" fmla="*/ 223266 h 266700"/>
                  <a:gd name="connsiteX4" fmla="*/ 74486 w 152400"/>
                  <a:gd name="connsiteY4" fmla="*/ 186023 h 266700"/>
                  <a:gd name="connsiteX5" fmla="*/ 111728 w 152400"/>
                  <a:gd name="connsiteY5" fmla="*/ 186023 h 266700"/>
                  <a:gd name="connsiteX6" fmla="*/ 111728 w 152400"/>
                  <a:gd name="connsiteY6" fmla="*/ 148876 h 266700"/>
                  <a:gd name="connsiteX7" fmla="*/ 148971 w 152400"/>
                  <a:gd name="connsiteY7" fmla="*/ 148876 h 266700"/>
                  <a:gd name="connsiteX8" fmla="*/ 148971 w 152400"/>
                  <a:gd name="connsiteY8" fmla="*/ 111633 h 266700"/>
                  <a:gd name="connsiteX9" fmla="*/ 93059 w 152400"/>
                  <a:gd name="connsiteY9" fmla="*/ 55816 h 266700"/>
                  <a:gd name="connsiteX10" fmla="*/ 93059 w 152400"/>
                  <a:gd name="connsiteY10" fmla="*/ 55816 h 266700"/>
                  <a:gd name="connsiteX11" fmla="*/ 37243 w 152400"/>
                  <a:gd name="connsiteY11"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400" h="266700">
                    <a:moveTo>
                      <a:pt x="0" y="260509"/>
                    </a:moveTo>
                    <a:cubicBezTo>
                      <a:pt x="0" y="260509"/>
                      <a:pt x="18574" y="279082"/>
                      <a:pt x="37243" y="260509"/>
                    </a:cubicBezTo>
                    <a:cubicBezTo>
                      <a:pt x="55816" y="241935"/>
                      <a:pt x="37243" y="223266"/>
                      <a:pt x="37243" y="223266"/>
                    </a:cubicBezTo>
                    <a:cubicBezTo>
                      <a:pt x="37243" y="223266"/>
                      <a:pt x="55816" y="241840"/>
                      <a:pt x="74486" y="223266"/>
                    </a:cubicBezTo>
                    <a:cubicBezTo>
                      <a:pt x="93059" y="204692"/>
                      <a:pt x="74486" y="186023"/>
                      <a:pt x="74486" y="186023"/>
                    </a:cubicBezTo>
                    <a:cubicBezTo>
                      <a:pt x="74486" y="186023"/>
                      <a:pt x="93059" y="204597"/>
                      <a:pt x="111728" y="186023"/>
                    </a:cubicBezTo>
                    <a:cubicBezTo>
                      <a:pt x="130302" y="167449"/>
                      <a:pt x="111728" y="148876"/>
                      <a:pt x="111728" y="148876"/>
                    </a:cubicBezTo>
                    <a:cubicBezTo>
                      <a:pt x="111728" y="148876"/>
                      <a:pt x="130302" y="167449"/>
                      <a:pt x="148971" y="148876"/>
                    </a:cubicBezTo>
                    <a:cubicBezTo>
                      <a:pt x="167545" y="130302"/>
                      <a:pt x="148971" y="111633"/>
                      <a:pt x="148971" y="111633"/>
                    </a:cubicBezTo>
                    <a:lnTo>
                      <a:pt x="93059" y="55816"/>
                    </a:lnTo>
                    <a:lnTo>
                      <a:pt x="93059" y="55816"/>
                    </a:lnTo>
                    <a:lnTo>
                      <a:pt x="37243" y="0"/>
                    </a:lnTo>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grpSp>
        <p:grpSp>
          <p:nvGrpSpPr>
            <p:cNvPr id="63" name="Graphic 27">
              <a:extLst>
                <a:ext uri="{FF2B5EF4-FFF2-40B4-BE49-F238E27FC236}">
                  <a16:creationId xmlns:a16="http://schemas.microsoft.com/office/drawing/2014/main" id="{456DBD21-0F8A-4EED-B82C-27D8D3EE8865}"/>
                </a:ext>
              </a:extLst>
            </p:cNvPr>
            <p:cNvGrpSpPr/>
            <p:nvPr/>
          </p:nvGrpSpPr>
          <p:grpSpPr>
            <a:xfrm>
              <a:off x="5935948" y="3262312"/>
              <a:ext cx="333375" cy="333375"/>
              <a:chOff x="5935948" y="3262312"/>
              <a:chExt cx="333375" cy="333375"/>
            </a:xfrm>
            <a:noFill/>
          </p:grpSpPr>
          <p:sp>
            <p:nvSpPr>
              <p:cNvPr id="64" name="Freeform: Shape 63">
                <a:extLst>
                  <a:ext uri="{FF2B5EF4-FFF2-40B4-BE49-F238E27FC236}">
                    <a16:creationId xmlns:a16="http://schemas.microsoft.com/office/drawing/2014/main" id="{B6ED617D-C2F7-4D4B-8CC7-745149EF069E}"/>
                  </a:ext>
                </a:extLst>
              </p:cNvPr>
              <p:cNvSpPr/>
              <p:nvPr/>
            </p:nvSpPr>
            <p:spPr>
              <a:xfrm>
                <a:off x="5935948" y="3415125"/>
                <a:ext cx="66675" cy="66675"/>
              </a:xfrm>
              <a:custGeom>
                <a:avLst/>
                <a:gdLst>
                  <a:gd name="connsiteX0" fmla="*/ 64072 w 66675"/>
                  <a:gd name="connsiteY0" fmla="*/ 8255 h 66675"/>
                  <a:gd name="connsiteX1" fmla="*/ 26829 w 66675"/>
                  <a:gd name="connsiteY1" fmla="*/ 8255 h 66675"/>
                  <a:gd name="connsiteX2" fmla="*/ 8255 w 66675"/>
                  <a:gd name="connsiteY2" fmla="*/ 26829 h 66675"/>
                  <a:gd name="connsiteX3" fmla="*/ 8255 w 66675"/>
                  <a:gd name="connsiteY3" fmla="*/ 64072 h 66675"/>
                  <a:gd name="connsiteX4" fmla="*/ 45498 w 66675"/>
                  <a:gd name="connsiteY4" fmla="*/ 64072 h 66675"/>
                  <a:gd name="connsiteX5" fmla="*/ 64072 w 66675"/>
                  <a:gd name="connsiteY5" fmla="*/ 45498 h 66675"/>
                  <a:gd name="connsiteX6" fmla="*/ 64072 w 66675"/>
                  <a:gd name="connsiteY6" fmla="*/ 825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66675">
                    <a:moveTo>
                      <a:pt x="64072" y="8255"/>
                    </a:moveTo>
                    <a:cubicBezTo>
                      <a:pt x="45498" y="-10319"/>
                      <a:pt x="26829" y="8255"/>
                      <a:pt x="26829" y="8255"/>
                    </a:cubicBezTo>
                    <a:lnTo>
                      <a:pt x="8255" y="26829"/>
                    </a:lnTo>
                    <a:cubicBezTo>
                      <a:pt x="8255" y="26829"/>
                      <a:pt x="-10319" y="45402"/>
                      <a:pt x="8255" y="64072"/>
                    </a:cubicBezTo>
                    <a:cubicBezTo>
                      <a:pt x="26829" y="82645"/>
                      <a:pt x="45498" y="64072"/>
                      <a:pt x="45498" y="64072"/>
                    </a:cubicBezTo>
                    <a:lnTo>
                      <a:pt x="64072" y="45498"/>
                    </a:lnTo>
                    <a:cubicBezTo>
                      <a:pt x="64072" y="45498"/>
                      <a:pt x="82741" y="26829"/>
                      <a:pt x="64072" y="8255"/>
                    </a:cubicBezTo>
                    <a:close/>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65" name="Freeform: Shape 64">
                <a:extLst>
                  <a:ext uri="{FF2B5EF4-FFF2-40B4-BE49-F238E27FC236}">
                    <a16:creationId xmlns:a16="http://schemas.microsoft.com/office/drawing/2014/main" id="{66E3C203-C6E8-4770-B5BB-7381042F2943}"/>
                  </a:ext>
                </a:extLst>
              </p:cNvPr>
              <p:cNvSpPr/>
              <p:nvPr/>
            </p:nvSpPr>
            <p:spPr>
              <a:xfrm>
                <a:off x="5973148" y="3452368"/>
                <a:ext cx="66675" cy="66675"/>
              </a:xfrm>
              <a:custGeom>
                <a:avLst/>
                <a:gdLst>
                  <a:gd name="connsiteX0" fmla="*/ 64114 w 66675"/>
                  <a:gd name="connsiteY0" fmla="*/ 8255 h 66675"/>
                  <a:gd name="connsiteX1" fmla="*/ 26871 w 66675"/>
                  <a:gd name="connsiteY1" fmla="*/ 8255 h 66675"/>
                  <a:gd name="connsiteX2" fmla="*/ 8297 w 66675"/>
                  <a:gd name="connsiteY2" fmla="*/ 26829 h 66675"/>
                  <a:gd name="connsiteX3" fmla="*/ 8297 w 66675"/>
                  <a:gd name="connsiteY3" fmla="*/ 63976 h 66675"/>
                  <a:gd name="connsiteX4" fmla="*/ 45540 w 66675"/>
                  <a:gd name="connsiteY4" fmla="*/ 63976 h 66675"/>
                  <a:gd name="connsiteX5" fmla="*/ 64114 w 66675"/>
                  <a:gd name="connsiteY5" fmla="*/ 45402 h 66675"/>
                  <a:gd name="connsiteX6" fmla="*/ 64114 w 66675"/>
                  <a:gd name="connsiteY6" fmla="*/ 825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66675">
                    <a:moveTo>
                      <a:pt x="64114" y="8255"/>
                    </a:moveTo>
                    <a:cubicBezTo>
                      <a:pt x="45540" y="-10319"/>
                      <a:pt x="26871" y="8255"/>
                      <a:pt x="26871" y="8255"/>
                    </a:cubicBezTo>
                    <a:lnTo>
                      <a:pt x="8297" y="26829"/>
                    </a:lnTo>
                    <a:cubicBezTo>
                      <a:pt x="8297" y="26829"/>
                      <a:pt x="-10372" y="45402"/>
                      <a:pt x="8297" y="63976"/>
                    </a:cubicBezTo>
                    <a:cubicBezTo>
                      <a:pt x="26871" y="82550"/>
                      <a:pt x="45540" y="63976"/>
                      <a:pt x="45540" y="63976"/>
                    </a:cubicBezTo>
                    <a:lnTo>
                      <a:pt x="64114" y="45402"/>
                    </a:lnTo>
                    <a:cubicBezTo>
                      <a:pt x="64114" y="45402"/>
                      <a:pt x="82783" y="26829"/>
                      <a:pt x="64114" y="8255"/>
                    </a:cubicBezTo>
                    <a:close/>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66" name="Freeform: Shape 65">
                <a:extLst>
                  <a:ext uri="{FF2B5EF4-FFF2-40B4-BE49-F238E27FC236}">
                    <a16:creationId xmlns:a16="http://schemas.microsoft.com/office/drawing/2014/main" id="{2CCAE3AE-D7FC-4642-9110-9E53546F15C8}"/>
                  </a:ext>
                </a:extLst>
              </p:cNvPr>
              <p:cNvSpPr/>
              <p:nvPr/>
            </p:nvSpPr>
            <p:spPr>
              <a:xfrm>
                <a:off x="6010529" y="3489515"/>
                <a:ext cx="66675" cy="66675"/>
              </a:xfrm>
              <a:custGeom>
                <a:avLst/>
                <a:gdLst>
                  <a:gd name="connsiteX0" fmla="*/ 63976 w 66675"/>
                  <a:gd name="connsiteY0" fmla="*/ 8255 h 66675"/>
                  <a:gd name="connsiteX1" fmla="*/ 26829 w 66675"/>
                  <a:gd name="connsiteY1" fmla="*/ 8255 h 66675"/>
                  <a:gd name="connsiteX2" fmla="*/ 8255 w 66675"/>
                  <a:gd name="connsiteY2" fmla="*/ 26829 h 66675"/>
                  <a:gd name="connsiteX3" fmla="*/ 8255 w 66675"/>
                  <a:gd name="connsiteY3" fmla="*/ 64072 h 66675"/>
                  <a:gd name="connsiteX4" fmla="*/ 45498 w 66675"/>
                  <a:gd name="connsiteY4" fmla="*/ 64072 h 66675"/>
                  <a:gd name="connsiteX5" fmla="*/ 64072 w 66675"/>
                  <a:gd name="connsiteY5" fmla="*/ 45498 h 66675"/>
                  <a:gd name="connsiteX6" fmla="*/ 63976 w 66675"/>
                  <a:gd name="connsiteY6" fmla="*/ 825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66675">
                    <a:moveTo>
                      <a:pt x="63976" y="8255"/>
                    </a:moveTo>
                    <a:cubicBezTo>
                      <a:pt x="45403" y="-10319"/>
                      <a:pt x="26829" y="8255"/>
                      <a:pt x="26829" y="8255"/>
                    </a:cubicBezTo>
                    <a:lnTo>
                      <a:pt x="8255" y="26829"/>
                    </a:lnTo>
                    <a:cubicBezTo>
                      <a:pt x="8255" y="26829"/>
                      <a:pt x="-10319" y="45403"/>
                      <a:pt x="8255" y="64072"/>
                    </a:cubicBezTo>
                    <a:cubicBezTo>
                      <a:pt x="26829" y="82645"/>
                      <a:pt x="45498" y="64072"/>
                      <a:pt x="45498" y="64072"/>
                    </a:cubicBezTo>
                    <a:lnTo>
                      <a:pt x="64072" y="45498"/>
                    </a:lnTo>
                    <a:cubicBezTo>
                      <a:pt x="63976" y="45498"/>
                      <a:pt x="82550" y="26829"/>
                      <a:pt x="63976" y="8255"/>
                    </a:cubicBezTo>
                    <a:close/>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67" name="Freeform: Shape 66">
                <a:extLst>
                  <a:ext uri="{FF2B5EF4-FFF2-40B4-BE49-F238E27FC236}">
                    <a16:creationId xmlns:a16="http://schemas.microsoft.com/office/drawing/2014/main" id="{7FA22B1B-5F97-4E52-BF9C-C2A1FC639B32}"/>
                  </a:ext>
                </a:extLst>
              </p:cNvPr>
              <p:cNvSpPr/>
              <p:nvPr/>
            </p:nvSpPr>
            <p:spPr>
              <a:xfrm>
                <a:off x="6047581" y="3526758"/>
                <a:ext cx="66675" cy="66675"/>
              </a:xfrm>
              <a:custGeom>
                <a:avLst/>
                <a:gdLst>
                  <a:gd name="connsiteX0" fmla="*/ 64071 w 66675"/>
                  <a:gd name="connsiteY0" fmla="*/ 8255 h 66675"/>
                  <a:gd name="connsiteX1" fmla="*/ 26829 w 66675"/>
                  <a:gd name="connsiteY1" fmla="*/ 8255 h 66675"/>
                  <a:gd name="connsiteX2" fmla="*/ 8255 w 66675"/>
                  <a:gd name="connsiteY2" fmla="*/ 26829 h 66675"/>
                  <a:gd name="connsiteX3" fmla="*/ 8255 w 66675"/>
                  <a:gd name="connsiteY3" fmla="*/ 64072 h 66675"/>
                  <a:gd name="connsiteX4" fmla="*/ 45403 w 66675"/>
                  <a:gd name="connsiteY4" fmla="*/ 64072 h 66675"/>
                  <a:gd name="connsiteX5" fmla="*/ 63976 w 66675"/>
                  <a:gd name="connsiteY5" fmla="*/ 45498 h 66675"/>
                  <a:gd name="connsiteX6" fmla="*/ 64071 w 66675"/>
                  <a:gd name="connsiteY6" fmla="*/ 825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66675">
                    <a:moveTo>
                      <a:pt x="64071" y="8255"/>
                    </a:moveTo>
                    <a:cubicBezTo>
                      <a:pt x="45498" y="-10319"/>
                      <a:pt x="26829" y="8255"/>
                      <a:pt x="26829" y="8255"/>
                    </a:cubicBezTo>
                    <a:lnTo>
                      <a:pt x="8255" y="26829"/>
                    </a:lnTo>
                    <a:cubicBezTo>
                      <a:pt x="8255" y="26829"/>
                      <a:pt x="-10319" y="45402"/>
                      <a:pt x="8255" y="64072"/>
                    </a:cubicBezTo>
                    <a:cubicBezTo>
                      <a:pt x="26829" y="82645"/>
                      <a:pt x="45403" y="64072"/>
                      <a:pt x="45403" y="64072"/>
                    </a:cubicBezTo>
                    <a:lnTo>
                      <a:pt x="63976" y="45498"/>
                    </a:lnTo>
                    <a:cubicBezTo>
                      <a:pt x="64071" y="45402"/>
                      <a:pt x="82741" y="26829"/>
                      <a:pt x="64071" y="8255"/>
                    </a:cubicBezTo>
                    <a:close/>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sp>
            <p:nvSpPr>
              <p:cNvPr id="68" name="Freeform: Shape 67">
                <a:extLst>
                  <a:ext uri="{FF2B5EF4-FFF2-40B4-BE49-F238E27FC236}">
                    <a16:creationId xmlns:a16="http://schemas.microsoft.com/office/drawing/2014/main" id="{109A041E-3116-4A52-B63D-B8B36F82BC24}"/>
                  </a:ext>
                </a:extLst>
              </p:cNvPr>
              <p:cNvSpPr/>
              <p:nvPr/>
            </p:nvSpPr>
            <p:spPr>
              <a:xfrm>
                <a:off x="6000019" y="3262312"/>
                <a:ext cx="266700" cy="171450"/>
              </a:xfrm>
              <a:custGeom>
                <a:avLst/>
                <a:gdLst>
                  <a:gd name="connsiteX0" fmla="*/ 241935 w 266700"/>
                  <a:gd name="connsiteY0" fmla="*/ 30861 h 171450"/>
                  <a:gd name="connsiteX1" fmla="*/ 93059 w 266700"/>
                  <a:gd name="connsiteY1" fmla="*/ 30861 h 171450"/>
                  <a:gd name="connsiteX2" fmla="*/ 0 w 266700"/>
                  <a:gd name="connsiteY2" fmla="*/ 123825 h 171450"/>
                  <a:gd name="connsiteX3" fmla="*/ 74390 w 266700"/>
                  <a:gd name="connsiteY3" fmla="*/ 123825 h 171450"/>
                  <a:gd name="connsiteX4" fmla="*/ 130207 w 266700"/>
                  <a:gd name="connsiteY4" fmla="*/ 68009 h 171450"/>
                  <a:gd name="connsiteX5" fmla="*/ 241840 w 266700"/>
                  <a:gd name="connsiteY5" fmla="*/ 179642 h 171450"/>
                  <a:gd name="connsiteX6" fmla="*/ 241935 w 266700"/>
                  <a:gd name="connsiteY6" fmla="*/ 3086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700" h="171450">
                    <a:moveTo>
                      <a:pt x="241935" y="30861"/>
                    </a:moveTo>
                    <a:cubicBezTo>
                      <a:pt x="200787" y="-10287"/>
                      <a:pt x="134207" y="-10287"/>
                      <a:pt x="93059" y="30861"/>
                    </a:cubicBezTo>
                    <a:lnTo>
                      <a:pt x="0" y="123825"/>
                    </a:lnTo>
                    <a:cubicBezTo>
                      <a:pt x="0" y="123825"/>
                      <a:pt x="37243" y="161068"/>
                      <a:pt x="74390" y="123825"/>
                    </a:cubicBezTo>
                    <a:lnTo>
                      <a:pt x="130207" y="68009"/>
                    </a:lnTo>
                    <a:lnTo>
                      <a:pt x="241840" y="179642"/>
                    </a:lnTo>
                    <a:cubicBezTo>
                      <a:pt x="282988" y="138589"/>
                      <a:pt x="282988" y="71914"/>
                      <a:pt x="241935" y="30861"/>
                    </a:cubicBezTo>
                    <a:close/>
                  </a:path>
                </a:pathLst>
              </a:custGeom>
              <a:noFill/>
              <a:ln w="12700" cap="rnd">
                <a:solidFill>
                  <a:schemeClr val="bg1"/>
                </a:solidFill>
                <a:prstDash val="solid"/>
                <a:round/>
              </a:ln>
            </p:spPr>
            <p:txBody>
              <a:bodyPr rtlCol="0" anchor="ct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a:ea typeface="+mn-ea"/>
                  <a:cs typeface="+mn-cs"/>
                </a:endParaRPr>
              </a:p>
            </p:txBody>
          </p:sp>
        </p:grpSp>
      </p:grpSp>
      <p:sp>
        <p:nvSpPr>
          <p:cNvPr id="3" name="Rectangle: Rounded Corners 2">
            <a:extLst>
              <a:ext uri="{FF2B5EF4-FFF2-40B4-BE49-F238E27FC236}">
                <a16:creationId xmlns:a16="http://schemas.microsoft.com/office/drawing/2014/main" id="{DECB2B89-D4A9-4308-B287-2F47DCEFFA79}"/>
              </a:ext>
            </a:extLst>
          </p:cNvPr>
          <p:cNvSpPr/>
          <p:nvPr/>
        </p:nvSpPr>
        <p:spPr>
          <a:xfrm>
            <a:off x="468804" y="3987400"/>
            <a:ext cx="7883431" cy="543461"/>
          </a:xfrm>
          <a:prstGeom prst="roundRect">
            <a:avLst>
              <a:gd name="adj" fmla="val 0"/>
            </a:avLst>
          </a:prstGeom>
          <a:solidFill>
            <a:schemeClr val="accent2">
              <a:lumMod val="20000"/>
              <a:lumOff val="80000"/>
            </a:schemeClr>
          </a:solidFill>
        </p:spPr>
        <p:txBody>
          <a:bodyPr wrap="square">
            <a:spAutoFit/>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Franklin Gothic Book" panose="020B0503020102020204"/>
                <a:ea typeface="+mn-ea"/>
                <a:cs typeface="Calibri" panose="020F0502020204030204" pitchFamily="34" charset="0"/>
              </a:rPr>
              <a:t>A citeable preprint / reference to support the PLS section of GPP4 </a:t>
            </a:r>
            <a:br>
              <a:rPr kumimoji="0" lang="en-GB" sz="1400" b="0" i="0" u="none" strike="noStrike" kern="1200" cap="none" spc="0" normalizeH="0" baseline="0" noProof="0" dirty="0">
                <a:ln>
                  <a:noFill/>
                </a:ln>
                <a:solidFill>
                  <a:prstClr val="black"/>
                </a:solidFill>
                <a:effectLst/>
                <a:uLnTx/>
                <a:uFillTx/>
                <a:latin typeface="Franklin Gothic Book" panose="020B0503020102020204"/>
                <a:ea typeface="+mn-ea"/>
                <a:cs typeface="Calibri" panose="020F0502020204030204" pitchFamily="34" charset="0"/>
              </a:rPr>
            </a:br>
            <a:r>
              <a:rPr kumimoji="0" lang="en-GB" sz="1400" b="0" i="0" u="none" strike="noStrike" kern="1200" cap="none" spc="0" normalizeH="0" baseline="0" noProof="0" dirty="0">
                <a:ln>
                  <a:noFill/>
                </a:ln>
                <a:solidFill>
                  <a:prstClr val="black"/>
                </a:solidFill>
                <a:effectLst/>
                <a:uLnTx/>
                <a:uFillTx/>
                <a:latin typeface="Franklin Gothic Book" panose="020B0503020102020204"/>
                <a:ea typeface="+mn-ea"/>
                <a:cs typeface="Calibri" panose="020F0502020204030204" pitchFamily="34" charset="0"/>
              </a:rPr>
              <a:t>and other relevant guidelines </a:t>
            </a:r>
          </a:p>
        </p:txBody>
      </p:sp>
      <p:sp>
        <p:nvSpPr>
          <p:cNvPr id="36" name="Text Placeholder 5">
            <a:extLst>
              <a:ext uri="{FF2B5EF4-FFF2-40B4-BE49-F238E27FC236}">
                <a16:creationId xmlns:a16="http://schemas.microsoft.com/office/drawing/2014/main" id="{16A2226B-1C57-4A0B-A56E-6FCB1926631E}"/>
              </a:ext>
            </a:extLst>
          </p:cNvPr>
          <p:cNvSpPr txBox="1">
            <a:spLocks/>
          </p:cNvSpPr>
          <p:nvPr/>
        </p:nvSpPr>
        <p:spPr bwMode="invGray">
          <a:xfrm>
            <a:off x="468803" y="1790392"/>
            <a:ext cx="7883431" cy="576000"/>
          </a:xfrm>
          <a:prstGeom prst="roundRect">
            <a:avLst>
              <a:gd name="adj" fmla="val 0"/>
            </a:avLst>
          </a:prstGeom>
          <a:solidFill>
            <a:schemeClr val="accent2">
              <a:lumMod val="20000"/>
              <a:lumOff val="80000"/>
            </a:schemeClr>
          </a:solidFill>
          <a:ln>
            <a:noFill/>
          </a:ln>
          <a:effectLst/>
        </p:spPr>
        <p:txBody>
          <a:bodyPr vert="horz" lIns="135000" tIns="45712" rIns="135000" bIns="45712" rtlCol="0" anchor="ctr">
            <a:noAutofit/>
          </a:bodyPr>
          <a:lstStyle>
            <a:lvl1pPr marL="0" indent="0" algn="ctr" defTabSz="1218987" rtl="0" eaLnBrk="1" latinLnBrk="0" hangingPunct="1">
              <a:lnSpc>
                <a:spcPct val="102857"/>
              </a:lnSpc>
              <a:spcBef>
                <a:spcPts val="0"/>
              </a:spcBef>
              <a:buClr>
                <a:schemeClr val="accent4"/>
              </a:buClr>
              <a:buSzPct val="100000"/>
              <a:buFont typeface="Arial" pitchFamily="34" charset="0"/>
              <a:buNone/>
              <a:defRPr lang="en-US" sz="2000" kern="1200" cap="all" spc="200" baseline="0" dirty="0" smtClean="0">
                <a:solidFill>
                  <a:schemeClr val="tx1"/>
                </a:solidFill>
                <a:latin typeface="+mn-lt"/>
                <a:ea typeface="+mn-ea"/>
                <a:cs typeface="+mn-cs"/>
              </a:defRPr>
            </a:lvl1pPr>
            <a:lvl2pPr marL="609493" indent="0" algn="l" defTabSz="1218987" rtl="0" eaLnBrk="1" latinLnBrk="0" hangingPunct="1">
              <a:lnSpc>
                <a:spcPct val="90000"/>
              </a:lnSpc>
              <a:spcBef>
                <a:spcPts val="600"/>
              </a:spcBef>
              <a:buClr>
                <a:schemeClr val="accent4"/>
              </a:buClr>
              <a:buSzPct val="100000"/>
              <a:buFont typeface="Calibri" panose="020F0502020204030204" pitchFamily="34" charset="0"/>
              <a:buNone/>
              <a:defRPr sz="2700" b="1" kern="1200">
                <a:solidFill>
                  <a:schemeClr val="tx1"/>
                </a:solidFill>
                <a:latin typeface="+mn-lt"/>
                <a:ea typeface="+mn-ea"/>
                <a:cs typeface="+mn-cs"/>
              </a:defRPr>
            </a:lvl2pPr>
            <a:lvl3pPr marL="1218987" indent="0" algn="l" defTabSz="1218987" rtl="0" eaLnBrk="1" latinLnBrk="0" hangingPunct="1">
              <a:lnSpc>
                <a:spcPct val="90000"/>
              </a:lnSpc>
              <a:spcBef>
                <a:spcPts val="600"/>
              </a:spcBef>
              <a:buClr>
                <a:schemeClr val="accent4"/>
              </a:buClr>
              <a:buSzPct val="100000"/>
              <a:buFont typeface="Wingdings" panose="05000000000000000000" pitchFamily="2" charset="2"/>
              <a:buNone/>
              <a:defRPr sz="2400" b="1" kern="1200">
                <a:solidFill>
                  <a:schemeClr val="tx1"/>
                </a:solidFill>
                <a:latin typeface="+mn-lt"/>
                <a:ea typeface="+mn-ea"/>
                <a:cs typeface="+mn-cs"/>
              </a:defRPr>
            </a:lvl3pPr>
            <a:lvl4pPr marL="1828480" indent="0" algn="l" defTabSz="1218987" rtl="0" eaLnBrk="1" latinLnBrk="0" hangingPunct="1">
              <a:lnSpc>
                <a:spcPct val="90000"/>
              </a:lnSpc>
              <a:spcBef>
                <a:spcPts val="400"/>
              </a:spcBef>
              <a:buClr>
                <a:schemeClr val="accent4"/>
              </a:buClr>
              <a:buSzPct val="100000"/>
              <a:buFont typeface="Calibri" panose="020F0502020204030204" pitchFamily="34" charset="0"/>
              <a:buNone/>
              <a:defRPr sz="2100" b="1" kern="1200">
                <a:solidFill>
                  <a:schemeClr val="tx1"/>
                </a:solidFill>
                <a:latin typeface="+mn-lt"/>
                <a:ea typeface="+mn-ea"/>
                <a:cs typeface="+mn-cs"/>
              </a:defRPr>
            </a:lvl4pPr>
            <a:lvl5pPr marL="2437973" indent="0" algn="l" defTabSz="1218987" rtl="0" eaLnBrk="1" latinLnBrk="0" hangingPunct="1">
              <a:lnSpc>
                <a:spcPct val="90000"/>
              </a:lnSpc>
              <a:spcBef>
                <a:spcPts val="400"/>
              </a:spcBef>
              <a:buClr>
                <a:schemeClr val="accent4"/>
              </a:buClr>
              <a:buSzPct val="100000"/>
              <a:buFont typeface="Arial" pitchFamily="34" charset="0"/>
              <a:buNone/>
              <a:defRPr sz="2100" b="1" kern="1200">
                <a:solidFill>
                  <a:schemeClr val="tx1"/>
                </a:solidFill>
                <a:latin typeface="+mn-lt"/>
                <a:ea typeface="+mn-ea"/>
                <a:cs typeface="+mn-cs"/>
              </a:defRPr>
            </a:lvl5pPr>
            <a:lvl6pPr marL="3047467" indent="0" algn="l" defTabSz="1218987" rtl="0" eaLnBrk="1" latinLnBrk="0" hangingPunct="1">
              <a:lnSpc>
                <a:spcPct val="90000"/>
              </a:lnSpc>
              <a:spcBef>
                <a:spcPts val="800"/>
              </a:spcBef>
              <a:buClr>
                <a:schemeClr val="accent1"/>
              </a:buClr>
              <a:buSzPct val="80000"/>
              <a:buFont typeface="Arial" pitchFamily="34" charset="0"/>
              <a:buNone/>
              <a:defRPr sz="2100" b="1" kern="1200">
                <a:solidFill>
                  <a:schemeClr val="tx1"/>
                </a:solidFill>
                <a:latin typeface="+mn-lt"/>
                <a:ea typeface="+mn-ea"/>
                <a:cs typeface="+mn-cs"/>
              </a:defRPr>
            </a:lvl6pPr>
            <a:lvl7pPr marL="3656960" indent="0" algn="l" defTabSz="1218987" rtl="0" eaLnBrk="1" latinLnBrk="0" hangingPunct="1">
              <a:lnSpc>
                <a:spcPct val="90000"/>
              </a:lnSpc>
              <a:spcBef>
                <a:spcPts val="800"/>
              </a:spcBef>
              <a:buClr>
                <a:schemeClr val="accent1"/>
              </a:buClr>
              <a:buSzPct val="80000"/>
              <a:buFont typeface="Arial" pitchFamily="34" charset="0"/>
              <a:buNone/>
              <a:defRPr sz="2100" b="1" kern="1200">
                <a:solidFill>
                  <a:schemeClr val="tx1"/>
                </a:solidFill>
                <a:latin typeface="+mn-lt"/>
                <a:ea typeface="+mn-ea"/>
                <a:cs typeface="+mn-cs"/>
              </a:defRPr>
            </a:lvl7pPr>
            <a:lvl8pPr marL="4266453" indent="0" algn="l" defTabSz="1218987" rtl="0" eaLnBrk="1" latinLnBrk="0" hangingPunct="1">
              <a:lnSpc>
                <a:spcPct val="90000"/>
              </a:lnSpc>
              <a:spcBef>
                <a:spcPts val="800"/>
              </a:spcBef>
              <a:buClr>
                <a:schemeClr val="accent1"/>
              </a:buClr>
              <a:buSzPct val="80000"/>
              <a:buFont typeface="Arial" pitchFamily="34" charset="0"/>
              <a:buNone/>
              <a:defRPr sz="2100" b="1" kern="1200" baseline="0">
                <a:solidFill>
                  <a:schemeClr val="tx1"/>
                </a:solidFill>
                <a:latin typeface="+mn-lt"/>
                <a:ea typeface="+mn-ea"/>
                <a:cs typeface="+mn-cs"/>
              </a:defRPr>
            </a:lvl8pPr>
            <a:lvl9pPr marL="4875947" indent="0" algn="l" defTabSz="1218987" rtl="0" eaLnBrk="1" latinLnBrk="0" hangingPunct="1">
              <a:lnSpc>
                <a:spcPct val="90000"/>
              </a:lnSpc>
              <a:spcBef>
                <a:spcPts val="800"/>
              </a:spcBef>
              <a:buClr>
                <a:schemeClr val="accent1"/>
              </a:buClr>
              <a:buSzPct val="80000"/>
              <a:buFont typeface="Arial" pitchFamily="34" charset="0"/>
              <a:buNone/>
              <a:defRPr sz="2100" b="1" kern="1200" baseline="0">
                <a:solidFill>
                  <a:schemeClr val="tx1"/>
                </a:solidFill>
                <a:latin typeface="+mn-lt"/>
                <a:ea typeface="+mn-ea"/>
                <a:cs typeface="+mn-cs"/>
              </a:defRPr>
            </a:lvl9pPr>
          </a:lstStyle>
          <a:p>
            <a:pPr marL="0" marR="0" lvl="0" indent="0" algn="ctr" defTabSz="1218987" rtl="0" eaLnBrk="1" fontAlgn="auto" latinLnBrk="0" hangingPunct="1">
              <a:lnSpc>
                <a:spcPct val="100000"/>
              </a:lnSpc>
              <a:spcBef>
                <a:spcPts val="450"/>
              </a:spcBef>
              <a:spcAft>
                <a:spcPts val="450"/>
              </a:spcAft>
              <a:buClrTx/>
              <a:buSzPct val="100000"/>
              <a:buFont typeface="Arial" pitchFamily="34" charset="0"/>
              <a:buNone/>
              <a:tabLst/>
              <a:defRPr/>
            </a:pPr>
            <a:r>
              <a:rPr kumimoji="0" lang="en-GB" sz="1400" b="0" i="0" u="none" strike="noStrike" kern="1200" cap="none" spc="0" normalizeH="0" baseline="0" noProof="0" dirty="0">
                <a:ln>
                  <a:noFill/>
                </a:ln>
                <a:solidFill>
                  <a:srgbClr val="000000">
                    <a:lumMod val="85000"/>
                    <a:lumOff val="15000"/>
                  </a:srgbClr>
                </a:solidFill>
                <a:effectLst/>
                <a:uLnTx/>
                <a:uFillTx/>
                <a:latin typeface="Franklin Gothic Book" panose="020B0503020102020204"/>
                <a:ea typeface="+mn-ea"/>
                <a:cs typeface="Calibri" panose="020F0502020204030204" pitchFamily="34" charset="0"/>
              </a:rPr>
              <a:t>To identify key considerations, highlight opportunities and acknowledge potential barriers </a:t>
            </a:r>
          </a:p>
        </p:txBody>
      </p:sp>
      <p:sp>
        <p:nvSpPr>
          <p:cNvPr id="37" name="Slide Number Placeholder 2">
            <a:extLst>
              <a:ext uri="{FF2B5EF4-FFF2-40B4-BE49-F238E27FC236}">
                <a16:creationId xmlns:a16="http://schemas.microsoft.com/office/drawing/2014/main" id="{173DAF31-DE8E-45CF-90BA-B5D8030B2201}"/>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764723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a:extLst>
              <a:ext uri="{FF2B5EF4-FFF2-40B4-BE49-F238E27FC236}">
                <a16:creationId xmlns:a16="http://schemas.microsoft.com/office/drawing/2014/main" id="{D39C7284-A8A6-4EC6-BA82-F8587DF36A89}"/>
              </a:ext>
            </a:extLst>
          </p:cNvPr>
          <p:cNvSpPr/>
          <p:nvPr/>
        </p:nvSpPr>
        <p:spPr>
          <a:xfrm rot="10800000">
            <a:off x="1143000" y="5116499"/>
            <a:ext cx="6858000" cy="2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dirty="0">
              <a:ln>
                <a:noFill/>
              </a:ln>
              <a:solidFill>
                <a:prstClr val="white"/>
              </a:solidFill>
              <a:effectLst/>
              <a:uLnTx/>
              <a:uFillTx/>
              <a:latin typeface="Franklin Gothic Book" panose="020B0503020102020204"/>
              <a:ea typeface="+mn-ea"/>
              <a:cs typeface="+mn-cs"/>
            </a:endParaRPr>
          </a:p>
        </p:txBody>
      </p:sp>
      <p:sp>
        <p:nvSpPr>
          <p:cNvPr id="2" name="Title 1">
            <a:extLst>
              <a:ext uri="{FF2B5EF4-FFF2-40B4-BE49-F238E27FC236}">
                <a16:creationId xmlns:a16="http://schemas.microsoft.com/office/drawing/2014/main" id="{D367E543-29AE-4B99-BAE1-565F8E56B4F1}"/>
              </a:ext>
            </a:extLst>
          </p:cNvPr>
          <p:cNvSpPr>
            <a:spLocks noGrp="1"/>
          </p:cNvSpPr>
          <p:nvPr>
            <p:ph type="title"/>
          </p:nvPr>
        </p:nvSpPr>
        <p:spPr/>
        <p:txBody>
          <a:bodyPr/>
          <a:lstStyle/>
          <a:p>
            <a:r>
              <a:rPr lang="en-GB" dirty="0"/>
              <a:t>Who was involved? </a:t>
            </a:r>
          </a:p>
        </p:txBody>
      </p:sp>
      <p:sp>
        <p:nvSpPr>
          <p:cNvPr id="3" name="Slide Number Placeholder 2">
            <a:extLst>
              <a:ext uri="{FF2B5EF4-FFF2-40B4-BE49-F238E27FC236}">
                <a16:creationId xmlns:a16="http://schemas.microsoft.com/office/drawing/2014/main" id="{E9F31062-71DA-42EA-9CF3-E833330CA935}"/>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graphicFrame>
        <p:nvGraphicFramePr>
          <p:cNvPr id="207" name="Content Placeholder 10">
            <a:extLst>
              <a:ext uri="{FF2B5EF4-FFF2-40B4-BE49-F238E27FC236}">
                <a16:creationId xmlns:a16="http://schemas.microsoft.com/office/drawing/2014/main" id="{3F2C47B2-6176-41AE-9552-03B7A96B81EC}"/>
              </a:ext>
            </a:extLst>
          </p:cNvPr>
          <p:cNvGraphicFramePr>
            <a:graphicFrameLocks/>
          </p:cNvGraphicFramePr>
          <p:nvPr/>
        </p:nvGraphicFramePr>
        <p:xfrm>
          <a:off x="5414009" y="2651066"/>
          <a:ext cx="2515213" cy="2309385"/>
        </p:xfrm>
        <a:graphic>
          <a:graphicData uri="http://schemas.openxmlformats.org/drawingml/2006/chart">
            <c:chart xmlns:c="http://schemas.openxmlformats.org/drawingml/2006/chart" xmlns:r="http://schemas.openxmlformats.org/officeDocument/2006/relationships" r:id="rId3"/>
          </a:graphicData>
        </a:graphic>
      </p:graphicFrame>
      <p:grpSp>
        <p:nvGrpSpPr>
          <p:cNvPr id="204" name="Group 203">
            <a:extLst>
              <a:ext uri="{FF2B5EF4-FFF2-40B4-BE49-F238E27FC236}">
                <a16:creationId xmlns:a16="http://schemas.microsoft.com/office/drawing/2014/main" id="{484A94CB-356B-47C5-BECD-538B1E5BF61F}"/>
              </a:ext>
            </a:extLst>
          </p:cNvPr>
          <p:cNvGrpSpPr/>
          <p:nvPr/>
        </p:nvGrpSpPr>
        <p:grpSpPr>
          <a:xfrm>
            <a:off x="5773648" y="2876065"/>
            <a:ext cx="1795936" cy="1869404"/>
            <a:chOff x="3528622" y="9885550"/>
            <a:chExt cx="1655327" cy="1655325"/>
          </a:xfrm>
          <a:solidFill>
            <a:schemeClr val="bg1"/>
          </a:solidFill>
        </p:grpSpPr>
        <p:sp>
          <p:nvSpPr>
            <p:cNvPr id="205" name="Graphic 24">
              <a:extLst>
                <a:ext uri="{FF2B5EF4-FFF2-40B4-BE49-F238E27FC236}">
                  <a16:creationId xmlns:a16="http://schemas.microsoft.com/office/drawing/2014/main" id="{B3188089-A93A-4A2C-885C-8BD0D1AAFB4D}"/>
                </a:ext>
              </a:extLst>
            </p:cNvPr>
            <p:cNvSpPr/>
            <p:nvPr/>
          </p:nvSpPr>
          <p:spPr>
            <a:xfrm>
              <a:off x="4144834" y="10418030"/>
              <a:ext cx="422904" cy="581492"/>
            </a:xfrm>
            <a:custGeom>
              <a:avLst/>
              <a:gdLst>
                <a:gd name="connsiteX0" fmla="*/ 241697 w 476250"/>
                <a:gd name="connsiteY0" fmla="*/ 14883 h 654843"/>
                <a:gd name="connsiteX1" fmla="*/ 14883 w 476250"/>
                <a:gd name="connsiteY1" fmla="*/ 241697 h 654843"/>
                <a:gd name="connsiteX2" fmla="*/ 241697 w 476250"/>
                <a:gd name="connsiteY2" fmla="*/ 649883 h 654843"/>
                <a:gd name="connsiteX3" fmla="*/ 468511 w 476250"/>
                <a:gd name="connsiteY3" fmla="*/ 241697 h 654843"/>
                <a:gd name="connsiteX4" fmla="*/ 241697 w 476250"/>
                <a:gd name="connsiteY4" fmla="*/ 14883 h 654843"/>
                <a:gd name="connsiteX5" fmla="*/ 241697 w 476250"/>
                <a:gd name="connsiteY5" fmla="*/ 352227 h 654843"/>
                <a:gd name="connsiteX6" fmla="*/ 122634 w 476250"/>
                <a:gd name="connsiteY6" fmla="*/ 233164 h 654843"/>
                <a:gd name="connsiteX7" fmla="*/ 241697 w 476250"/>
                <a:gd name="connsiteY7" fmla="*/ 114102 h 654843"/>
                <a:gd name="connsiteX8" fmla="*/ 360759 w 476250"/>
                <a:gd name="connsiteY8" fmla="*/ 233164 h 654843"/>
                <a:gd name="connsiteX9" fmla="*/ 241697 w 476250"/>
                <a:gd name="connsiteY9" fmla="*/ 352227 h 654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654843">
                  <a:moveTo>
                    <a:pt x="241697" y="14883"/>
                  </a:moveTo>
                  <a:cubicBezTo>
                    <a:pt x="116431" y="14883"/>
                    <a:pt x="14883" y="116431"/>
                    <a:pt x="14883" y="241697"/>
                  </a:cubicBezTo>
                  <a:cubicBezTo>
                    <a:pt x="14883" y="366911"/>
                    <a:pt x="241697" y="649883"/>
                    <a:pt x="241697" y="649883"/>
                  </a:cubicBezTo>
                  <a:cubicBezTo>
                    <a:pt x="241697" y="649883"/>
                    <a:pt x="468511" y="366911"/>
                    <a:pt x="468511" y="241697"/>
                  </a:cubicBezTo>
                  <a:cubicBezTo>
                    <a:pt x="468511" y="116431"/>
                    <a:pt x="366963" y="14883"/>
                    <a:pt x="241697" y="14883"/>
                  </a:cubicBezTo>
                  <a:close/>
                  <a:moveTo>
                    <a:pt x="241697" y="352227"/>
                  </a:moveTo>
                  <a:cubicBezTo>
                    <a:pt x="175940" y="352227"/>
                    <a:pt x="122634" y="298920"/>
                    <a:pt x="122634" y="233164"/>
                  </a:cubicBezTo>
                  <a:cubicBezTo>
                    <a:pt x="122634" y="167408"/>
                    <a:pt x="175940" y="114102"/>
                    <a:pt x="241697" y="114102"/>
                  </a:cubicBezTo>
                  <a:cubicBezTo>
                    <a:pt x="307453" y="114102"/>
                    <a:pt x="360759" y="167408"/>
                    <a:pt x="360759" y="233164"/>
                  </a:cubicBezTo>
                  <a:cubicBezTo>
                    <a:pt x="360759" y="298920"/>
                    <a:pt x="307453" y="352227"/>
                    <a:pt x="241697" y="352227"/>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pic>
          <p:nvPicPr>
            <p:cNvPr id="206" name="Graphic 205">
              <a:extLst>
                <a:ext uri="{FF2B5EF4-FFF2-40B4-BE49-F238E27FC236}">
                  <a16:creationId xmlns:a16="http://schemas.microsoft.com/office/drawing/2014/main" id="{CCF99EBD-4FD0-4E91-BEE0-82299ED9FC48}"/>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3528622" y="9885550"/>
              <a:ext cx="1655327" cy="1655325"/>
            </a:xfrm>
            <a:prstGeom prst="rect">
              <a:avLst/>
            </a:prstGeom>
          </p:spPr>
        </p:pic>
      </p:grpSp>
      <p:sp>
        <p:nvSpPr>
          <p:cNvPr id="208" name="Rectangle 207">
            <a:extLst>
              <a:ext uri="{FF2B5EF4-FFF2-40B4-BE49-F238E27FC236}">
                <a16:creationId xmlns:a16="http://schemas.microsoft.com/office/drawing/2014/main" id="{F9DECD17-CBF8-48FB-B2B1-80C40AE92406}"/>
              </a:ext>
            </a:extLst>
          </p:cNvPr>
          <p:cNvSpPr>
            <a:spLocks/>
          </p:cNvSpPr>
          <p:nvPr/>
        </p:nvSpPr>
        <p:spPr>
          <a:xfrm>
            <a:off x="6083307" y="3014008"/>
            <a:ext cx="588308" cy="240932"/>
          </a:xfrm>
          <a:prstGeom prst="rect">
            <a:avLst/>
          </a:prstGeom>
        </p:spPr>
        <p:txBody>
          <a:bodyPr lIns="0" tIns="13500" rIns="0" bIns="13500" anchor="ctr">
            <a:noAutofit/>
          </a:bodyPr>
          <a:lstStyle/>
          <a:p>
            <a:pPr marL="0" marR="0" lvl="0" indent="0" algn="ctr" defTabSz="685800" rtl="0" eaLnBrk="1" fontAlgn="auto" latinLnBrk="0" hangingPunct="1">
              <a:lnSpc>
                <a:spcPct val="100000"/>
              </a:lnSpc>
              <a:spcBef>
                <a:spcPts val="0"/>
              </a:spcBef>
              <a:spcAft>
                <a:spcPts val="113"/>
              </a:spcAft>
              <a:buClrTx/>
              <a:buSzTx/>
              <a:buFontTx/>
              <a:buNone/>
              <a:tabLst>
                <a:tab pos="2088356" algn="l"/>
              </a:tabLst>
              <a:defRPr/>
            </a:pPr>
            <a:r>
              <a:rPr kumimoji="0" lang="en-GB" sz="1000" b="0" i="0" u="none" strike="noStrike" kern="1200" cap="none" spc="0" normalizeH="0" baseline="0" noProof="0" dirty="0">
                <a:ln>
                  <a:noFill/>
                </a:ln>
                <a:solidFill>
                  <a:prstClr val="black"/>
                </a:solidFill>
                <a:effectLst/>
                <a:uLnTx/>
                <a:uFillTx/>
                <a:latin typeface="Franklin Gothic Medium" panose="020B0603020102020204"/>
                <a:ea typeface="+mn-ea"/>
                <a:cs typeface="+mn-cs"/>
              </a:rPr>
              <a:t>ASIA </a:t>
            </a:r>
            <a:br>
              <a:rPr kumimoji="0" lang="en-GB" sz="1000" b="0" i="0" u="none" strike="noStrike" kern="1200" cap="none" spc="0" normalizeH="0" baseline="0" noProof="0" dirty="0">
                <a:ln>
                  <a:noFill/>
                </a:ln>
                <a:solidFill>
                  <a:prstClr val="black"/>
                </a:solidFill>
                <a:effectLst/>
                <a:uLnTx/>
                <a:uFillTx/>
                <a:latin typeface="Franklin Gothic Medium" panose="020B0603020102020204"/>
                <a:ea typeface="+mn-ea"/>
                <a:cs typeface="+mn-cs"/>
              </a:rPr>
            </a:br>
            <a:r>
              <a:rPr kumimoji="0" lang="en-GB" sz="1000" b="0" i="0" u="none" strike="noStrike" kern="1200" cap="none" spc="0" normalizeH="0" baseline="0" noProof="0" dirty="0">
                <a:ln>
                  <a:noFill/>
                </a:ln>
                <a:solidFill>
                  <a:prstClr val="black"/>
                </a:solidFill>
                <a:effectLst/>
                <a:uLnTx/>
                <a:uFillTx/>
                <a:latin typeface="Franklin Gothic Medium" panose="020B0603020102020204"/>
                <a:ea typeface="+mn-ea"/>
                <a:cs typeface="+mn-cs"/>
              </a:rPr>
              <a:t>PACIFIC</a:t>
            </a:r>
          </a:p>
        </p:txBody>
      </p:sp>
      <p:sp>
        <p:nvSpPr>
          <p:cNvPr id="209" name="Rectangle 208">
            <a:extLst>
              <a:ext uri="{FF2B5EF4-FFF2-40B4-BE49-F238E27FC236}">
                <a16:creationId xmlns:a16="http://schemas.microsoft.com/office/drawing/2014/main" id="{9F580078-CEF0-482B-B721-8477042D97B4}"/>
              </a:ext>
            </a:extLst>
          </p:cNvPr>
          <p:cNvSpPr>
            <a:spLocks/>
          </p:cNvSpPr>
          <p:nvPr/>
        </p:nvSpPr>
        <p:spPr>
          <a:xfrm>
            <a:off x="5812120" y="3722892"/>
            <a:ext cx="588308" cy="240932"/>
          </a:xfrm>
          <a:prstGeom prst="rect">
            <a:avLst/>
          </a:prstGeom>
        </p:spPr>
        <p:txBody>
          <a:bodyPr lIns="0" tIns="13500" rIns="0" bIns="13500" anchor="ctr">
            <a:noAutofit/>
          </a:bodyPr>
          <a:lstStyle/>
          <a:p>
            <a:pPr marL="0" marR="0" lvl="0" indent="0" algn="ctr" defTabSz="685800" rtl="0" eaLnBrk="1" fontAlgn="auto" latinLnBrk="0" hangingPunct="1">
              <a:lnSpc>
                <a:spcPct val="100000"/>
              </a:lnSpc>
              <a:spcBef>
                <a:spcPts val="0"/>
              </a:spcBef>
              <a:spcAft>
                <a:spcPts val="113"/>
              </a:spcAft>
              <a:buClrTx/>
              <a:buSzTx/>
              <a:buFontTx/>
              <a:buNone/>
              <a:tabLst>
                <a:tab pos="2088356" algn="l"/>
              </a:tabLst>
              <a:defRPr/>
            </a:pPr>
            <a:r>
              <a:rPr kumimoji="0" lang="en-GB" sz="1000" b="0" i="0" u="none" strike="noStrike" kern="1200" cap="none" spc="0" normalizeH="0" baseline="0" noProof="0" dirty="0">
                <a:ln>
                  <a:noFill/>
                </a:ln>
                <a:solidFill>
                  <a:prstClr val="black"/>
                </a:solidFill>
                <a:effectLst/>
                <a:uLnTx/>
                <a:uFillTx/>
                <a:latin typeface="Franklin Gothic Medium" panose="020B0603020102020204"/>
                <a:ea typeface="+mn-ea"/>
                <a:cs typeface="+mn-cs"/>
              </a:rPr>
              <a:t>NORTH </a:t>
            </a:r>
            <a:br>
              <a:rPr kumimoji="0" lang="en-GB" sz="1000" b="0" i="0" u="none" strike="noStrike" kern="1200" cap="none" spc="0" normalizeH="0" baseline="0" noProof="0" dirty="0">
                <a:ln>
                  <a:noFill/>
                </a:ln>
                <a:solidFill>
                  <a:prstClr val="black"/>
                </a:solidFill>
                <a:effectLst/>
                <a:uLnTx/>
                <a:uFillTx/>
                <a:latin typeface="Franklin Gothic Medium" panose="020B0603020102020204"/>
                <a:ea typeface="+mn-ea"/>
                <a:cs typeface="+mn-cs"/>
              </a:rPr>
            </a:br>
            <a:r>
              <a:rPr kumimoji="0" lang="en-GB" sz="1000" b="0" i="0" u="none" strike="noStrike" kern="1200" cap="none" spc="0" normalizeH="0" baseline="0" noProof="0" dirty="0">
                <a:ln>
                  <a:noFill/>
                </a:ln>
                <a:solidFill>
                  <a:prstClr val="black"/>
                </a:solidFill>
                <a:effectLst/>
                <a:uLnTx/>
                <a:uFillTx/>
                <a:latin typeface="Franklin Gothic Medium" panose="020B0603020102020204"/>
                <a:ea typeface="+mn-ea"/>
                <a:cs typeface="+mn-cs"/>
              </a:rPr>
              <a:t>AMERICA</a:t>
            </a:r>
          </a:p>
        </p:txBody>
      </p:sp>
      <p:sp>
        <p:nvSpPr>
          <p:cNvPr id="210" name="Rectangle 209">
            <a:extLst>
              <a:ext uri="{FF2B5EF4-FFF2-40B4-BE49-F238E27FC236}">
                <a16:creationId xmlns:a16="http://schemas.microsoft.com/office/drawing/2014/main" id="{3EF02035-3161-4869-9F36-5F7C5ED0A174}"/>
              </a:ext>
            </a:extLst>
          </p:cNvPr>
          <p:cNvSpPr>
            <a:spLocks/>
          </p:cNvSpPr>
          <p:nvPr/>
        </p:nvSpPr>
        <p:spPr>
          <a:xfrm>
            <a:off x="6886178" y="3722892"/>
            <a:ext cx="588308" cy="240932"/>
          </a:xfrm>
          <a:prstGeom prst="rect">
            <a:avLst/>
          </a:prstGeom>
        </p:spPr>
        <p:txBody>
          <a:bodyPr lIns="0" tIns="13500" rIns="0" bIns="13500" anchor="ctr">
            <a:noAutofit/>
          </a:bodyPr>
          <a:lstStyle/>
          <a:p>
            <a:pPr marL="0" marR="0" lvl="0" indent="0" algn="ctr" defTabSz="685800" rtl="0" eaLnBrk="1" fontAlgn="auto" latinLnBrk="0" hangingPunct="1">
              <a:lnSpc>
                <a:spcPct val="100000"/>
              </a:lnSpc>
              <a:spcBef>
                <a:spcPts val="0"/>
              </a:spcBef>
              <a:spcAft>
                <a:spcPts val="113"/>
              </a:spcAft>
              <a:buClrTx/>
              <a:buSzTx/>
              <a:buFontTx/>
              <a:buNone/>
              <a:tabLst>
                <a:tab pos="2088356" algn="l"/>
              </a:tabLst>
              <a:defRPr/>
            </a:pPr>
            <a:r>
              <a:rPr kumimoji="0" lang="en-GB" sz="1000" b="0" i="0" u="none" strike="noStrike" kern="1200" cap="none" spc="0" normalizeH="0" baseline="0" noProof="0" dirty="0">
                <a:ln>
                  <a:noFill/>
                </a:ln>
                <a:solidFill>
                  <a:prstClr val="black"/>
                </a:solidFill>
                <a:effectLst/>
                <a:uLnTx/>
                <a:uFillTx/>
                <a:latin typeface="Franklin Gothic Medium" panose="020B0603020102020204"/>
                <a:ea typeface="+mn-ea"/>
                <a:cs typeface="+mn-cs"/>
              </a:rPr>
              <a:t>EUROPE</a:t>
            </a:r>
          </a:p>
        </p:txBody>
      </p:sp>
      <p:sp>
        <p:nvSpPr>
          <p:cNvPr id="224" name="Rectangle 223">
            <a:extLst>
              <a:ext uri="{FF2B5EF4-FFF2-40B4-BE49-F238E27FC236}">
                <a16:creationId xmlns:a16="http://schemas.microsoft.com/office/drawing/2014/main" id="{4491CAE3-CAD9-46A5-9083-F69430762D08}"/>
              </a:ext>
            </a:extLst>
          </p:cNvPr>
          <p:cNvSpPr>
            <a:spLocks/>
          </p:cNvSpPr>
          <p:nvPr/>
        </p:nvSpPr>
        <p:spPr>
          <a:xfrm>
            <a:off x="478088" y="1070225"/>
            <a:ext cx="4093912" cy="384544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endParaRPr kumimoji="0" lang="en-GB" sz="2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46" name="Rectangle 645">
            <a:extLst>
              <a:ext uri="{FF2B5EF4-FFF2-40B4-BE49-F238E27FC236}">
                <a16:creationId xmlns:a16="http://schemas.microsoft.com/office/drawing/2014/main" id="{D3DD33DE-D14A-4EDD-8595-261AD60D5AA5}"/>
              </a:ext>
            </a:extLst>
          </p:cNvPr>
          <p:cNvSpPr>
            <a:spLocks/>
          </p:cNvSpPr>
          <p:nvPr/>
        </p:nvSpPr>
        <p:spPr>
          <a:xfrm>
            <a:off x="635594" y="1162330"/>
            <a:ext cx="3755497" cy="370021"/>
          </a:xfrm>
          <a:prstGeom prst="rect">
            <a:avLst/>
          </a:prstGeom>
        </p:spPr>
        <p:txBody>
          <a:bodyPr lIns="0" tIns="13500" rIns="0" bIns="13500" anchor="t">
            <a:noAutofit/>
          </a:bodyPr>
          <a:lstStyle/>
          <a:p>
            <a:pPr marL="0" marR="0" lvl="0" indent="0" algn="l" defTabSz="685800" rtl="0" eaLnBrk="1" fontAlgn="auto" latinLnBrk="0" hangingPunct="1">
              <a:lnSpc>
                <a:spcPct val="100000"/>
              </a:lnSpc>
              <a:spcBef>
                <a:spcPts val="0"/>
              </a:spcBef>
              <a:spcAft>
                <a:spcPts val="113"/>
              </a:spcAft>
              <a:buClrTx/>
              <a:buSzTx/>
              <a:buFontTx/>
              <a:buNone/>
              <a:tabLst>
                <a:tab pos="2088356" algn="l"/>
              </a:tabLst>
              <a:defRPr/>
            </a:pPr>
            <a:r>
              <a:rPr kumimoji="0" lang="en-GB" sz="1200" b="1" i="0" u="none" strike="noStrike" kern="1200" cap="none" spc="0" normalizeH="0" baseline="0" noProof="0" dirty="0">
                <a:ln>
                  <a:noFill/>
                </a:ln>
                <a:solidFill>
                  <a:prstClr val="black"/>
                </a:solidFill>
                <a:effectLst/>
                <a:uLnTx/>
                <a:uFillTx/>
                <a:latin typeface="Franklin Gothic Book" panose="020B0503020102020204"/>
                <a:ea typeface="+mn-ea"/>
                <a:cs typeface="+mn-cs"/>
              </a:rPr>
              <a:t>29 stakeholders were identified </a:t>
            </a:r>
          </a:p>
        </p:txBody>
      </p:sp>
      <p:sp>
        <p:nvSpPr>
          <p:cNvPr id="647" name="Freeform: Shape 646">
            <a:extLst>
              <a:ext uri="{FF2B5EF4-FFF2-40B4-BE49-F238E27FC236}">
                <a16:creationId xmlns:a16="http://schemas.microsoft.com/office/drawing/2014/main" id="{41FDB75D-8C99-487B-89FD-C267E9ECB704}"/>
              </a:ext>
            </a:extLst>
          </p:cNvPr>
          <p:cNvSpPr/>
          <p:nvPr/>
        </p:nvSpPr>
        <p:spPr>
          <a:xfrm>
            <a:off x="863227" y="1679595"/>
            <a:ext cx="3527864" cy="346000"/>
          </a:xfrm>
          <a:custGeom>
            <a:avLst/>
            <a:gdLst>
              <a:gd name="connsiteX0" fmla="*/ 0 w 5647615"/>
              <a:gd name="connsiteY0" fmla="*/ 0 h 540000"/>
              <a:gd name="connsiteX1" fmla="*/ 5647615 w 5647615"/>
              <a:gd name="connsiteY1" fmla="*/ 0 h 540000"/>
              <a:gd name="connsiteX2" fmla="*/ 5512615 w 5647615"/>
              <a:gd name="connsiteY2" fmla="*/ 540000 h 540000"/>
              <a:gd name="connsiteX3" fmla="*/ 0 w 5647615"/>
              <a:gd name="connsiteY3" fmla="*/ 540000 h 540000"/>
              <a:gd name="connsiteX4" fmla="*/ 270000 w 5647615"/>
              <a:gd name="connsiteY4" fmla="*/ 270000 h 540000"/>
              <a:gd name="connsiteX5" fmla="*/ 0 w 5647615"/>
              <a:gd name="connsiteY5" fmla="*/ 0 h 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47615" h="540000">
                <a:moveTo>
                  <a:pt x="0" y="0"/>
                </a:moveTo>
                <a:lnTo>
                  <a:pt x="5647615" y="0"/>
                </a:lnTo>
                <a:lnTo>
                  <a:pt x="5512615" y="540000"/>
                </a:lnTo>
                <a:lnTo>
                  <a:pt x="0" y="540000"/>
                </a:lnTo>
                <a:cubicBezTo>
                  <a:pt x="149117" y="540000"/>
                  <a:pt x="270000" y="419117"/>
                  <a:pt x="270000" y="270000"/>
                </a:cubicBezTo>
                <a:cubicBezTo>
                  <a:pt x="270000" y="120883"/>
                  <a:pt x="149117" y="0"/>
                  <a:pt x="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Franklin Gothic Medium" panose="020B0603020102020204"/>
                <a:ea typeface="+mn-ea"/>
                <a:cs typeface="+mn-cs"/>
              </a:rPr>
              <a:t> </a:t>
            </a:r>
          </a:p>
        </p:txBody>
      </p:sp>
      <p:sp>
        <p:nvSpPr>
          <p:cNvPr id="648" name="Rectangle 647">
            <a:extLst>
              <a:ext uri="{FF2B5EF4-FFF2-40B4-BE49-F238E27FC236}">
                <a16:creationId xmlns:a16="http://schemas.microsoft.com/office/drawing/2014/main" id="{A358802C-7B2B-4FA7-89EB-0EF95D754CF7}"/>
              </a:ext>
            </a:extLst>
          </p:cNvPr>
          <p:cNvSpPr>
            <a:spLocks/>
          </p:cNvSpPr>
          <p:nvPr/>
        </p:nvSpPr>
        <p:spPr>
          <a:xfrm>
            <a:off x="1125371" y="1728652"/>
            <a:ext cx="2946349" cy="247885"/>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3"/>
              </a:spcAft>
              <a:buClrTx/>
              <a:buSzTx/>
              <a:buFontTx/>
              <a:buNone/>
              <a:tabLst>
                <a:tab pos="2088356" algn="l"/>
              </a:tabLst>
              <a:defRPr/>
            </a:pPr>
            <a:r>
              <a:rPr kumimoji="0" lang="en-GB" sz="1050" b="0" i="0" u="none" strike="noStrike" kern="1200" cap="none" spc="0" normalizeH="0" baseline="0" noProof="0" dirty="0">
                <a:ln>
                  <a:noFill/>
                </a:ln>
                <a:solidFill>
                  <a:prstClr val="black"/>
                </a:solidFill>
                <a:effectLst/>
                <a:uLnTx/>
                <a:uFillTx/>
                <a:latin typeface="Franklin Gothic Book" panose="020B0503020102020204"/>
                <a:ea typeface="+mn-ea"/>
                <a:cs typeface="+mn-cs"/>
              </a:rPr>
              <a:t>Pharmaceutical industry </a:t>
            </a:r>
          </a:p>
        </p:txBody>
      </p:sp>
      <p:grpSp>
        <p:nvGrpSpPr>
          <p:cNvPr id="654" name="Group 653">
            <a:extLst>
              <a:ext uri="{FF2B5EF4-FFF2-40B4-BE49-F238E27FC236}">
                <a16:creationId xmlns:a16="http://schemas.microsoft.com/office/drawing/2014/main" id="{FE81C45B-EE90-409A-84EE-DF256EAD14F3}"/>
              </a:ext>
            </a:extLst>
          </p:cNvPr>
          <p:cNvGrpSpPr/>
          <p:nvPr/>
        </p:nvGrpSpPr>
        <p:grpSpPr>
          <a:xfrm>
            <a:off x="635598" y="1629854"/>
            <a:ext cx="445480" cy="445480"/>
            <a:chOff x="12601040" y="2468122"/>
            <a:chExt cx="540000" cy="540000"/>
          </a:xfrm>
        </p:grpSpPr>
        <p:sp>
          <p:nvSpPr>
            <p:cNvPr id="806" name="Oval 805">
              <a:extLst>
                <a:ext uri="{FF2B5EF4-FFF2-40B4-BE49-F238E27FC236}">
                  <a16:creationId xmlns:a16="http://schemas.microsoft.com/office/drawing/2014/main" id="{5D2519A4-0163-4AB8-BA36-59E0A1ADC02E}"/>
                </a:ext>
              </a:extLst>
            </p:cNvPr>
            <p:cNvSpPr/>
            <p:nvPr/>
          </p:nvSpPr>
          <p:spPr>
            <a:xfrm>
              <a:off x="12601040" y="2468122"/>
              <a:ext cx="540000" cy="5400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Franklin Gothic Medium" panose="020B0603020102020204"/>
                  <a:ea typeface="+mn-ea"/>
                  <a:cs typeface="+mn-cs"/>
                </a:rPr>
                <a:t> </a:t>
              </a:r>
            </a:p>
          </p:txBody>
        </p:sp>
        <p:grpSp>
          <p:nvGrpSpPr>
            <p:cNvPr id="807" name="Graphic 2">
              <a:extLst>
                <a:ext uri="{FF2B5EF4-FFF2-40B4-BE49-F238E27FC236}">
                  <a16:creationId xmlns:a16="http://schemas.microsoft.com/office/drawing/2014/main" id="{B9AB0210-43B0-4BFE-AC5D-30CA642155E2}"/>
                </a:ext>
              </a:extLst>
            </p:cNvPr>
            <p:cNvGrpSpPr/>
            <p:nvPr/>
          </p:nvGrpSpPr>
          <p:grpSpPr>
            <a:xfrm>
              <a:off x="12766392" y="2586620"/>
              <a:ext cx="209284" cy="303005"/>
              <a:chOff x="-2895625" y="3862244"/>
              <a:chExt cx="2305050" cy="3337293"/>
            </a:xfrm>
          </p:grpSpPr>
          <p:sp>
            <p:nvSpPr>
              <p:cNvPr id="808" name="Freeform: Shape 807">
                <a:extLst>
                  <a:ext uri="{FF2B5EF4-FFF2-40B4-BE49-F238E27FC236}">
                    <a16:creationId xmlns:a16="http://schemas.microsoft.com/office/drawing/2014/main" id="{3DA95346-C338-4C72-A634-410314CEA544}"/>
                  </a:ext>
                </a:extLst>
              </p:cNvPr>
              <p:cNvSpPr/>
              <p:nvPr/>
            </p:nvSpPr>
            <p:spPr>
              <a:xfrm>
                <a:off x="-2895625" y="6999512"/>
                <a:ext cx="2305050" cy="200025"/>
              </a:xfrm>
              <a:custGeom>
                <a:avLst/>
                <a:gdLst>
                  <a:gd name="connsiteX0" fmla="*/ 2303145 w 2305050"/>
                  <a:gd name="connsiteY0" fmla="*/ 100822 h 200025"/>
                  <a:gd name="connsiteX1" fmla="*/ 1155144 w 2305050"/>
                  <a:gd name="connsiteY1" fmla="*/ 194500 h 200025"/>
                  <a:gd name="connsiteX2" fmla="*/ 7144 w 2305050"/>
                  <a:gd name="connsiteY2" fmla="*/ 100822 h 200025"/>
                  <a:gd name="connsiteX3" fmla="*/ 1155144 w 2305050"/>
                  <a:gd name="connsiteY3" fmla="*/ 7144 h 200025"/>
                  <a:gd name="connsiteX4" fmla="*/ 2303145 w 2305050"/>
                  <a:gd name="connsiteY4" fmla="*/ 100822 h 200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050" h="200025">
                    <a:moveTo>
                      <a:pt x="2303145" y="100822"/>
                    </a:moveTo>
                    <a:cubicBezTo>
                      <a:pt x="2303145" y="152559"/>
                      <a:pt x="1789168" y="194500"/>
                      <a:pt x="1155144" y="194500"/>
                    </a:cubicBezTo>
                    <a:cubicBezTo>
                      <a:pt x="521121" y="194500"/>
                      <a:pt x="7144" y="152559"/>
                      <a:pt x="7144" y="100822"/>
                    </a:cubicBezTo>
                    <a:cubicBezTo>
                      <a:pt x="7144" y="49085"/>
                      <a:pt x="521121" y="7144"/>
                      <a:pt x="1155144" y="7144"/>
                    </a:cubicBezTo>
                    <a:cubicBezTo>
                      <a:pt x="1789168" y="7144"/>
                      <a:pt x="2303145" y="49085"/>
                      <a:pt x="2303145" y="100822"/>
                    </a:cubicBezTo>
                    <a:close/>
                  </a:path>
                </a:pathLst>
              </a:custGeom>
              <a:solidFill>
                <a:srgbClr val="520A1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09" name="Freeform: Shape 808">
                <a:extLst>
                  <a:ext uri="{FF2B5EF4-FFF2-40B4-BE49-F238E27FC236}">
                    <a16:creationId xmlns:a16="http://schemas.microsoft.com/office/drawing/2014/main" id="{62DFF688-0548-4EE0-9D40-439DBF1078F2}"/>
                  </a:ext>
                </a:extLst>
              </p:cNvPr>
              <p:cNvSpPr/>
              <p:nvPr/>
            </p:nvSpPr>
            <p:spPr>
              <a:xfrm>
                <a:off x="-2473201" y="4475902"/>
                <a:ext cx="1457325" cy="2628900"/>
              </a:xfrm>
              <a:custGeom>
                <a:avLst/>
                <a:gdLst>
                  <a:gd name="connsiteX0" fmla="*/ 187976 w 1457325"/>
                  <a:gd name="connsiteY0" fmla="*/ 7144 h 2628900"/>
                  <a:gd name="connsiteX1" fmla="*/ 1277455 w 1457325"/>
                  <a:gd name="connsiteY1" fmla="*/ 7144 h 2628900"/>
                  <a:gd name="connsiteX2" fmla="*/ 1458287 w 1457325"/>
                  <a:gd name="connsiteY2" fmla="*/ 187976 h 2628900"/>
                  <a:gd name="connsiteX3" fmla="*/ 1458287 w 1457325"/>
                  <a:gd name="connsiteY3" fmla="*/ 2442448 h 2628900"/>
                  <a:gd name="connsiteX4" fmla="*/ 1277455 w 1457325"/>
                  <a:gd name="connsiteY4" fmla="*/ 2623280 h 2628900"/>
                  <a:gd name="connsiteX5" fmla="*/ 187976 w 1457325"/>
                  <a:gd name="connsiteY5" fmla="*/ 2623280 h 2628900"/>
                  <a:gd name="connsiteX6" fmla="*/ 7144 w 1457325"/>
                  <a:gd name="connsiteY6" fmla="*/ 2442448 h 2628900"/>
                  <a:gd name="connsiteX7" fmla="*/ 7144 w 1457325"/>
                  <a:gd name="connsiteY7" fmla="*/ 187976 h 2628900"/>
                  <a:gd name="connsiteX8" fmla="*/ 187976 w 1457325"/>
                  <a:gd name="connsiteY8" fmla="*/ 7144 h 2628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7325" h="2628900">
                    <a:moveTo>
                      <a:pt x="187976" y="7144"/>
                    </a:moveTo>
                    <a:lnTo>
                      <a:pt x="1277455" y="7144"/>
                    </a:lnTo>
                    <a:cubicBezTo>
                      <a:pt x="1377334" y="7144"/>
                      <a:pt x="1458287" y="88097"/>
                      <a:pt x="1458287" y="187976"/>
                    </a:cubicBezTo>
                    <a:lnTo>
                      <a:pt x="1458287" y="2442448"/>
                    </a:lnTo>
                    <a:cubicBezTo>
                      <a:pt x="1458287" y="2542327"/>
                      <a:pt x="1377334" y="2623280"/>
                      <a:pt x="1277455" y="2623280"/>
                    </a:cubicBezTo>
                    <a:lnTo>
                      <a:pt x="187976" y="2623280"/>
                    </a:lnTo>
                    <a:cubicBezTo>
                      <a:pt x="88097" y="2623280"/>
                      <a:pt x="7144" y="2542327"/>
                      <a:pt x="7144" y="2442448"/>
                    </a:cubicBezTo>
                    <a:lnTo>
                      <a:pt x="7144" y="187976"/>
                    </a:lnTo>
                    <a:cubicBezTo>
                      <a:pt x="7144" y="88097"/>
                      <a:pt x="88106" y="7144"/>
                      <a:pt x="187976" y="7144"/>
                    </a:cubicBezTo>
                    <a:close/>
                  </a:path>
                </a:pathLst>
              </a:custGeom>
              <a:solidFill>
                <a:schemeClr val="accent5"/>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10" name="Freeform: Shape 809">
                <a:extLst>
                  <a:ext uri="{FF2B5EF4-FFF2-40B4-BE49-F238E27FC236}">
                    <a16:creationId xmlns:a16="http://schemas.microsoft.com/office/drawing/2014/main" id="{B09213D1-9ADA-485E-8213-C585646DBEAF}"/>
                  </a:ext>
                </a:extLst>
              </p:cNvPr>
              <p:cNvSpPr/>
              <p:nvPr/>
            </p:nvSpPr>
            <p:spPr>
              <a:xfrm>
                <a:off x="-1072655" y="4531566"/>
                <a:ext cx="57150" cy="2514600"/>
              </a:xfrm>
              <a:custGeom>
                <a:avLst/>
                <a:gdLst>
                  <a:gd name="connsiteX0" fmla="*/ 7144 w 57150"/>
                  <a:gd name="connsiteY0" fmla="*/ 7144 h 2514600"/>
                  <a:gd name="connsiteX1" fmla="*/ 7144 w 57150"/>
                  <a:gd name="connsiteY1" fmla="*/ 2511914 h 2514600"/>
                  <a:gd name="connsiteX2" fmla="*/ 57760 w 57150"/>
                  <a:gd name="connsiteY2" fmla="*/ 2386784 h 2514600"/>
                  <a:gd name="connsiteX3" fmla="*/ 57760 w 57150"/>
                  <a:gd name="connsiteY3" fmla="*/ 132283 h 2514600"/>
                  <a:gd name="connsiteX4" fmla="*/ 7144 w 57150"/>
                  <a:gd name="connsiteY4" fmla="*/ 7144 h 2514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2514600">
                    <a:moveTo>
                      <a:pt x="7144" y="7144"/>
                    </a:moveTo>
                    <a:lnTo>
                      <a:pt x="7144" y="2511914"/>
                    </a:lnTo>
                    <a:cubicBezTo>
                      <a:pt x="38443" y="2479377"/>
                      <a:pt x="57760" y="2435228"/>
                      <a:pt x="57760" y="2386784"/>
                    </a:cubicBezTo>
                    <a:lnTo>
                      <a:pt x="57760" y="132283"/>
                    </a:lnTo>
                    <a:cubicBezTo>
                      <a:pt x="57750" y="83849"/>
                      <a:pt x="38424" y="39700"/>
                      <a:pt x="7144" y="7144"/>
                    </a:cubicBezTo>
                    <a:close/>
                  </a:path>
                </a:pathLst>
              </a:custGeom>
              <a:solidFill>
                <a:schemeClr val="accent5">
                  <a:lumMod val="50000"/>
                </a:schemeClr>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11" name="Freeform: Shape 810">
                <a:extLst>
                  <a:ext uri="{FF2B5EF4-FFF2-40B4-BE49-F238E27FC236}">
                    <a16:creationId xmlns:a16="http://schemas.microsoft.com/office/drawing/2014/main" id="{B64A065C-B2CD-4AD1-A9DE-D64522B5CE32}"/>
                  </a:ext>
                </a:extLst>
              </p:cNvPr>
              <p:cNvSpPr/>
              <p:nvPr/>
            </p:nvSpPr>
            <p:spPr>
              <a:xfrm>
                <a:off x="-2186851" y="4278934"/>
                <a:ext cx="885825" cy="209550"/>
              </a:xfrm>
              <a:custGeom>
                <a:avLst/>
                <a:gdLst>
                  <a:gd name="connsiteX0" fmla="*/ 885615 w 885825"/>
                  <a:gd name="connsiteY0" fmla="*/ 7144 h 209550"/>
                  <a:gd name="connsiteX1" fmla="*/ 885615 w 885825"/>
                  <a:gd name="connsiteY1" fmla="*/ 207769 h 209550"/>
                  <a:gd name="connsiteX2" fmla="*/ 7144 w 885825"/>
                  <a:gd name="connsiteY2" fmla="*/ 207769 h 209550"/>
                  <a:gd name="connsiteX3" fmla="*/ 7144 w 885825"/>
                  <a:gd name="connsiteY3" fmla="*/ 7144 h 209550"/>
                  <a:gd name="connsiteX4" fmla="*/ 885615 w 885825"/>
                  <a:gd name="connsiteY4" fmla="*/ 7144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825" h="209550">
                    <a:moveTo>
                      <a:pt x="885615" y="7144"/>
                    </a:moveTo>
                    <a:lnTo>
                      <a:pt x="885615" y="207769"/>
                    </a:lnTo>
                    <a:lnTo>
                      <a:pt x="7144" y="207769"/>
                    </a:lnTo>
                    <a:lnTo>
                      <a:pt x="7144" y="7144"/>
                    </a:lnTo>
                    <a:lnTo>
                      <a:pt x="885615" y="7144"/>
                    </a:lnTo>
                    <a:close/>
                  </a:path>
                </a:pathLst>
              </a:custGeom>
              <a:solidFill>
                <a:schemeClr val="accent5">
                  <a:lumMod val="50000"/>
                </a:schemeClr>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12" name="Freeform: Shape 811">
                <a:extLst>
                  <a:ext uri="{FF2B5EF4-FFF2-40B4-BE49-F238E27FC236}">
                    <a16:creationId xmlns:a16="http://schemas.microsoft.com/office/drawing/2014/main" id="{9CAFB527-54EB-4987-B213-052800889663}"/>
                  </a:ext>
                </a:extLst>
              </p:cNvPr>
              <p:cNvSpPr/>
              <p:nvPr/>
            </p:nvSpPr>
            <p:spPr>
              <a:xfrm>
                <a:off x="-2261175" y="3862244"/>
                <a:ext cx="1038225" cy="428625"/>
              </a:xfrm>
              <a:custGeom>
                <a:avLst/>
                <a:gdLst>
                  <a:gd name="connsiteX0" fmla="*/ 64084 w 1038225"/>
                  <a:gd name="connsiteY0" fmla="*/ 7144 h 428625"/>
                  <a:gd name="connsiteX1" fmla="*/ 977313 w 1038225"/>
                  <a:gd name="connsiteY1" fmla="*/ 7144 h 428625"/>
                  <a:gd name="connsiteX2" fmla="*/ 1034253 w 1038225"/>
                  <a:gd name="connsiteY2" fmla="*/ 64084 h 428625"/>
                  <a:gd name="connsiteX3" fmla="*/ 1034253 w 1038225"/>
                  <a:gd name="connsiteY3" fmla="*/ 366884 h 428625"/>
                  <a:gd name="connsiteX4" fmla="*/ 977313 w 1038225"/>
                  <a:gd name="connsiteY4" fmla="*/ 423824 h 428625"/>
                  <a:gd name="connsiteX5" fmla="*/ 64084 w 1038225"/>
                  <a:gd name="connsiteY5" fmla="*/ 423824 h 428625"/>
                  <a:gd name="connsiteX6" fmla="*/ 7144 w 1038225"/>
                  <a:gd name="connsiteY6" fmla="*/ 366884 h 428625"/>
                  <a:gd name="connsiteX7" fmla="*/ 7144 w 1038225"/>
                  <a:gd name="connsiteY7" fmla="*/ 64084 h 428625"/>
                  <a:gd name="connsiteX8" fmla="*/ 64084 w 1038225"/>
                  <a:gd name="connsiteY8" fmla="*/ 7144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8225" h="428625">
                    <a:moveTo>
                      <a:pt x="64084" y="7144"/>
                    </a:moveTo>
                    <a:lnTo>
                      <a:pt x="977313" y="7144"/>
                    </a:lnTo>
                    <a:cubicBezTo>
                      <a:pt x="1008764" y="7144"/>
                      <a:pt x="1034253" y="32642"/>
                      <a:pt x="1034253" y="64084"/>
                    </a:cubicBezTo>
                    <a:lnTo>
                      <a:pt x="1034253" y="366884"/>
                    </a:lnTo>
                    <a:cubicBezTo>
                      <a:pt x="1034253" y="398336"/>
                      <a:pt x="1008755" y="423824"/>
                      <a:pt x="977313" y="423824"/>
                    </a:cubicBezTo>
                    <a:lnTo>
                      <a:pt x="64084" y="423824"/>
                    </a:lnTo>
                    <a:cubicBezTo>
                      <a:pt x="32633" y="423824"/>
                      <a:pt x="7144" y="398326"/>
                      <a:pt x="7144" y="366884"/>
                    </a:cubicBezTo>
                    <a:lnTo>
                      <a:pt x="7144" y="64084"/>
                    </a:lnTo>
                    <a:cubicBezTo>
                      <a:pt x="7134" y="32633"/>
                      <a:pt x="32633" y="7144"/>
                      <a:pt x="64084" y="7144"/>
                    </a:cubicBezTo>
                    <a:close/>
                  </a:path>
                </a:pathLst>
              </a:custGeom>
              <a:solidFill>
                <a:srgbClr val="FFFF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13" name="Freeform: Shape 812">
                <a:extLst>
                  <a:ext uri="{FF2B5EF4-FFF2-40B4-BE49-F238E27FC236}">
                    <a16:creationId xmlns:a16="http://schemas.microsoft.com/office/drawing/2014/main" id="{353AB71A-FD39-46D2-9D9D-A61395041963}"/>
                  </a:ext>
                </a:extLst>
              </p:cNvPr>
              <p:cNvSpPr/>
              <p:nvPr/>
            </p:nvSpPr>
            <p:spPr>
              <a:xfrm>
                <a:off x="-2193823" y="3924519"/>
                <a:ext cx="904875" cy="304800"/>
              </a:xfrm>
              <a:custGeom>
                <a:avLst/>
                <a:gdLst>
                  <a:gd name="connsiteX0" fmla="*/ 841248 w 904875"/>
                  <a:gd name="connsiteY0" fmla="*/ 7144 h 304800"/>
                  <a:gd name="connsiteX1" fmla="*/ 899541 w 904875"/>
                  <a:gd name="connsiteY1" fmla="*/ 7144 h 304800"/>
                  <a:gd name="connsiteX2" fmla="*/ 899541 w 904875"/>
                  <a:gd name="connsiteY2" fmla="*/ 299285 h 304800"/>
                  <a:gd name="connsiteX3" fmla="*/ 841248 w 904875"/>
                  <a:gd name="connsiteY3" fmla="*/ 299285 h 304800"/>
                  <a:gd name="connsiteX4" fmla="*/ 841248 w 904875"/>
                  <a:gd name="connsiteY4" fmla="*/ 7144 h 304800"/>
                  <a:gd name="connsiteX5" fmla="*/ 702221 w 904875"/>
                  <a:gd name="connsiteY5" fmla="*/ 7144 h 304800"/>
                  <a:gd name="connsiteX6" fmla="*/ 760533 w 904875"/>
                  <a:gd name="connsiteY6" fmla="*/ 7144 h 304800"/>
                  <a:gd name="connsiteX7" fmla="*/ 760533 w 904875"/>
                  <a:gd name="connsiteY7" fmla="*/ 299285 h 304800"/>
                  <a:gd name="connsiteX8" fmla="*/ 702221 w 904875"/>
                  <a:gd name="connsiteY8" fmla="*/ 299285 h 304800"/>
                  <a:gd name="connsiteX9" fmla="*/ 702221 w 904875"/>
                  <a:gd name="connsiteY9" fmla="*/ 7144 h 304800"/>
                  <a:gd name="connsiteX10" fmla="*/ 563194 w 904875"/>
                  <a:gd name="connsiteY10" fmla="*/ 7144 h 304800"/>
                  <a:gd name="connsiteX11" fmla="*/ 621506 w 904875"/>
                  <a:gd name="connsiteY11" fmla="*/ 7144 h 304800"/>
                  <a:gd name="connsiteX12" fmla="*/ 621506 w 904875"/>
                  <a:gd name="connsiteY12" fmla="*/ 299285 h 304800"/>
                  <a:gd name="connsiteX13" fmla="*/ 563194 w 904875"/>
                  <a:gd name="connsiteY13" fmla="*/ 299285 h 304800"/>
                  <a:gd name="connsiteX14" fmla="*/ 563194 w 904875"/>
                  <a:gd name="connsiteY14" fmla="*/ 7144 h 304800"/>
                  <a:gd name="connsiteX15" fmla="*/ 424196 w 904875"/>
                  <a:gd name="connsiteY15" fmla="*/ 7144 h 304800"/>
                  <a:gd name="connsiteX16" fmla="*/ 482489 w 904875"/>
                  <a:gd name="connsiteY16" fmla="*/ 7144 h 304800"/>
                  <a:gd name="connsiteX17" fmla="*/ 482489 w 904875"/>
                  <a:gd name="connsiteY17" fmla="*/ 299285 h 304800"/>
                  <a:gd name="connsiteX18" fmla="*/ 424196 w 904875"/>
                  <a:gd name="connsiteY18" fmla="*/ 299285 h 304800"/>
                  <a:gd name="connsiteX19" fmla="*/ 424196 w 904875"/>
                  <a:gd name="connsiteY19" fmla="*/ 7144 h 304800"/>
                  <a:gd name="connsiteX20" fmla="*/ 285169 w 904875"/>
                  <a:gd name="connsiteY20" fmla="*/ 7144 h 304800"/>
                  <a:gd name="connsiteX21" fmla="*/ 343481 w 904875"/>
                  <a:gd name="connsiteY21" fmla="*/ 7144 h 304800"/>
                  <a:gd name="connsiteX22" fmla="*/ 343481 w 904875"/>
                  <a:gd name="connsiteY22" fmla="*/ 299285 h 304800"/>
                  <a:gd name="connsiteX23" fmla="*/ 285169 w 904875"/>
                  <a:gd name="connsiteY23" fmla="*/ 299285 h 304800"/>
                  <a:gd name="connsiteX24" fmla="*/ 285169 w 904875"/>
                  <a:gd name="connsiteY24" fmla="*/ 7144 h 304800"/>
                  <a:gd name="connsiteX25" fmla="*/ 146171 w 904875"/>
                  <a:gd name="connsiteY25" fmla="*/ 7144 h 304800"/>
                  <a:gd name="connsiteX26" fmla="*/ 204445 w 904875"/>
                  <a:gd name="connsiteY26" fmla="*/ 7144 h 304800"/>
                  <a:gd name="connsiteX27" fmla="*/ 204445 w 904875"/>
                  <a:gd name="connsiteY27" fmla="*/ 299285 h 304800"/>
                  <a:gd name="connsiteX28" fmla="*/ 146171 w 904875"/>
                  <a:gd name="connsiteY28" fmla="*/ 299285 h 304800"/>
                  <a:gd name="connsiteX29" fmla="*/ 146171 w 904875"/>
                  <a:gd name="connsiteY29" fmla="*/ 7144 h 304800"/>
                  <a:gd name="connsiteX30" fmla="*/ 7144 w 904875"/>
                  <a:gd name="connsiteY30" fmla="*/ 7144 h 304800"/>
                  <a:gd name="connsiteX31" fmla="*/ 65437 w 904875"/>
                  <a:gd name="connsiteY31" fmla="*/ 7144 h 304800"/>
                  <a:gd name="connsiteX32" fmla="*/ 65437 w 904875"/>
                  <a:gd name="connsiteY32" fmla="*/ 299285 h 304800"/>
                  <a:gd name="connsiteX33" fmla="*/ 7144 w 904875"/>
                  <a:gd name="connsiteY33" fmla="*/ 299285 h 304800"/>
                  <a:gd name="connsiteX34" fmla="*/ 7144 w 904875"/>
                  <a:gd name="connsiteY34" fmla="*/ 7144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04875" h="304800">
                    <a:moveTo>
                      <a:pt x="841248" y="7144"/>
                    </a:moveTo>
                    <a:lnTo>
                      <a:pt x="899541" y="7144"/>
                    </a:lnTo>
                    <a:lnTo>
                      <a:pt x="899541" y="299285"/>
                    </a:lnTo>
                    <a:lnTo>
                      <a:pt x="841248" y="299285"/>
                    </a:lnTo>
                    <a:lnTo>
                      <a:pt x="841248" y="7144"/>
                    </a:lnTo>
                    <a:close/>
                    <a:moveTo>
                      <a:pt x="702221" y="7144"/>
                    </a:moveTo>
                    <a:lnTo>
                      <a:pt x="760533" y="7144"/>
                    </a:lnTo>
                    <a:lnTo>
                      <a:pt x="760533" y="299285"/>
                    </a:lnTo>
                    <a:lnTo>
                      <a:pt x="702221" y="299285"/>
                    </a:lnTo>
                    <a:lnTo>
                      <a:pt x="702221" y="7144"/>
                    </a:lnTo>
                    <a:close/>
                    <a:moveTo>
                      <a:pt x="563194" y="7144"/>
                    </a:moveTo>
                    <a:lnTo>
                      <a:pt x="621506" y="7144"/>
                    </a:lnTo>
                    <a:lnTo>
                      <a:pt x="621506" y="299285"/>
                    </a:lnTo>
                    <a:lnTo>
                      <a:pt x="563194" y="299285"/>
                    </a:lnTo>
                    <a:lnTo>
                      <a:pt x="563194" y="7144"/>
                    </a:lnTo>
                    <a:close/>
                    <a:moveTo>
                      <a:pt x="424196" y="7144"/>
                    </a:moveTo>
                    <a:lnTo>
                      <a:pt x="482489" y="7144"/>
                    </a:lnTo>
                    <a:lnTo>
                      <a:pt x="482489" y="299285"/>
                    </a:lnTo>
                    <a:lnTo>
                      <a:pt x="424196" y="299285"/>
                    </a:lnTo>
                    <a:lnTo>
                      <a:pt x="424196" y="7144"/>
                    </a:lnTo>
                    <a:close/>
                    <a:moveTo>
                      <a:pt x="285169" y="7144"/>
                    </a:moveTo>
                    <a:lnTo>
                      <a:pt x="343481" y="7144"/>
                    </a:lnTo>
                    <a:lnTo>
                      <a:pt x="343481" y="299285"/>
                    </a:lnTo>
                    <a:lnTo>
                      <a:pt x="285169" y="299285"/>
                    </a:lnTo>
                    <a:lnTo>
                      <a:pt x="285169" y="7144"/>
                    </a:lnTo>
                    <a:close/>
                    <a:moveTo>
                      <a:pt x="146171" y="7144"/>
                    </a:moveTo>
                    <a:lnTo>
                      <a:pt x="204445" y="7144"/>
                    </a:lnTo>
                    <a:lnTo>
                      <a:pt x="204445" y="299285"/>
                    </a:lnTo>
                    <a:lnTo>
                      <a:pt x="146171" y="299285"/>
                    </a:lnTo>
                    <a:lnTo>
                      <a:pt x="146171" y="7144"/>
                    </a:lnTo>
                    <a:close/>
                    <a:moveTo>
                      <a:pt x="7144" y="7144"/>
                    </a:moveTo>
                    <a:lnTo>
                      <a:pt x="65437" y="7144"/>
                    </a:lnTo>
                    <a:lnTo>
                      <a:pt x="65437" y="299285"/>
                    </a:lnTo>
                    <a:lnTo>
                      <a:pt x="7144" y="299285"/>
                    </a:lnTo>
                    <a:lnTo>
                      <a:pt x="7144" y="7144"/>
                    </a:lnTo>
                    <a:close/>
                  </a:path>
                </a:pathLst>
              </a:custGeom>
              <a:solidFill>
                <a:schemeClr val="tx2">
                  <a:lumMod val="10000"/>
                  <a:lumOff val="90000"/>
                </a:schemeClr>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14" name="Freeform: Shape 813">
                <a:extLst>
                  <a:ext uri="{FF2B5EF4-FFF2-40B4-BE49-F238E27FC236}">
                    <a16:creationId xmlns:a16="http://schemas.microsoft.com/office/drawing/2014/main" id="{CAC188B7-9210-4063-A6A8-E33BBD092987}"/>
                  </a:ext>
                </a:extLst>
              </p:cNvPr>
              <p:cNvSpPr/>
              <p:nvPr/>
            </p:nvSpPr>
            <p:spPr>
              <a:xfrm>
                <a:off x="-1999923" y="5156063"/>
                <a:ext cx="990600" cy="1095375"/>
              </a:xfrm>
              <a:custGeom>
                <a:avLst/>
                <a:gdLst>
                  <a:gd name="connsiteX0" fmla="*/ 7144 w 990600"/>
                  <a:gd name="connsiteY0" fmla="*/ 7144 h 1095375"/>
                  <a:gd name="connsiteX1" fmla="*/ 985066 w 990600"/>
                  <a:gd name="connsiteY1" fmla="*/ 7144 h 1095375"/>
                  <a:gd name="connsiteX2" fmla="*/ 985066 w 990600"/>
                  <a:gd name="connsiteY2" fmla="*/ 1091355 h 1095375"/>
                  <a:gd name="connsiteX3" fmla="*/ 7144 w 990600"/>
                  <a:gd name="connsiteY3" fmla="*/ 1091355 h 1095375"/>
                </a:gdLst>
                <a:ahLst/>
                <a:cxnLst>
                  <a:cxn ang="0">
                    <a:pos x="connsiteX0" y="connsiteY0"/>
                  </a:cxn>
                  <a:cxn ang="0">
                    <a:pos x="connsiteX1" y="connsiteY1"/>
                  </a:cxn>
                  <a:cxn ang="0">
                    <a:pos x="connsiteX2" y="connsiteY2"/>
                  </a:cxn>
                  <a:cxn ang="0">
                    <a:pos x="connsiteX3" y="connsiteY3"/>
                  </a:cxn>
                </a:cxnLst>
                <a:rect l="l" t="t" r="r" b="b"/>
                <a:pathLst>
                  <a:path w="990600" h="1095375">
                    <a:moveTo>
                      <a:pt x="7144" y="7144"/>
                    </a:moveTo>
                    <a:lnTo>
                      <a:pt x="985066" y="7144"/>
                    </a:lnTo>
                    <a:lnTo>
                      <a:pt x="985066" y="1091355"/>
                    </a:lnTo>
                    <a:lnTo>
                      <a:pt x="7144" y="1091355"/>
                    </a:lnTo>
                    <a:close/>
                  </a:path>
                </a:pathLst>
              </a:custGeom>
              <a:solidFill>
                <a:srgbClr val="FFFF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15" name="Freeform: Shape 814">
                <a:extLst>
                  <a:ext uri="{FF2B5EF4-FFF2-40B4-BE49-F238E27FC236}">
                    <a16:creationId xmlns:a16="http://schemas.microsoft.com/office/drawing/2014/main" id="{8D360FEF-1877-4B09-9395-AC31019201AD}"/>
                  </a:ext>
                </a:extLst>
              </p:cNvPr>
              <p:cNvSpPr/>
              <p:nvPr/>
            </p:nvSpPr>
            <p:spPr>
              <a:xfrm>
                <a:off x="-1601035" y="5224700"/>
                <a:ext cx="447675" cy="447675"/>
              </a:xfrm>
              <a:custGeom>
                <a:avLst/>
                <a:gdLst>
                  <a:gd name="connsiteX0" fmla="*/ 447675 w 447675"/>
                  <a:gd name="connsiteY0" fmla="*/ 227409 h 447675"/>
                  <a:gd name="connsiteX1" fmla="*/ 227410 w 447675"/>
                  <a:gd name="connsiteY1" fmla="*/ 447675 h 447675"/>
                  <a:gd name="connsiteX2" fmla="*/ 7144 w 447675"/>
                  <a:gd name="connsiteY2" fmla="*/ 227409 h 447675"/>
                  <a:gd name="connsiteX3" fmla="*/ 227410 w 447675"/>
                  <a:gd name="connsiteY3" fmla="*/ 7144 h 447675"/>
                  <a:gd name="connsiteX4" fmla="*/ 447675 w 447675"/>
                  <a:gd name="connsiteY4" fmla="*/ 227409 h 447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5" h="447675">
                    <a:moveTo>
                      <a:pt x="447675" y="227409"/>
                    </a:moveTo>
                    <a:cubicBezTo>
                      <a:pt x="447675" y="349059"/>
                      <a:pt x="349059" y="447675"/>
                      <a:pt x="227410" y="447675"/>
                    </a:cubicBezTo>
                    <a:cubicBezTo>
                      <a:pt x="105760" y="447675"/>
                      <a:pt x="7144" y="349059"/>
                      <a:pt x="7144" y="227409"/>
                    </a:cubicBezTo>
                    <a:cubicBezTo>
                      <a:pt x="7144" y="105760"/>
                      <a:pt x="105760" y="7144"/>
                      <a:pt x="227410" y="7144"/>
                    </a:cubicBezTo>
                    <a:cubicBezTo>
                      <a:pt x="349059" y="7144"/>
                      <a:pt x="447675" y="105760"/>
                      <a:pt x="447675" y="227409"/>
                    </a:cubicBezTo>
                    <a:close/>
                  </a:path>
                </a:pathLst>
              </a:custGeom>
              <a:solidFill>
                <a:schemeClr val="accent5"/>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16" name="Freeform: Shape 815">
                <a:extLst>
                  <a:ext uri="{FF2B5EF4-FFF2-40B4-BE49-F238E27FC236}">
                    <a16:creationId xmlns:a16="http://schemas.microsoft.com/office/drawing/2014/main" id="{529E1920-0DA7-43D5-AC0B-7039065FD63C}"/>
                  </a:ext>
                </a:extLst>
              </p:cNvPr>
              <p:cNvSpPr/>
              <p:nvPr/>
            </p:nvSpPr>
            <p:spPr>
              <a:xfrm>
                <a:off x="-1072664" y="5156063"/>
                <a:ext cx="57150" cy="1095375"/>
              </a:xfrm>
              <a:custGeom>
                <a:avLst/>
                <a:gdLst>
                  <a:gd name="connsiteX0" fmla="*/ 7144 w 57150"/>
                  <a:gd name="connsiteY0" fmla="*/ 7144 h 1095375"/>
                  <a:gd name="connsiteX1" fmla="*/ 57760 w 57150"/>
                  <a:gd name="connsiteY1" fmla="*/ 7144 h 1095375"/>
                  <a:gd name="connsiteX2" fmla="*/ 57760 w 57150"/>
                  <a:gd name="connsiteY2" fmla="*/ 1091355 h 1095375"/>
                  <a:gd name="connsiteX3" fmla="*/ 7144 w 57150"/>
                  <a:gd name="connsiteY3" fmla="*/ 1091355 h 1095375"/>
                </a:gdLst>
                <a:ahLst/>
                <a:cxnLst>
                  <a:cxn ang="0">
                    <a:pos x="connsiteX0" y="connsiteY0"/>
                  </a:cxn>
                  <a:cxn ang="0">
                    <a:pos x="connsiteX1" y="connsiteY1"/>
                  </a:cxn>
                  <a:cxn ang="0">
                    <a:pos x="connsiteX2" y="connsiteY2"/>
                  </a:cxn>
                  <a:cxn ang="0">
                    <a:pos x="connsiteX3" y="connsiteY3"/>
                  </a:cxn>
                </a:cxnLst>
                <a:rect l="l" t="t" r="r" b="b"/>
                <a:pathLst>
                  <a:path w="57150" h="1095375">
                    <a:moveTo>
                      <a:pt x="7144" y="7144"/>
                    </a:moveTo>
                    <a:lnTo>
                      <a:pt x="57760" y="7144"/>
                    </a:lnTo>
                    <a:lnTo>
                      <a:pt x="57760" y="1091355"/>
                    </a:lnTo>
                    <a:lnTo>
                      <a:pt x="7144" y="1091355"/>
                    </a:lnTo>
                    <a:close/>
                  </a:path>
                </a:pathLst>
              </a:custGeom>
              <a:solidFill>
                <a:schemeClr val="tx2">
                  <a:lumMod val="10000"/>
                  <a:lumOff val="90000"/>
                </a:schemeClr>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17" name="Freeform: Shape 816">
                <a:extLst>
                  <a:ext uri="{FF2B5EF4-FFF2-40B4-BE49-F238E27FC236}">
                    <a16:creationId xmlns:a16="http://schemas.microsoft.com/office/drawing/2014/main" id="{2E3611B1-F380-4D13-9E71-4EC7B3DF70DB}"/>
                  </a:ext>
                </a:extLst>
              </p:cNvPr>
              <p:cNvSpPr/>
              <p:nvPr/>
            </p:nvSpPr>
            <p:spPr>
              <a:xfrm>
                <a:off x="-2439549" y="7015924"/>
                <a:ext cx="1390650" cy="85725"/>
              </a:xfrm>
              <a:custGeom>
                <a:avLst/>
                <a:gdLst>
                  <a:gd name="connsiteX0" fmla="*/ 7144 w 1390650"/>
                  <a:gd name="connsiteY0" fmla="*/ 7144 h 85725"/>
                  <a:gd name="connsiteX1" fmla="*/ 1390993 w 1390650"/>
                  <a:gd name="connsiteY1" fmla="*/ 7144 h 85725"/>
                  <a:gd name="connsiteX2" fmla="*/ 1243822 w 1390650"/>
                  <a:gd name="connsiteY2" fmla="*/ 83230 h 85725"/>
                  <a:gd name="connsiteX3" fmla="*/ 154324 w 1390650"/>
                  <a:gd name="connsiteY3" fmla="*/ 83230 h 85725"/>
                  <a:gd name="connsiteX4" fmla="*/ 7144 w 1390650"/>
                  <a:gd name="connsiteY4" fmla="*/ 7144 h 85725"/>
                  <a:gd name="connsiteX5" fmla="*/ 7144 w 1390650"/>
                  <a:gd name="connsiteY5" fmla="*/ 71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0650" h="85725">
                    <a:moveTo>
                      <a:pt x="7144" y="7144"/>
                    </a:moveTo>
                    <a:lnTo>
                      <a:pt x="1390993" y="7144"/>
                    </a:lnTo>
                    <a:cubicBezTo>
                      <a:pt x="1358122" y="53121"/>
                      <a:pt x="1304316" y="83230"/>
                      <a:pt x="1243822" y="83230"/>
                    </a:cubicBezTo>
                    <a:lnTo>
                      <a:pt x="154324" y="83230"/>
                    </a:lnTo>
                    <a:cubicBezTo>
                      <a:pt x="93812" y="83239"/>
                      <a:pt x="40024" y="53121"/>
                      <a:pt x="7144" y="7144"/>
                    </a:cubicBezTo>
                    <a:lnTo>
                      <a:pt x="7144" y="7144"/>
                    </a:lnTo>
                    <a:close/>
                  </a:path>
                </a:pathLst>
              </a:custGeom>
              <a:solidFill>
                <a:schemeClr val="accent5">
                  <a:lumMod val="50000"/>
                </a:schemeClr>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18" name="Freeform: Shape 817">
                <a:extLst>
                  <a:ext uri="{FF2B5EF4-FFF2-40B4-BE49-F238E27FC236}">
                    <a16:creationId xmlns:a16="http://schemas.microsoft.com/office/drawing/2014/main" id="{F56724B6-69DA-47A1-BD06-F99CD61C146E}"/>
                  </a:ext>
                </a:extLst>
              </p:cNvPr>
              <p:cNvSpPr/>
              <p:nvPr/>
            </p:nvSpPr>
            <p:spPr>
              <a:xfrm>
                <a:off x="-2000018" y="6240275"/>
                <a:ext cx="933450" cy="28575"/>
              </a:xfrm>
              <a:custGeom>
                <a:avLst/>
                <a:gdLst>
                  <a:gd name="connsiteX0" fmla="*/ 7144 w 933450"/>
                  <a:gd name="connsiteY0" fmla="*/ 7144 h 28575"/>
                  <a:gd name="connsiteX1" fmla="*/ 934498 w 933450"/>
                  <a:gd name="connsiteY1" fmla="*/ 7144 h 28575"/>
                  <a:gd name="connsiteX2" fmla="*/ 934498 w 933450"/>
                  <a:gd name="connsiteY2" fmla="*/ 30013 h 28575"/>
                  <a:gd name="connsiteX3" fmla="*/ 7144 w 933450"/>
                  <a:gd name="connsiteY3" fmla="*/ 30013 h 28575"/>
                </a:gdLst>
                <a:ahLst/>
                <a:cxnLst>
                  <a:cxn ang="0">
                    <a:pos x="connsiteX0" y="connsiteY0"/>
                  </a:cxn>
                  <a:cxn ang="0">
                    <a:pos x="connsiteX1" y="connsiteY1"/>
                  </a:cxn>
                  <a:cxn ang="0">
                    <a:pos x="connsiteX2" y="connsiteY2"/>
                  </a:cxn>
                  <a:cxn ang="0">
                    <a:pos x="connsiteX3" y="connsiteY3"/>
                  </a:cxn>
                </a:cxnLst>
                <a:rect l="l" t="t" r="r" b="b"/>
                <a:pathLst>
                  <a:path w="933450" h="28575">
                    <a:moveTo>
                      <a:pt x="7144" y="7144"/>
                    </a:moveTo>
                    <a:lnTo>
                      <a:pt x="934498" y="7144"/>
                    </a:lnTo>
                    <a:lnTo>
                      <a:pt x="934498" y="30013"/>
                    </a:lnTo>
                    <a:lnTo>
                      <a:pt x="7144" y="30013"/>
                    </a:lnTo>
                    <a:close/>
                  </a:path>
                </a:pathLst>
              </a:custGeom>
              <a:solidFill>
                <a:schemeClr val="accent5">
                  <a:lumMod val="50000"/>
                </a:schemeClr>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19" name="Freeform: Shape 818">
                <a:extLst>
                  <a:ext uri="{FF2B5EF4-FFF2-40B4-BE49-F238E27FC236}">
                    <a16:creationId xmlns:a16="http://schemas.microsoft.com/office/drawing/2014/main" id="{C102D016-231D-4062-B196-C71A848ADFB5}"/>
                  </a:ext>
                </a:extLst>
              </p:cNvPr>
              <p:cNvSpPr/>
              <p:nvPr/>
            </p:nvSpPr>
            <p:spPr>
              <a:xfrm>
                <a:off x="-1777714" y="5766796"/>
                <a:ext cx="762000" cy="390525"/>
              </a:xfrm>
              <a:custGeom>
                <a:avLst/>
                <a:gdLst>
                  <a:gd name="connsiteX0" fmla="*/ 762800 w 762000"/>
                  <a:gd name="connsiteY0" fmla="*/ 7144 h 390525"/>
                  <a:gd name="connsiteX1" fmla="*/ 7144 w 762000"/>
                  <a:gd name="connsiteY1" fmla="*/ 7144 h 390525"/>
                  <a:gd name="connsiteX2" fmla="*/ 7144 w 762000"/>
                  <a:gd name="connsiteY2" fmla="*/ 41072 h 390525"/>
                  <a:gd name="connsiteX3" fmla="*/ 762800 w 762000"/>
                  <a:gd name="connsiteY3" fmla="*/ 41072 h 390525"/>
                  <a:gd name="connsiteX4" fmla="*/ 762800 w 762000"/>
                  <a:gd name="connsiteY4" fmla="*/ 7144 h 390525"/>
                  <a:gd name="connsiteX5" fmla="*/ 762800 w 762000"/>
                  <a:gd name="connsiteY5" fmla="*/ 356226 h 390525"/>
                  <a:gd name="connsiteX6" fmla="*/ 233677 w 762000"/>
                  <a:gd name="connsiteY6" fmla="*/ 356226 h 390525"/>
                  <a:gd name="connsiteX7" fmla="*/ 233677 w 762000"/>
                  <a:gd name="connsiteY7" fmla="*/ 390154 h 390525"/>
                  <a:gd name="connsiteX8" fmla="*/ 762800 w 762000"/>
                  <a:gd name="connsiteY8" fmla="*/ 390154 h 390525"/>
                  <a:gd name="connsiteX9" fmla="*/ 762800 w 762000"/>
                  <a:gd name="connsiteY9" fmla="*/ 356226 h 390525"/>
                  <a:gd name="connsiteX10" fmla="*/ 762800 w 762000"/>
                  <a:gd name="connsiteY10" fmla="*/ 239868 h 390525"/>
                  <a:gd name="connsiteX11" fmla="*/ 7144 w 762000"/>
                  <a:gd name="connsiteY11" fmla="*/ 239868 h 390525"/>
                  <a:gd name="connsiteX12" fmla="*/ 7144 w 762000"/>
                  <a:gd name="connsiteY12" fmla="*/ 273796 h 390525"/>
                  <a:gd name="connsiteX13" fmla="*/ 762800 w 762000"/>
                  <a:gd name="connsiteY13" fmla="*/ 273796 h 390525"/>
                  <a:gd name="connsiteX14" fmla="*/ 762800 w 762000"/>
                  <a:gd name="connsiteY14" fmla="*/ 239868 h 390525"/>
                  <a:gd name="connsiteX15" fmla="*/ 762800 w 762000"/>
                  <a:gd name="connsiteY15" fmla="*/ 123501 h 390525"/>
                  <a:gd name="connsiteX16" fmla="*/ 7144 w 762000"/>
                  <a:gd name="connsiteY16" fmla="*/ 123501 h 390525"/>
                  <a:gd name="connsiteX17" fmla="*/ 7144 w 762000"/>
                  <a:gd name="connsiteY17" fmla="*/ 157429 h 390525"/>
                  <a:gd name="connsiteX18" fmla="*/ 762800 w 762000"/>
                  <a:gd name="connsiteY18" fmla="*/ 157429 h 390525"/>
                  <a:gd name="connsiteX19" fmla="*/ 762800 w 762000"/>
                  <a:gd name="connsiteY19" fmla="*/ 12350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62000" h="390525">
                    <a:moveTo>
                      <a:pt x="762800" y="7144"/>
                    </a:moveTo>
                    <a:lnTo>
                      <a:pt x="7144" y="7144"/>
                    </a:lnTo>
                    <a:lnTo>
                      <a:pt x="7144" y="41072"/>
                    </a:lnTo>
                    <a:lnTo>
                      <a:pt x="762800" y="41072"/>
                    </a:lnTo>
                    <a:lnTo>
                      <a:pt x="762800" y="7144"/>
                    </a:lnTo>
                    <a:close/>
                    <a:moveTo>
                      <a:pt x="762800" y="356226"/>
                    </a:moveTo>
                    <a:lnTo>
                      <a:pt x="233677" y="356226"/>
                    </a:lnTo>
                    <a:lnTo>
                      <a:pt x="233677" y="390154"/>
                    </a:lnTo>
                    <a:lnTo>
                      <a:pt x="762800" y="390154"/>
                    </a:lnTo>
                    <a:lnTo>
                      <a:pt x="762800" y="356226"/>
                    </a:lnTo>
                    <a:close/>
                    <a:moveTo>
                      <a:pt x="762800" y="239868"/>
                    </a:moveTo>
                    <a:lnTo>
                      <a:pt x="7144" y="239868"/>
                    </a:lnTo>
                    <a:lnTo>
                      <a:pt x="7144" y="273796"/>
                    </a:lnTo>
                    <a:lnTo>
                      <a:pt x="762800" y="273796"/>
                    </a:lnTo>
                    <a:lnTo>
                      <a:pt x="762800" y="239868"/>
                    </a:lnTo>
                    <a:close/>
                    <a:moveTo>
                      <a:pt x="762800" y="123501"/>
                    </a:moveTo>
                    <a:lnTo>
                      <a:pt x="7144" y="123501"/>
                    </a:lnTo>
                    <a:lnTo>
                      <a:pt x="7144" y="157429"/>
                    </a:lnTo>
                    <a:lnTo>
                      <a:pt x="762800" y="157429"/>
                    </a:lnTo>
                    <a:lnTo>
                      <a:pt x="762800" y="123501"/>
                    </a:lnTo>
                    <a:close/>
                  </a:path>
                </a:pathLst>
              </a:custGeom>
              <a:solidFill>
                <a:schemeClr val="tx2">
                  <a:lumMod val="10000"/>
                  <a:lumOff val="90000"/>
                </a:schemeClr>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20" name="Freeform: Shape 819">
                <a:extLst>
                  <a:ext uri="{FF2B5EF4-FFF2-40B4-BE49-F238E27FC236}">
                    <a16:creationId xmlns:a16="http://schemas.microsoft.com/office/drawing/2014/main" id="{BCD698A0-89C9-4962-8F82-E0F2FABDB5F5}"/>
                  </a:ext>
                </a:extLst>
              </p:cNvPr>
              <p:cNvSpPr/>
              <p:nvPr/>
            </p:nvSpPr>
            <p:spPr>
              <a:xfrm>
                <a:off x="-1519977" y="5305777"/>
                <a:ext cx="285750" cy="285750"/>
              </a:xfrm>
              <a:custGeom>
                <a:avLst/>
                <a:gdLst>
                  <a:gd name="connsiteX0" fmla="*/ 108518 w 285750"/>
                  <a:gd name="connsiteY0" fmla="*/ 7144 h 285750"/>
                  <a:gd name="connsiteX1" fmla="*/ 184099 w 285750"/>
                  <a:gd name="connsiteY1" fmla="*/ 7144 h 285750"/>
                  <a:gd name="connsiteX2" fmla="*/ 184099 w 285750"/>
                  <a:gd name="connsiteY2" fmla="*/ 108528 h 285750"/>
                  <a:gd name="connsiteX3" fmla="*/ 285483 w 285750"/>
                  <a:gd name="connsiteY3" fmla="*/ 108528 h 285750"/>
                  <a:gd name="connsiteX4" fmla="*/ 285483 w 285750"/>
                  <a:gd name="connsiteY4" fmla="*/ 184109 h 285750"/>
                  <a:gd name="connsiteX5" fmla="*/ 184099 w 285750"/>
                  <a:gd name="connsiteY5" fmla="*/ 184109 h 285750"/>
                  <a:gd name="connsiteX6" fmla="*/ 184099 w 285750"/>
                  <a:gd name="connsiteY6" fmla="*/ 285483 h 285750"/>
                  <a:gd name="connsiteX7" fmla="*/ 108518 w 285750"/>
                  <a:gd name="connsiteY7" fmla="*/ 285483 h 285750"/>
                  <a:gd name="connsiteX8" fmla="*/ 108518 w 285750"/>
                  <a:gd name="connsiteY8" fmla="*/ 184109 h 285750"/>
                  <a:gd name="connsiteX9" fmla="*/ 7144 w 285750"/>
                  <a:gd name="connsiteY9" fmla="*/ 184109 h 285750"/>
                  <a:gd name="connsiteX10" fmla="*/ 7144 w 285750"/>
                  <a:gd name="connsiteY10" fmla="*/ 108528 h 285750"/>
                  <a:gd name="connsiteX11" fmla="*/ 108518 w 285750"/>
                  <a:gd name="connsiteY11" fmla="*/ 108528 h 285750"/>
                  <a:gd name="connsiteX12" fmla="*/ 108518 w 285750"/>
                  <a:gd name="connsiteY12" fmla="*/ 7144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750" h="285750">
                    <a:moveTo>
                      <a:pt x="108518" y="7144"/>
                    </a:moveTo>
                    <a:lnTo>
                      <a:pt x="184099" y="7144"/>
                    </a:lnTo>
                    <a:lnTo>
                      <a:pt x="184099" y="108528"/>
                    </a:lnTo>
                    <a:lnTo>
                      <a:pt x="285483" y="108528"/>
                    </a:lnTo>
                    <a:lnTo>
                      <a:pt x="285483" y="184109"/>
                    </a:lnTo>
                    <a:lnTo>
                      <a:pt x="184099" y="184109"/>
                    </a:lnTo>
                    <a:lnTo>
                      <a:pt x="184099" y="285483"/>
                    </a:lnTo>
                    <a:lnTo>
                      <a:pt x="108518" y="285483"/>
                    </a:lnTo>
                    <a:lnTo>
                      <a:pt x="108518" y="184109"/>
                    </a:lnTo>
                    <a:lnTo>
                      <a:pt x="7144" y="184109"/>
                    </a:lnTo>
                    <a:lnTo>
                      <a:pt x="7144" y="108528"/>
                    </a:lnTo>
                    <a:lnTo>
                      <a:pt x="108518" y="108528"/>
                    </a:lnTo>
                    <a:lnTo>
                      <a:pt x="108518" y="7144"/>
                    </a:lnTo>
                    <a:close/>
                  </a:path>
                </a:pathLst>
              </a:custGeom>
              <a:solidFill>
                <a:srgbClr val="FEFEFE"/>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grpSp>
      </p:grpSp>
      <p:grpSp>
        <p:nvGrpSpPr>
          <p:cNvPr id="25" name="Group 24">
            <a:extLst>
              <a:ext uri="{FF2B5EF4-FFF2-40B4-BE49-F238E27FC236}">
                <a16:creationId xmlns:a16="http://schemas.microsoft.com/office/drawing/2014/main" id="{9E419D7D-8596-4A72-B4F3-BC1072E9FF62}"/>
              </a:ext>
            </a:extLst>
          </p:cNvPr>
          <p:cNvGrpSpPr/>
          <p:nvPr/>
        </p:nvGrpSpPr>
        <p:grpSpPr>
          <a:xfrm>
            <a:off x="3789461" y="1783194"/>
            <a:ext cx="514859" cy="138801"/>
            <a:chOff x="32932" y="1870562"/>
            <a:chExt cx="727606" cy="196156"/>
          </a:xfrm>
        </p:grpSpPr>
        <p:pic>
          <p:nvPicPr>
            <p:cNvPr id="649" name="Graphic 648" descr="Woman">
              <a:extLst>
                <a:ext uri="{FF2B5EF4-FFF2-40B4-BE49-F238E27FC236}">
                  <a16:creationId xmlns:a16="http://schemas.microsoft.com/office/drawing/2014/main" id="{D95175A5-CEA8-4076-A606-F631E4C95B14}"/>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1520" y="1870562"/>
              <a:ext cx="196156" cy="196156"/>
            </a:xfrm>
            <a:prstGeom prst="rect">
              <a:avLst/>
            </a:prstGeom>
          </p:spPr>
        </p:pic>
        <p:pic>
          <p:nvPicPr>
            <p:cNvPr id="650" name="Graphic 649" descr="Woman">
              <a:extLst>
                <a:ext uri="{FF2B5EF4-FFF2-40B4-BE49-F238E27FC236}">
                  <a16:creationId xmlns:a16="http://schemas.microsoft.com/office/drawing/2014/main" id="{75566FA9-F13F-4282-9A5D-35C4BDEB4EEA}"/>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8657" y="1870562"/>
              <a:ext cx="196156" cy="196156"/>
            </a:xfrm>
            <a:prstGeom prst="rect">
              <a:avLst/>
            </a:prstGeom>
          </p:spPr>
        </p:pic>
        <p:pic>
          <p:nvPicPr>
            <p:cNvPr id="651" name="Graphic 650" descr="Woman">
              <a:extLst>
                <a:ext uri="{FF2B5EF4-FFF2-40B4-BE49-F238E27FC236}">
                  <a16:creationId xmlns:a16="http://schemas.microsoft.com/office/drawing/2014/main" id="{FC146E1D-40CB-46DD-87EE-3AFD67F2CA51}"/>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5794" y="1870562"/>
              <a:ext cx="196156" cy="196156"/>
            </a:xfrm>
            <a:prstGeom prst="rect">
              <a:avLst/>
            </a:prstGeom>
          </p:spPr>
        </p:pic>
        <p:pic>
          <p:nvPicPr>
            <p:cNvPr id="652" name="Graphic 651" descr="Woman">
              <a:extLst>
                <a:ext uri="{FF2B5EF4-FFF2-40B4-BE49-F238E27FC236}">
                  <a16:creationId xmlns:a16="http://schemas.microsoft.com/office/drawing/2014/main" id="{0EAC97C9-F6B2-4A96-AD14-E5A048CC069D}"/>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2932" y="1870562"/>
              <a:ext cx="196156" cy="196156"/>
            </a:xfrm>
            <a:prstGeom prst="rect">
              <a:avLst/>
            </a:prstGeom>
          </p:spPr>
        </p:pic>
        <p:pic>
          <p:nvPicPr>
            <p:cNvPr id="653" name="Graphic 652" descr="Man">
              <a:extLst>
                <a:ext uri="{FF2B5EF4-FFF2-40B4-BE49-F238E27FC236}">
                  <a16:creationId xmlns:a16="http://schemas.microsoft.com/office/drawing/2014/main" id="{44302CC0-05F6-4D4D-989D-05926815314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64382" y="1870562"/>
              <a:ext cx="196156" cy="196156"/>
            </a:xfrm>
            <a:prstGeom prst="rect">
              <a:avLst/>
            </a:prstGeom>
          </p:spPr>
        </p:pic>
      </p:grpSp>
      <p:sp>
        <p:nvSpPr>
          <p:cNvPr id="243" name="Freeform: Shape 242">
            <a:extLst>
              <a:ext uri="{FF2B5EF4-FFF2-40B4-BE49-F238E27FC236}">
                <a16:creationId xmlns:a16="http://schemas.microsoft.com/office/drawing/2014/main" id="{AAA59FA5-1B10-4C8D-BF8F-7EB3B8AD41D0}"/>
              </a:ext>
            </a:extLst>
          </p:cNvPr>
          <p:cNvSpPr/>
          <p:nvPr/>
        </p:nvSpPr>
        <p:spPr>
          <a:xfrm>
            <a:off x="863227" y="3308543"/>
            <a:ext cx="3527864" cy="346000"/>
          </a:xfrm>
          <a:custGeom>
            <a:avLst/>
            <a:gdLst>
              <a:gd name="connsiteX0" fmla="*/ 0 w 5647615"/>
              <a:gd name="connsiteY0" fmla="*/ 0 h 540000"/>
              <a:gd name="connsiteX1" fmla="*/ 5647615 w 5647615"/>
              <a:gd name="connsiteY1" fmla="*/ 0 h 540000"/>
              <a:gd name="connsiteX2" fmla="*/ 5512615 w 5647615"/>
              <a:gd name="connsiteY2" fmla="*/ 540000 h 540000"/>
              <a:gd name="connsiteX3" fmla="*/ 0 w 5647615"/>
              <a:gd name="connsiteY3" fmla="*/ 540000 h 540000"/>
              <a:gd name="connsiteX4" fmla="*/ 270000 w 5647615"/>
              <a:gd name="connsiteY4" fmla="*/ 270000 h 540000"/>
              <a:gd name="connsiteX5" fmla="*/ 0 w 5647615"/>
              <a:gd name="connsiteY5" fmla="*/ 0 h 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47615" h="540000">
                <a:moveTo>
                  <a:pt x="0" y="0"/>
                </a:moveTo>
                <a:lnTo>
                  <a:pt x="5647615" y="0"/>
                </a:lnTo>
                <a:lnTo>
                  <a:pt x="5512615" y="540000"/>
                </a:lnTo>
                <a:lnTo>
                  <a:pt x="0" y="540000"/>
                </a:lnTo>
                <a:cubicBezTo>
                  <a:pt x="149117" y="540000"/>
                  <a:pt x="270000" y="419117"/>
                  <a:pt x="270000" y="270000"/>
                </a:cubicBezTo>
                <a:cubicBezTo>
                  <a:pt x="270000" y="120883"/>
                  <a:pt x="149117" y="0"/>
                  <a:pt x="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Franklin Gothic Medium" panose="020B0603020102020204"/>
                <a:ea typeface="+mn-ea"/>
                <a:cs typeface="+mn-cs"/>
              </a:rPr>
              <a:t> </a:t>
            </a:r>
          </a:p>
        </p:txBody>
      </p:sp>
      <p:sp>
        <p:nvSpPr>
          <p:cNvPr id="244" name="Rectangle 243">
            <a:extLst>
              <a:ext uri="{FF2B5EF4-FFF2-40B4-BE49-F238E27FC236}">
                <a16:creationId xmlns:a16="http://schemas.microsoft.com/office/drawing/2014/main" id="{7D526D45-0842-4330-B94B-C81F23EC8BF8}"/>
              </a:ext>
            </a:extLst>
          </p:cNvPr>
          <p:cNvSpPr>
            <a:spLocks/>
          </p:cNvSpPr>
          <p:nvPr/>
        </p:nvSpPr>
        <p:spPr>
          <a:xfrm>
            <a:off x="1125371" y="3357600"/>
            <a:ext cx="2946349" cy="247885"/>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3"/>
              </a:spcAft>
              <a:buClrTx/>
              <a:buSzTx/>
              <a:buFontTx/>
              <a:buNone/>
              <a:tabLst>
                <a:tab pos="2088356" algn="l"/>
              </a:tabLst>
              <a:defRPr/>
            </a:pPr>
            <a:r>
              <a:rPr kumimoji="0" lang="en-GB" sz="1050" b="0" i="0" u="none" strike="noStrike" kern="1200" cap="none" spc="0" normalizeH="0" baseline="0" noProof="0" dirty="0">
                <a:ln>
                  <a:noFill/>
                </a:ln>
                <a:solidFill>
                  <a:prstClr val="black"/>
                </a:solidFill>
                <a:effectLst/>
                <a:uLnTx/>
                <a:uFillTx/>
                <a:latin typeface="Franklin Gothic Book" panose="020B0503020102020204"/>
                <a:ea typeface="+mn-ea"/>
                <a:cs typeface="+mn-cs"/>
              </a:rPr>
              <a:t>Patient partners </a:t>
            </a:r>
          </a:p>
        </p:txBody>
      </p:sp>
      <p:grpSp>
        <p:nvGrpSpPr>
          <p:cNvPr id="21" name="Group 20">
            <a:extLst>
              <a:ext uri="{FF2B5EF4-FFF2-40B4-BE49-F238E27FC236}">
                <a16:creationId xmlns:a16="http://schemas.microsoft.com/office/drawing/2014/main" id="{B066790B-7B00-47DD-BBEE-546A3A8BEC06}"/>
              </a:ext>
            </a:extLst>
          </p:cNvPr>
          <p:cNvGrpSpPr/>
          <p:nvPr/>
        </p:nvGrpSpPr>
        <p:grpSpPr>
          <a:xfrm>
            <a:off x="635594" y="3258802"/>
            <a:ext cx="445480" cy="445480"/>
            <a:chOff x="-4383367" y="3198365"/>
            <a:chExt cx="399800" cy="399800"/>
          </a:xfrm>
        </p:grpSpPr>
        <p:sp>
          <p:nvSpPr>
            <p:cNvPr id="790" name="Oval 789">
              <a:extLst>
                <a:ext uri="{FF2B5EF4-FFF2-40B4-BE49-F238E27FC236}">
                  <a16:creationId xmlns:a16="http://schemas.microsoft.com/office/drawing/2014/main" id="{19103E25-2455-42C6-B8A3-BA074EAF8874}"/>
                </a:ext>
              </a:extLst>
            </p:cNvPr>
            <p:cNvSpPr/>
            <p:nvPr/>
          </p:nvSpPr>
          <p:spPr>
            <a:xfrm>
              <a:off x="-4383367" y="3198365"/>
              <a:ext cx="399800" cy="3998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Franklin Gothic Medium" panose="020B0603020102020204"/>
                  <a:ea typeface="+mn-ea"/>
                  <a:cs typeface="+mn-cs"/>
                </a:rPr>
                <a:t> </a:t>
              </a:r>
            </a:p>
          </p:txBody>
        </p:sp>
        <p:grpSp>
          <p:nvGrpSpPr>
            <p:cNvPr id="797" name="Group 796">
              <a:extLst>
                <a:ext uri="{FF2B5EF4-FFF2-40B4-BE49-F238E27FC236}">
                  <a16:creationId xmlns:a16="http://schemas.microsoft.com/office/drawing/2014/main" id="{4B3BC084-04E4-4273-BC53-4E0492999EFA}"/>
                </a:ext>
              </a:extLst>
            </p:cNvPr>
            <p:cNvGrpSpPr/>
            <p:nvPr/>
          </p:nvGrpSpPr>
          <p:grpSpPr>
            <a:xfrm>
              <a:off x="-4382884" y="3270130"/>
              <a:ext cx="398833" cy="238641"/>
              <a:chOff x="-1354183" y="7728715"/>
              <a:chExt cx="538694" cy="322327"/>
            </a:xfrm>
          </p:grpSpPr>
          <p:sp>
            <p:nvSpPr>
              <p:cNvPr id="798" name="Freeform: Shape 797">
                <a:extLst>
                  <a:ext uri="{FF2B5EF4-FFF2-40B4-BE49-F238E27FC236}">
                    <a16:creationId xmlns:a16="http://schemas.microsoft.com/office/drawing/2014/main" id="{7BD39B4A-20E4-4352-A8B9-CFA3376C1D18}"/>
                  </a:ext>
                </a:extLst>
              </p:cNvPr>
              <p:cNvSpPr/>
              <p:nvPr/>
            </p:nvSpPr>
            <p:spPr>
              <a:xfrm>
                <a:off x="-1334063" y="7806354"/>
                <a:ext cx="350156" cy="244688"/>
              </a:xfrm>
              <a:custGeom>
                <a:avLst/>
                <a:gdLst>
                  <a:gd name="connsiteX0" fmla="*/ 630174 w 3162300"/>
                  <a:gd name="connsiteY0" fmla="*/ 7172 h 2209800"/>
                  <a:gd name="connsiteX1" fmla="*/ 1442838 w 3162300"/>
                  <a:gd name="connsiteY1" fmla="*/ 411089 h 2209800"/>
                  <a:gd name="connsiteX2" fmla="*/ 2135762 w 3162300"/>
                  <a:gd name="connsiteY2" fmla="*/ 247374 h 2209800"/>
                  <a:gd name="connsiteX3" fmla="*/ 2180235 w 3162300"/>
                  <a:gd name="connsiteY3" fmla="*/ 264833 h 2209800"/>
                  <a:gd name="connsiteX4" fmla="*/ 2180311 w 3162300"/>
                  <a:gd name="connsiteY4" fmla="*/ 264881 h 2209800"/>
                  <a:gd name="connsiteX5" fmla="*/ 2969657 w 3162300"/>
                  <a:gd name="connsiteY5" fmla="*/ 631374 h 2209800"/>
                  <a:gd name="connsiteX6" fmla="*/ 2797759 w 3162300"/>
                  <a:gd name="connsiteY6" fmla="*/ 620401 h 2209800"/>
                  <a:gd name="connsiteX7" fmla="*/ 3020416 w 3162300"/>
                  <a:gd name="connsiteY7" fmla="*/ 862070 h 2209800"/>
                  <a:gd name="connsiteX8" fmla="*/ 2705415 w 3162300"/>
                  <a:gd name="connsiteY8" fmla="*/ 964101 h 2209800"/>
                  <a:gd name="connsiteX9" fmla="*/ 2470261 w 3162300"/>
                  <a:gd name="connsiteY9" fmla="*/ 697897 h 2209800"/>
                  <a:gd name="connsiteX10" fmla="*/ 2378116 w 3162300"/>
                  <a:gd name="connsiteY10" fmla="*/ 707412 h 2209800"/>
                  <a:gd name="connsiteX11" fmla="*/ 3024359 w 3162300"/>
                  <a:gd name="connsiteY11" fmla="*/ 1300858 h 2209800"/>
                  <a:gd name="connsiteX12" fmla="*/ 3127020 w 3162300"/>
                  <a:gd name="connsiteY12" fmla="*/ 1423911 h 2209800"/>
                  <a:gd name="connsiteX13" fmla="*/ 2960494 w 3162300"/>
                  <a:gd name="connsiteY13" fmla="*/ 1637271 h 2209800"/>
                  <a:gd name="connsiteX14" fmla="*/ 2956770 w 3162300"/>
                  <a:gd name="connsiteY14" fmla="*/ 1642520 h 2209800"/>
                  <a:gd name="connsiteX15" fmla="*/ 2966714 w 3162300"/>
                  <a:gd name="connsiteY15" fmla="*/ 1744656 h 2209800"/>
                  <a:gd name="connsiteX16" fmla="*/ 2664200 w 3162300"/>
                  <a:gd name="connsiteY16" fmla="*/ 1778537 h 2209800"/>
                  <a:gd name="connsiteX17" fmla="*/ 2701928 w 3162300"/>
                  <a:gd name="connsiteY17" fmla="*/ 1926146 h 2209800"/>
                  <a:gd name="connsiteX18" fmla="*/ 2573731 w 3162300"/>
                  <a:gd name="connsiteY18" fmla="*/ 2024863 h 2209800"/>
                  <a:gd name="connsiteX19" fmla="*/ 2409235 w 3162300"/>
                  <a:gd name="connsiteY19" fmla="*/ 1961579 h 2209800"/>
                  <a:gd name="connsiteX20" fmla="*/ 2442458 w 3162300"/>
                  <a:gd name="connsiteY20" fmla="*/ 2110531 h 2209800"/>
                  <a:gd name="connsiteX21" fmla="*/ 2234117 w 3162300"/>
                  <a:gd name="connsiteY21" fmla="*/ 2191474 h 2209800"/>
                  <a:gd name="connsiteX22" fmla="*/ 2021157 w 3162300"/>
                  <a:gd name="connsiteY22" fmla="*/ 2029282 h 2209800"/>
                  <a:gd name="connsiteX23" fmla="*/ 1342596 w 3162300"/>
                  <a:gd name="connsiteY23" fmla="*/ 1393736 h 2209800"/>
                  <a:gd name="connsiteX24" fmla="*/ 964635 w 3162300"/>
                  <a:gd name="connsiteY24" fmla="*/ 988190 h 2209800"/>
                  <a:gd name="connsiteX25" fmla="*/ 7144 w 3162300"/>
                  <a:gd name="connsiteY25" fmla="*/ 456886 h 2209800"/>
                  <a:gd name="connsiteX26" fmla="*/ 630222 w 3162300"/>
                  <a:gd name="connsiteY26" fmla="*/ 7144 h 2209800"/>
                  <a:gd name="connsiteX27" fmla="*/ 630174 w 3162300"/>
                  <a:gd name="connsiteY27" fmla="*/ 7172 h 220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162300" h="2209800">
                    <a:moveTo>
                      <a:pt x="630174" y="7172"/>
                    </a:moveTo>
                    <a:lnTo>
                      <a:pt x="1442838" y="411089"/>
                    </a:lnTo>
                    <a:cubicBezTo>
                      <a:pt x="1442838" y="411089"/>
                      <a:pt x="2042436" y="217037"/>
                      <a:pt x="2135762" y="247374"/>
                    </a:cubicBezTo>
                    <a:cubicBezTo>
                      <a:pt x="2144830" y="250317"/>
                      <a:pt x="2160146" y="256394"/>
                      <a:pt x="2180235" y="264833"/>
                    </a:cubicBezTo>
                    <a:lnTo>
                      <a:pt x="2180311" y="264881"/>
                    </a:lnTo>
                    <a:cubicBezTo>
                      <a:pt x="2366572" y="343329"/>
                      <a:pt x="2969657" y="631374"/>
                      <a:pt x="2969657" y="631374"/>
                    </a:cubicBezTo>
                    <a:lnTo>
                      <a:pt x="2797759" y="620401"/>
                    </a:lnTo>
                    <a:cubicBezTo>
                      <a:pt x="2867692" y="710222"/>
                      <a:pt x="2965085" y="827789"/>
                      <a:pt x="3020416" y="862070"/>
                    </a:cubicBezTo>
                    <a:cubicBezTo>
                      <a:pt x="3113580" y="919753"/>
                      <a:pt x="2891714" y="1083926"/>
                      <a:pt x="2705415" y="964101"/>
                    </a:cubicBezTo>
                    <a:cubicBezTo>
                      <a:pt x="2519077" y="844306"/>
                      <a:pt x="2470261" y="697897"/>
                      <a:pt x="2470261" y="697897"/>
                    </a:cubicBezTo>
                    <a:lnTo>
                      <a:pt x="2378116" y="707412"/>
                    </a:lnTo>
                    <a:lnTo>
                      <a:pt x="3024359" y="1300858"/>
                    </a:lnTo>
                    <a:lnTo>
                      <a:pt x="3127020" y="1423911"/>
                    </a:lnTo>
                    <a:cubicBezTo>
                      <a:pt x="3215840" y="1530372"/>
                      <a:pt x="3105550" y="1684144"/>
                      <a:pt x="2960494" y="1637271"/>
                    </a:cubicBezTo>
                    <a:cubicBezTo>
                      <a:pt x="2962808" y="1639024"/>
                      <a:pt x="2954598" y="1636624"/>
                      <a:pt x="2956770" y="1642520"/>
                    </a:cubicBezTo>
                    <a:cubicBezTo>
                      <a:pt x="2965066" y="1664856"/>
                      <a:pt x="2981830" y="1718491"/>
                      <a:pt x="2966714" y="1744656"/>
                    </a:cubicBezTo>
                    <a:cubicBezTo>
                      <a:pt x="2913602" y="1836725"/>
                      <a:pt x="2833621" y="1907572"/>
                      <a:pt x="2664200" y="1778537"/>
                    </a:cubicBezTo>
                    <a:cubicBezTo>
                      <a:pt x="2705253" y="1809798"/>
                      <a:pt x="2730408" y="1883369"/>
                      <a:pt x="2701928" y="1926146"/>
                    </a:cubicBezTo>
                    <a:cubicBezTo>
                      <a:pt x="2663180" y="1984362"/>
                      <a:pt x="2620461" y="2010623"/>
                      <a:pt x="2573731" y="2024863"/>
                    </a:cubicBezTo>
                    <a:cubicBezTo>
                      <a:pt x="2524487" y="2039874"/>
                      <a:pt x="2450230" y="1992811"/>
                      <a:pt x="2409235" y="1961579"/>
                    </a:cubicBezTo>
                    <a:cubicBezTo>
                      <a:pt x="2450259" y="1992811"/>
                      <a:pt x="2469804" y="2066906"/>
                      <a:pt x="2442458" y="2110531"/>
                    </a:cubicBezTo>
                    <a:cubicBezTo>
                      <a:pt x="2408806" y="2164223"/>
                      <a:pt x="2301897" y="2243128"/>
                      <a:pt x="2234117" y="2191474"/>
                    </a:cubicBezTo>
                    <a:lnTo>
                      <a:pt x="2021157" y="2029282"/>
                    </a:lnTo>
                    <a:cubicBezTo>
                      <a:pt x="2021157" y="2029282"/>
                      <a:pt x="1502769" y="1527324"/>
                      <a:pt x="1342596" y="1393736"/>
                    </a:cubicBezTo>
                    <a:cubicBezTo>
                      <a:pt x="1182376" y="1260091"/>
                      <a:pt x="964635" y="988190"/>
                      <a:pt x="964635" y="988190"/>
                    </a:cubicBezTo>
                    <a:lnTo>
                      <a:pt x="7144" y="456886"/>
                    </a:lnTo>
                    <a:lnTo>
                      <a:pt x="630222" y="7144"/>
                    </a:lnTo>
                    <a:lnTo>
                      <a:pt x="630174" y="7172"/>
                    </a:lnTo>
                    <a:close/>
                  </a:path>
                </a:pathLst>
              </a:custGeom>
              <a:solidFill>
                <a:srgbClr val="FEE0B8"/>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99" name="Freeform: Shape 798">
                <a:extLst>
                  <a:ext uri="{FF2B5EF4-FFF2-40B4-BE49-F238E27FC236}">
                    <a16:creationId xmlns:a16="http://schemas.microsoft.com/office/drawing/2014/main" id="{89D1E1DB-0165-4C94-814D-ED38B0032101}"/>
                  </a:ext>
                </a:extLst>
              </p:cNvPr>
              <p:cNvSpPr/>
              <p:nvPr/>
            </p:nvSpPr>
            <p:spPr>
              <a:xfrm>
                <a:off x="-1354183" y="7728715"/>
                <a:ext cx="160313" cy="201445"/>
              </a:xfrm>
              <a:custGeom>
                <a:avLst/>
                <a:gdLst>
                  <a:gd name="connsiteX0" fmla="*/ 7163 w 1447800"/>
                  <a:gd name="connsiteY0" fmla="*/ 1352979 h 1819275"/>
                  <a:gd name="connsiteX1" fmla="*/ 708117 w 1447800"/>
                  <a:gd name="connsiteY1" fmla="*/ 1821456 h 1819275"/>
                  <a:gd name="connsiteX2" fmla="*/ 1448953 w 1447800"/>
                  <a:gd name="connsiteY2" fmla="*/ 848801 h 1819275"/>
                  <a:gd name="connsiteX3" fmla="*/ 557270 w 1447800"/>
                  <a:gd name="connsiteY3" fmla="*/ 7144 h 1819275"/>
                  <a:gd name="connsiteX4" fmla="*/ 7144 w 1447800"/>
                  <a:gd name="connsiteY4" fmla="*/ 1352979 h 1819275"/>
                  <a:gd name="connsiteX5" fmla="*/ 7163 w 1447800"/>
                  <a:gd name="connsiteY5" fmla="*/ 1352979 h 181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7800" h="1819275">
                    <a:moveTo>
                      <a:pt x="7163" y="1352979"/>
                    </a:moveTo>
                    <a:lnTo>
                      <a:pt x="708117" y="1821456"/>
                    </a:lnTo>
                    <a:lnTo>
                      <a:pt x="1448953" y="848801"/>
                    </a:lnTo>
                    <a:lnTo>
                      <a:pt x="557270" y="7144"/>
                    </a:lnTo>
                    <a:cubicBezTo>
                      <a:pt x="249555" y="379038"/>
                      <a:pt x="50111" y="843706"/>
                      <a:pt x="7144" y="1352979"/>
                    </a:cubicBezTo>
                    <a:lnTo>
                      <a:pt x="7163" y="1352979"/>
                    </a:lnTo>
                    <a:close/>
                  </a:path>
                </a:pathLst>
              </a:custGeom>
              <a:solidFill>
                <a:schemeClr val="accent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00" name="Freeform: Shape 799">
                <a:extLst>
                  <a:ext uri="{FF2B5EF4-FFF2-40B4-BE49-F238E27FC236}">
                    <a16:creationId xmlns:a16="http://schemas.microsoft.com/office/drawing/2014/main" id="{F8BE5869-BB92-4CF7-92B1-59E92AC0CBD4}"/>
                  </a:ext>
                </a:extLst>
              </p:cNvPr>
              <p:cNvSpPr/>
              <p:nvPr/>
            </p:nvSpPr>
            <p:spPr>
              <a:xfrm>
                <a:off x="-1265854" y="7824775"/>
                <a:ext cx="83320" cy="102305"/>
              </a:xfrm>
              <a:custGeom>
                <a:avLst/>
                <a:gdLst>
                  <a:gd name="connsiteX0" fmla="*/ 631527 w 752475"/>
                  <a:gd name="connsiteY0" fmla="*/ 7144 h 923925"/>
                  <a:gd name="connsiteX1" fmla="*/ 7144 w 752475"/>
                  <a:gd name="connsiteY1" fmla="*/ 826865 h 923925"/>
                  <a:gd name="connsiteX2" fmla="*/ 126835 w 752475"/>
                  <a:gd name="connsiteY2" fmla="*/ 918058 h 923925"/>
                  <a:gd name="connsiteX3" fmla="*/ 751218 w 752475"/>
                  <a:gd name="connsiteY3" fmla="*/ 98308 h 923925"/>
                  <a:gd name="connsiteX4" fmla="*/ 631527 w 752475"/>
                  <a:gd name="connsiteY4" fmla="*/ 7144 h 923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475" h="923925">
                    <a:moveTo>
                      <a:pt x="631527" y="7144"/>
                    </a:moveTo>
                    <a:lnTo>
                      <a:pt x="7144" y="826865"/>
                    </a:lnTo>
                    <a:lnTo>
                      <a:pt x="126835" y="918058"/>
                    </a:lnTo>
                    <a:lnTo>
                      <a:pt x="751218" y="98308"/>
                    </a:lnTo>
                    <a:lnTo>
                      <a:pt x="631527" y="7144"/>
                    </a:lnTo>
                    <a:close/>
                  </a:path>
                </a:pathLst>
              </a:custGeom>
              <a:solidFill>
                <a:srgbClr val="FFFF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01" name="Freeform: Shape 800">
                <a:extLst>
                  <a:ext uri="{FF2B5EF4-FFF2-40B4-BE49-F238E27FC236}">
                    <a16:creationId xmlns:a16="http://schemas.microsoft.com/office/drawing/2014/main" id="{220A5859-DEF1-40ED-BCD6-4828E6AB782B}"/>
                  </a:ext>
                </a:extLst>
              </p:cNvPr>
              <p:cNvSpPr/>
              <p:nvPr/>
            </p:nvSpPr>
            <p:spPr>
              <a:xfrm>
                <a:off x="-1193514" y="7806349"/>
                <a:ext cx="358594" cy="243633"/>
              </a:xfrm>
              <a:custGeom>
                <a:avLst/>
                <a:gdLst>
                  <a:gd name="connsiteX0" fmla="*/ 2610394 w 3238500"/>
                  <a:gd name="connsiteY0" fmla="*/ 7220 h 2200275"/>
                  <a:gd name="connsiteX1" fmla="*/ 1797730 w 3238500"/>
                  <a:gd name="connsiteY1" fmla="*/ 411137 h 2200275"/>
                  <a:gd name="connsiteX2" fmla="*/ 1307345 w 3238500"/>
                  <a:gd name="connsiteY2" fmla="*/ 267186 h 2200275"/>
                  <a:gd name="connsiteX3" fmla="*/ 1010337 w 3238500"/>
                  <a:gd name="connsiteY3" fmla="*/ 309429 h 2200275"/>
                  <a:gd name="connsiteX4" fmla="*/ 1445658 w 3238500"/>
                  <a:gd name="connsiteY4" fmla="*/ 510654 h 2200275"/>
                  <a:gd name="connsiteX5" fmla="*/ 1751039 w 3238500"/>
                  <a:gd name="connsiteY5" fmla="*/ 862108 h 2200275"/>
                  <a:gd name="connsiteX6" fmla="*/ 1436037 w 3238500"/>
                  <a:gd name="connsiteY6" fmla="*/ 964140 h 2200275"/>
                  <a:gd name="connsiteX7" fmla="*/ 1200884 w 3238500"/>
                  <a:gd name="connsiteY7" fmla="*/ 697935 h 2200275"/>
                  <a:gd name="connsiteX8" fmla="*/ 815731 w 3238500"/>
                  <a:gd name="connsiteY8" fmla="*/ 737635 h 2200275"/>
                  <a:gd name="connsiteX9" fmla="*/ 73181 w 3238500"/>
                  <a:gd name="connsiteY9" fmla="*/ 1393822 h 2200275"/>
                  <a:gd name="connsiteX10" fmla="*/ 70952 w 3238500"/>
                  <a:gd name="connsiteY10" fmla="*/ 1620669 h 2200275"/>
                  <a:gd name="connsiteX11" fmla="*/ 267406 w 3238500"/>
                  <a:gd name="connsiteY11" fmla="*/ 1628966 h 2200275"/>
                  <a:gd name="connsiteX12" fmla="*/ 476070 w 3238500"/>
                  <a:gd name="connsiteY12" fmla="*/ 1813646 h 2200275"/>
                  <a:gd name="connsiteX13" fmla="*/ 710347 w 3238500"/>
                  <a:gd name="connsiteY13" fmla="*/ 1998478 h 2200275"/>
                  <a:gd name="connsiteX14" fmla="*/ 892360 w 3238500"/>
                  <a:gd name="connsiteY14" fmla="*/ 2198703 h 2200275"/>
                  <a:gd name="connsiteX15" fmla="*/ 951977 w 3238500"/>
                  <a:gd name="connsiteY15" fmla="*/ 2181759 h 2200275"/>
                  <a:gd name="connsiteX16" fmla="*/ 936756 w 3238500"/>
                  <a:gd name="connsiteY16" fmla="*/ 2170167 h 2200275"/>
                  <a:gd name="connsiteX17" fmla="*/ 766468 w 3238500"/>
                  <a:gd name="connsiteY17" fmla="*/ 1990877 h 2200275"/>
                  <a:gd name="connsiteX18" fmla="*/ 979704 w 3238500"/>
                  <a:gd name="connsiteY18" fmla="*/ 1839144 h 2200275"/>
                  <a:gd name="connsiteX19" fmla="*/ 1088166 w 3238500"/>
                  <a:gd name="connsiteY19" fmla="*/ 1922421 h 2200275"/>
                  <a:gd name="connsiteX20" fmla="*/ 1025329 w 3238500"/>
                  <a:gd name="connsiteY20" fmla="*/ 1842745 h 2200275"/>
                  <a:gd name="connsiteX21" fmla="*/ 1083641 w 3238500"/>
                  <a:gd name="connsiteY21" fmla="*/ 1596381 h 2200275"/>
                  <a:gd name="connsiteX22" fmla="*/ 1245614 w 3238500"/>
                  <a:gd name="connsiteY22" fmla="*/ 1645873 h 2200275"/>
                  <a:gd name="connsiteX23" fmla="*/ 1365410 w 3238500"/>
                  <a:gd name="connsiteY23" fmla="*/ 1741856 h 2200275"/>
                  <a:gd name="connsiteX24" fmla="*/ 1263349 w 3238500"/>
                  <a:gd name="connsiteY24" fmla="*/ 1622603 h 2200275"/>
                  <a:gd name="connsiteX25" fmla="*/ 1255310 w 3238500"/>
                  <a:gd name="connsiteY25" fmla="*/ 1413282 h 2200275"/>
                  <a:gd name="connsiteX26" fmla="*/ 1466917 w 3238500"/>
                  <a:gd name="connsiteY26" fmla="*/ 1432922 h 2200275"/>
                  <a:gd name="connsiteX27" fmla="*/ 1610231 w 3238500"/>
                  <a:gd name="connsiteY27" fmla="*/ 1551404 h 2200275"/>
                  <a:gd name="connsiteX28" fmla="*/ 1486882 w 3238500"/>
                  <a:gd name="connsiteY28" fmla="*/ 1408538 h 2200275"/>
                  <a:gd name="connsiteX29" fmla="*/ 1451954 w 3238500"/>
                  <a:gd name="connsiteY29" fmla="*/ 1221086 h 2200275"/>
                  <a:gd name="connsiteX30" fmla="*/ 1772975 w 3238500"/>
                  <a:gd name="connsiteY30" fmla="*/ 1322318 h 2200275"/>
                  <a:gd name="connsiteX31" fmla="*/ 1851804 w 3238500"/>
                  <a:gd name="connsiteY31" fmla="*/ 1418225 h 2200275"/>
                  <a:gd name="connsiteX32" fmla="*/ 2031940 w 3238500"/>
                  <a:gd name="connsiteY32" fmla="*/ 1165660 h 2200275"/>
                  <a:gd name="connsiteX33" fmla="*/ 3233481 w 3238500"/>
                  <a:gd name="connsiteY33" fmla="*/ 456886 h 2200275"/>
                  <a:gd name="connsiteX34" fmla="*/ 2610422 w 3238500"/>
                  <a:gd name="connsiteY34" fmla="*/ 7144 h 2200275"/>
                  <a:gd name="connsiteX35" fmla="*/ 2610394 w 3238500"/>
                  <a:gd name="connsiteY35" fmla="*/ 722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38500" h="2200275">
                    <a:moveTo>
                      <a:pt x="2610394" y="7220"/>
                    </a:moveTo>
                    <a:lnTo>
                      <a:pt x="1797730" y="411137"/>
                    </a:lnTo>
                    <a:cubicBezTo>
                      <a:pt x="1732770" y="443417"/>
                      <a:pt x="1499369" y="290493"/>
                      <a:pt x="1307345" y="267186"/>
                    </a:cubicBezTo>
                    <a:cubicBezTo>
                      <a:pt x="1168309" y="250317"/>
                      <a:pt x="1000335" y="304238"/>
                      <a:pt x="1010337" y="309429"/>
                    </a:cubicBezTo>
                    <a:lnTo>
                      <a:pt x="1445658" y="510654"/>
                    </a:lnTo>
                    <a:cubicBezTo>
                      <a:pt x="1445658" y="510654"/>
                      <a:pt x="1657865" y="804472"/>
                      <a:pt x="1751039" y="862108"/>
                    </a:cubicBezTo>
                    <a:cubicBezTo>
                      <a:pt x="1844203" y="919772"/>
                      <a:pt x="1622337" y="1083964"/>
                      <a:pt x="1436037" y="964140"/>
                    </a:cubicBezTo>
                    <a:cubicBezTo>
                      <a:pt x="1249700" y="844344"/>
                      <a:pt x="1200884" y="697935"/>
                      <a:pt x="1200884" y="697935"/>
                    </a:cubicBezTo>
                    <a:lnTo>
                      <a:pt x="815731" y="737635"/>
                    </a:lnTo>
                    <a:lnTo>
                      <a:pt x="73181" y="1393822"/>
                    </a:lnTo>
                    <a:cubicBezTo>
                      <a:pt x="-29603" y="1484662"/>
                      <a:pt x="1830" y="1532068"/>
                      <a:pt x="70952" y="1620669"/>
                    </a:cubicBezTo>
                    <a:cubicBezTo>
                      <a:pt x="102556" y="1661246"/>
                      <a:pt x="218714" y="1647577"/>
                      <a:pt x="267406" y="1628966"/>
                    </a:cubicBezTo>
                    <a:cubicBezTo>
                      <a:pt x="154953" y="1714510"/>
                      <a:pt x="317098" y="1934823"/>
                      <a:pt x="476070" y="1813646"/>
                    </a:cubicBezTo>
                    <a:cubicBezTo>
                      <a:pt x="379934" y="1886903"/>
                      <a:pt x="517818" y="2145183"/>
                      <a:pt x="710347" y="1998478"/>
                    </a:cubicBezTo>
                    <a:cubicBezTo>
                      <a:pt x="614306" y="2127942"/>
                      <a:pt x="810054" y="2222106"/>
                      <a:pt x="892360" y="2198703"/>
                    </a:cubicBezTo>
                    <a:lnTo>
                      <a:pt x="951977" y="2181759"/>
                    </a:lnTo>
                    <a:lnTo>
                      <a:pt x="936756" y="2170167"/>
                    </a:lnTo>
                    <a:cubicBezTo>
                      <a:pt x="931832" y="2170167"/>
                      <a:pt x="775907" y="2010270"/>
                      <a:pt x="766468" y="1990877"/>
                    </a:cubicBezTo>
                    <a:cubicBezTo>
                      <a:pt x="713128" y="1881397"/>
                      <a:pt x="853688" y="1733140"/>
                      <a:pt x="979704" y="1839144"/>
                    </a:cubicBezTo>
                    <a:lnTo>
                      <a:pt x="1088166" y="1922421"/>
                    </a:lnTo>
                    <a:lnTo>
                      <a:pt x="1025329" y="1842745"/>
                    </a:lnTo>
                    <a:cubicBezTo>
                      <a:pt x="945176" y="1737713"/>
                      <a:pt x="1006870" y="1629261"/>
                      <a:pt x="1083641" y="1596381"/>
                    </a:cubicBezTo>
                    <a:cubicBezTo>
                      <a:pt x="1139905" y="1572320"/>
                      <a:pt x="1198141" y="1599048"/>
                      <a:pt x="1245614" y="1645873"/>
                    </a:cubicBezTo>
                    <a:lnTo>
                      <a:pt x="1365410" y="1741856"/>
                    </a:lnTo>
                    <a:lnTo>
                      <a:pt x="1263349" y="1622603"/>
                    </a:lnTo>
                    <a:cubicBezTo>
                      <a:pt x="1263349" y="1622603"/>
                      <a:pt x="1165461" y="1512027"/>
                      <a:pt x="1255310" y="1413282"/>
                    </a:cubicBezTo>
                    <a:cubicBezTo>
                      <a:pt x="1345159" y="1314564"/>
                      <a:pt x="1466917" y="1432922"/>
                      <a:pt x="1466917" y="1432922"/>
                    </a:cubicBezTo>
                    <a:lnTo>
                      <a:pt x="1610231" y="1551404"/>
                    </a:lnTo>
                    <a:lnTo>
                      <a:pt x="1486882" y="1408538"/>
                    </a:lnTo>
                    <a:cubicBezTo>
                      <a:pt x="1486882" y="1408538"/>
                      <a:pt x="1380049" y="1296229"/>
                      <a:pt x="1451954" y="1221086"/>
                    </a:cubicBezTo>
                    <a:cubicBezTo>
                      <a:pt x="1551833" y="1116702"/>
                      <a:pt x="1675410" y="1219505"/>
                      <a:pt x="1772975" y="1322318"/>
                    </a:cubicBezTo>
                    <a:cubicBezTo>
                      <a:pt x="1801007" y="1351874"/>
                      <a:pt x="1829887" y="1397270"/>
                      <a:pt x="1851804" y="1418225"/>
                    </a:cubicBezTo>
                    <a:cubicBezTo>
                      <a:pt x="1959484" y="1297029"/>
                      <a:pt x="2031940" y="1165660"/>
                      <a:pt x="2031940" y="1165660"/>
                    </a:cubicBezTo>
                    <a:lnTo>
                      <a:pt x="3233481" y="456886"/>
                    </a:lnTo>
                    <a:lnTo>
                      <a:pt x="2610422" y="7144"/>
                    </a:lnTo>
                    <a:lnTo>
                      <a:pt x="2610394" y="7220"/>
                    </a:lnTo>
                    <a:close/>
                  </a:path>
                </a:pathLst>
              </a:custGeom>
              <a:solidFill>
                <a:srgbClr val="E39E6B"/>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02" name="Freeform: Shape 801">
                <a:extLst>
                  <a:ext uri="{FF2B5EF4-FFF2-40B4-BE49-F238E27FC236}">
                    <a16:creationId xmlns:a16="http://schemas.microsoft.com/office/drawing/2014/main" id="{A10D234B-2929-4EAA-9738-29B49C4F5161}"/>
                  </a:ext>
                </a:extLst>
              </p:cNvPr>
              <p:cNvSpPr/>
              <p:nvPr/>
            </p:nvSpPr>
            <p:spPr>
              <a:xfrm>
                <a:off x="-975802" y="7728715"/>
                <a:ext cx="160313" cy="201445"/>
              </a:xfrm>
              <a:custGeom>
                <a:avLst/>
                <a:gdLst>
                  <a:gd name="connsiteX0" fmla="*/ 1448924 w 1447800"/>
                  <a:gd name="connsiteY0" fmla="*/ 1352960 h 1819275"/>
                  <a:gd name="connsiteX1" fmla="*/ 747941 w 1447800"/>
                  <a:gd name="connsiteY1" fmla="*/ 1821466 h 1819275"/>
                  <a:gd name="connsiteX2" fmla="*/ 7144 w 1447800"/>
                  <a:gd name="connsiteY2" fmla="*/ 848811 h 1819275"/>
                  <a:gd name="connsiteX3" fmla="*/ 898827 w 1447800"/>
                  <a:gd name="connsiteY3" fmla="*/ 7144 h 1819275"/>
                  <a:gd name="connsiteX4" fmla="*/ 1448953 w 1447800"/>
                  <a:gd name="connsiteY4" fmla="*/ 1352960 h 1819275"/>
                  <a:gd name="connsiteX5" fmla="*/ 1448924 w 1447800"/>
                  <a:gd name="connsiteY5" fmla="*/ 1352960 h 181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47800" h="1819275">
                    <a:moveTo>
                      <a:pt x="1448924" y="1352960"/>
                    </a:moveTo>
                    <a:lnTo>
                      <a:pt x="747941" y="1821466"/>
                    </a:lnTo>
                    <a:lnTo>
                      <a:pt x="7144" y="848811"/>
                    </a:lnTo>
                    <a:lnTo>
                      <a:pt x="898827" y="7144"/>
                    </a:lnTo>
                    <a:cubicBezTo>
                      <a:pt x="1206560" y="379009"/>
                      <a:pt x="1405957" y="843686"/>
                      <a:pt x="1448953" y="1352960"/>
                    </a:cubicBezTo>
                    <a:lnTo>
                      <a:pt x="1448924" y="1352960"/>
                    </a:lnTo>
                    <a:close/>
                  </a:path>
                </a:pathLst>
              </a:custGeom>
              <a:solidFill>
                <a:schemeClr val="accent5"/>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03" name="Freeform: Shape 802">
                <a:extLst>
                  <a:ext uri="{FF2B5EF4-FFF2-40B4-BE49-F238E27FC236}">
                    <a16:creationId xmlns:a16="http://schemas.microsoft.com/office/drawing/2014/main" id="{163B4443-4A69-4A30-ADD7-C65D3D19EDF8}"/>
                  </a:ext>
                </a:extLst>
              </p:cNvPr>
              <p:cNvSpPr/>
              <p:nvPr/>
            </p:nvSpPr>
            <p:spPr>
              <a:xfrm>
                <a:off x="-986873" y="7824775"/>
                <a:ext cx="83320" cy="102305"/>
              </a:xfrm>
              <a:custGeom>
                <a:avLst/>
                <a:gdLst>
                  <a:gd name="connsiteX0" fmla="*/ 126787 w 752475"/>
                  <a:gd name="connsiteY0" fmla="*/ 7144 h 923925"/>
                  <a:gd name="connsiteX1" fmla="*/ 751218 w 752475"/>
                  <a:gd name="connsiteY1" fmla="*/ 826865 h 923925"/>
                  <a:gd name="connsiteX2" fmla="*/ 631498 w 752475"/>
                  <a:gd name="connsiteY2" fmla="*/ 918058 h 923925"/>
                  <a:gd name="connsiteX3" fmla="*/ 7144 w 752475"/>
                  <a:gd name="connsiteY3" fmla="*/ 98308 h 923925"/>
                  <a:gd name="connsiteX4" fmla="*/ 126787 w 752475"/>
                  <a:gd name="connsiteY4" fmla="*/ 7144 h 923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475" h="923925">
                    <a:moveTo>
                      <a:pt x="126787" y="7144"/>
                    </a:moveTo>
                    <a:lnTo>
                      <a:pt x="751218" y="826865"/>
                    </a:lnTo>
                    <a:lnTo>
                      <a:pt x="631498" y="918058"/>
                    </a:lnTo>
                    <a:lnTo>
                      <a:pt x="7144" y="98308"/>
                    </a:lnTo>
                    <a:lnTo>
                      <a:pt x="126787" y="7144"/>
                    </a:lnTo>
                    <a:close/>
                  </a:path>
                </a:pathLst>
              </a:custGeom>
              <a:solidFill>
                <a:srgbClr val="FFFF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04" name="Freeform: Shape 803">
                <a:extLst>
                  <a:ext uri="{FF2B5EF4-FFF2-40B4-BE49-F238E27FC236}">
                    <a16:creationId xmlns:a16="http://schemas.microsoft.com/office/drawing/2014/main" id="{D890D99D-9889-4DC1-AD71-507ABF390C19}"/>
                  </a:ext>
                </a:extLst>
              </p:cNvPr>
              <p:cNvSpPr/>
              <p:nvPr/>
            </p:nvSpPr>
            <p:spPr>
              <a:xfrm>
                <a:off x="-1303654" y="7891785"/>
                <a:ext cx="25313" cy="20039"/>
              </a:xfrm>
              <a:custGeom>
                <a:avLst/>
                <a:gdLst>
                  <a:gd name="connsiteX0" fmla="*/ 183604 w 228600"/>
                  <a:gd name="connsiteY0" fmla="*/ 89897 h 180975"/>
                  <a:gd name="connsiteX1" fmla="*/ 228000 w 228600"/>
                  <a:gd name="connsiteY1" fmla="*/ 134293 h 180975"/>
                  <a:gd name="connsiteX2" fmla="*/ 183604 w 228600"/>
                  <a:gd name="connsiteY2" fmla="*/ 178689 h 180975"/>
                  <a:gd name="connsiteX3" fmla="*/ 139208 w 228600"/>
                  <a:gd name="connsiteY3" fmla="*/ 134293 h 180975"/>
                  <a:gd name="connsiteX4" fmla="*/ 183604 w 228600"/>
                  <a:gd name="connsiteY4" fmla="*/ 89897 h 180975"/>
                  <a:gd name="connsiteX5" fmla="*/ 51540 w 228600"/>
                  <a:gd name="connsiteY5" fmla="*/ 7144 h 180975"/>
                  <a:gd name="connsiteX6" fmla="*/ 95936 w 228600"/>
                  <a:gd name="connsiteY6" fmla="*/ 51540 h 180975"/>
                  <a:gd name="connsiteX7" fmla="*/ 51540 w 228600"/>
                  <a:gd name="connsiteY7" fmla="*/ 95936 h 180975"/>
                  <a:gd name="connsiteX8" fmla="*/ 7144 w 228600"/>
                  <a:gd name="connsiteY8" fmla="*/ 51540 h 180975"/>
                  <a:gd name="connsiteX9" fmla="*/ 51540 w 228600"/>
                  <a:gd name="connsiteY9" fmla="*/ 714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 h="180975">
                    <a:moveTo>
                      <a:pt x="183604" y="89897"/>
                    </a:moveTo>
                    <a:cubicBezTo>
                      <a:pt x="208112" y="89897"/>
                      <a:pt x="228000" y="109785"/>
                      <a:pt x="228000" y="134293"/>
                    </a:cubicBezTo>
                    <a:cubicBezTo>
                      <a:pt x="228000" y="158801"/>
                      <a:pt x="208140" y="178689"/>
                      <a:pt x="183604" y="178689"/>
                    </a:cubicBezTo>
                    <a:cubicBezTo>
                      <a:pt x="159096" y="178689"/>
                      <a:pt x="139208" y="158829"/>
                      <a:pt x="139208" y="134293"/>
                    </a:cubicBezTo>
                    <a:cubicBezTo>
                      <a:pt x="139208" y="109785"/>
                      <a:pt x="159068" y="89897"/>
                      <a:pt x="183604" y="89897"/>
                    </a:cubicBezTo>
                    <a:close/>
                    <a:moveTo>
                      <a:pt x="51540" y="7144"/>
                    </a:moveTo>
                    <a:cubicBezTo>
                      <a:pt x="76048" y="7144"/>
                      <a:pt x="95936" y="27003"/>
                      <a:pt x="95936" y="51540"/>
                    </a:cubicBezTo>
                    <a:cubicBezTo>
                      <a:pt x="95936" y="76048"/>
                      <a:pt x="76048" y="95936"/>
                      <a:pt x="51540" y="95936"/>
                    </a:cubicBezTo>
                    <a:cubicBezTo>
                      <a:pt x="27032" y="95936"/>
                      <a:pt x="7144" y="76048"/>
                      <a:pt x="7144" y="51540"/>
                    </a:cubicBezTo>
                    <a:cubicBezTo>
                      <a:pt x="7144" y="27032"/>
                      <a:pt x="27003" y="7144"/>
                      <a:pt x="51540" y="7144"/>
                    </a:cubicBezTo>
                    <a:close/>
                  </a:path>
                </a:pathLst>
              </a:custGeom>
              <a:solidFill>
                <a:srgbClr val="ECF0F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805" name="Freeform: Shape 804">
                <a:extLst>
                  <a:ext uri="{FF2B5EF4-FFF2-40B4-BE49-F238E27FC236}">
                    <a16:creationId xmlns:a16="http://schemas.microsoft.com/office/drawing/2014/main" id="{7A62F56A-B5B9-4930-8E96-39714E17B868}"/>
                  </a:ext>
                </a:extLst>
              </p:cNvPr>
              <p:cNvSpPr/>
              <p:nvPr/>
            </p:nvSpPr>
            <p:spPr>
              <a:xfrm>
                <a:off x="-888167" y="7894453"/>
                <a:ext cx="25313" cy="20039"/>
              </a:xfrm>
              <a:custGeom>
                <a:avLst/>
                <a:gdLst>
                  <a:gd name="connsiteX0" fmla="*/ 51540 w 228600"/>
                  <a:gd name="connsiteY0" fmla="*/ 89888 h 180975"/>
                  <a:gd name="connsiteX1" fmla="*/ 7144 w 228600"/>
                  <a:gd name="connsiteY1" fmla="*/ 134283 h 180975"/>
                  <a:gd name="connsiteX2" fmla="*/ 51540 w 228600"/>
                  <a:gd name="connsiteY2" fmla="*/ 178680 h 180975"/>
                  <a:gd name="connsiteX3" fmla="*/ 95936 w 228600"/>
                  <a:gd name="connsiteY3" fmla="*/ 134283 h 180975"/>
                  <a:gd name="connsiteX4" fmla="*/ 51540 w 228600"/>
                  <a:gd name="connsiteY4" fmla="*/ 89888 h 180975"/>
                  <a:gd name="connsiteX5" fmla="*/ 183604 w 228600"/>
                  <a:gd name="connsiteY5" fmla="*/ 7144 h 180975"/>
                  <a:gd name="connsiteX6" fmla="*/ 139208 w 228600"/>
                  <a:gd name="connsiteY6" fmla="*/ 51540 h 180975"/>
                  <a:gd name="connsiteX7" fmla="*/ 183604 w 228600"/>
                  <a:gd name="connsiteY7" fmla="*/ 95936 h 180975"/>
                  <a:gd name="connsiteX8" fmla="*/ 228000 w 228600"/>
                  <a:gd name="connsiteY8" fmla="*/ 51540 h 180975"/>
                  <a:gd name="connsiteX9" fmla="*/ 183604 w 228600"/>
                  <a:gd name="connsiteY9" fmla="*/ 714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 h="180975">
                    <a:moveTo>
                      <a:pt x="51540" y="89888"/>
                    </a:moveTo>
                    <a:cubicBezTo>
                      <a:pt x="27032" y="89888"/>
                      <a:pt x="7144" y="109776"/>
                      <a:pt x="7144" y="134283"/>
                    </a:cubicBezTo>
                    <a:cubicBezTo>
                      <a:pt x="7144" y="158791"/>
                      <a:pt x="27003" y="178680"/>
                      <a:pt x="51540" y="178680"/>
                    </a:cubicBezTo>
                    <a:cubicBezTo>
                      <a:pt x="76047" y="178680"/>
                      <a:pt x="95936" y="158820"/>
                      <a:pt x="95936" y="134283"/>
                    </a:cubicBezTo>
                    <a:cubicBezTo>
                      <a:pt x="95936" y="109776"/>
                      <a:pt x="76076" y="89888"/>
                      <a:pt x="51540" y="89888"/>
                    </a:cubicBezTo>
                    <a:close/>
                    <a:moveTo>
                      <a:pt x="183604" y="7144"/>
                    </a:moveTo>
                    <a:cubicBezTo>
                      <a:pt x="159096" y="7144"/>
                      <a:pt x="139208" y="27003"/>
                      <a:pt x="139208" y="51540"/>
                    </a:cubicBezTo>
                    <a:cubicBezTo>
                      <a:pt x="139208" y="76048"/>
                      <a:pt x="159096" y="95936"/>
                      <a:pt x="183604" y="95936"/>
                    </a:cubicBezTo>
                    <a:cubicBezTo>
                      <a:pt x="208112" y="95936"/>
                      <a:pt x="228000" y="76048"/>
                      <a:pt x="228000" y="51540"/>
                    </a:cubicBezTo>
                    <a:cubicBezTo>
                      <a:pt x="228000" y="27032"/>
                      <a:pt x="208140" y="7144"/>
                      <a:pt x="183604" y="7144"/>
                    </a:cubicBezTo>
                    <a:close/>
                  </a:path>
                </a:pathLst>
              </a:custGeom>
              <a:solidFill>
                <a:srgbClr val="FFFFFF"/>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grpSp>
      </p:grpSp>
      <p:grpSp>
        <p:nvGrpSpPr>
          <p:cNvPr id="28" name="Group 27">
            <a:extLst>
              <a:ext uri="{FF2B5EF4-FFF2-40B4-BE49-F238E27FC236}">
                <a16:creationId xmlns:a16="http://schemas.microsoft.com/office/drawing/2014/main" id="{1DA3F4D1-2D55-450E-8808-5BBADCEA81E6}"/>
              </a:ext>
            </a:extLst>
          </p:cNvPr>
          <p:cNvGrpSpPr/>
          <p:nvPr/>
        </p:nvGrpSpPr>
        <p:grpSpPr>
          <a:xfrm>
            <a:off x="3789459" y="3412142"/>
            <a:ext cx="514861" cy="138801"/>
            <a:chOff x="32932" y="3013274"/>
            <a:chExt cx="727607" cy="196156"/>
          </a:xfrm>
        </p:grpSpPr>
        <p:pic>
          <p:nvPicPr>
            <p:cNvPr id="792" name="Graphic 791" descr="Man">
              <a:extLst>
                <a:ext uri="{FF2B5EF4-FFF2-40B4-BE49-F238E27FC236}">
                  <a16:creationId xmlns:a16="http://schemas.microsoft.com/office/drawing/2014/main" id="{A21A9276-D323-4158-B0EE-912EC509AED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65794" y="3013274"/>
              <a:ext cx="196156" cy="196156"/>
            </a:xfrm>
            <a:prstGeom prst="rect">
              <a:avLst/>
            </a:prstGeom>
          </p:spPr>
        </p:pic>
        <p:pic>
          <p:nvPicPr>
            <p:cNvPr id="793" name="Graphic 792" descr="Man">
              <a:extLst>
                <a:ext uri="{FF2B5EF4-FFF2-40B4-BE49-F238E27FC236}">
                  <a16:creationId xmlns:a16="http://schemas.microsoft.com/office/drawing/2014/main" id="{4E8998DA-FAF3-48DC-ACEA-C34C43D3283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98657" y="3013274"/>
              <a:ext cx="196156" cy="196156"/>
            </a:xfrm>
            <a:prstGeom prst="rect">
              <a:avLst/>
            </a:prstGeom>
          </p:spPr>
        </p:pic>
        <p:pic>
          <p:nvPicPr>
            <p:cNvPr id="794" name="Graphic 793" descr="Man">
              <a:extLst>
                <a:ext uri="{FF2B5EF4-FFF2-40B4-BE49-F238E27FC236}">
                  <a16:creationId xmlns:a16="http://schemas.microsoft.com/office/drawing/2014/main" id="{14CC5A1C-A418-4F77-BE16-CEA120DA4D3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1520" y="3013274"/>
              <a:ext cx="196156" cy="196156"/>
            </a:xfrm>
            <a:prstGeom prst="rect">
              <a:avLst/>
            </a:prstGeom>
          </p:spPr>
        </p:pic>
        <p:pic>
          <p:nvPicPr>
            <p:cNvPr id="795" name="Graphic 794" descr="Woman">
              <a:extLst>
                <a:ext uri="{FF2B5EF4-FFF2-40B4-BE49-F238E27FC236}">
                  <a16:creationId xmlns:a16="http://schemas.microsoft.com/office/drawing/2014/main" id="{75C05FA4-2958-4A3A-A37C-58066A218F04}"/>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2932" y="3013274"/>
              <a:ext cx="196156" cy="196156"/>
            </a:xfrm>
            <a:prstGeom prst="rect">
              <a:avLst/>
            </a:prstGeom>
          </p:spPr>
        </p:pic>
        <p:pic>
          <p:nvPicPr>
            <p:cNvPr id="796" name="Graphic 795" descr="Man">
              <a:extLst>
                <a:ext uri="{FF2B5EF4-FFF2-40B4-BE49-F238E27FC236}">
                  <a16:creationId xmlns:a16="http://schemas.microsoft.com/office/drawing/2014/main" id="{B7108E56-C8D1-43E2-A25F-930AF2BACECA}"/>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64383" y="3013274"/>
              <a:ext cx="196156" cy="196156"/>
            </a:xfrm>
            <a:prstGeom prst="rect">
              <a:avLst/>
            </a:prstGeom>
          </p:spPr>
        </p:pic>
      </p:grpSp>
      <p:sp>
        <p:nvSpPr>
          <p:cNvPr id="246" name="Freeform: Shape 245">
            <a:extLst>
              <a:ext uri="{FF2B5EF4-FFF2-40B4-BE49-F238E27FC236}">
                <a16:creationId xmlns:a16="http://schemas.microsoft.com/office/drawing/2014/main" id="{B3EF1102-F9F6-4120-B718-8B0AC392683A}"/>
              </a:ext>
            </a:extLst>
          </p:cNvPr>
          <p:cNvSpPr/>
          <p:nvPr/>
        </p:nvSpPr>
        <p:spPr>
          <a:xfrm>
            <a:off x="863227" y="3851526"/>
            <a:ext cx="3527864" cy="346000"/>
          </a:xfrm>
          <a:custGeom>
            <a:avLst/>
            <a:gdLst>
              <a:gd name="connsiteX0" fmla="*/ 0 w 5647615"/>
              <a:gd name="connsiteY0" fmla="*/ 0 h 540000"/>
              <a:gd name="connsiteX1" fmla="*/ 5647615 w 5647615"/>
              <a:gd name="connsiteY1" fmla="*/ 0 h 540000"/>
              <a:gd name="connsiteX2" fmla="*/ 5512615 w 5647615"/>
              <a:gd name="connsiteY2" fmla="*/ 540000 h 540000"/>
              <a:gd name="connsiteX3" fmla="*/ 0 w 5647615"/>
              <a:gd name="connsiteY3" fmla="*/ 540000 h 540000"/>
              <a:gd name="connsiteX4" fmla="*/ 270000 w 5647615"/>
              <a:gd name="connsiteY4" fmla="*/ 270000 h 540000"/>
              <a:gd name="connsiteX5" fmla="*/ 0 w 5647615"/>
              <a:gd name="connsiteY5" fmla="*/ 0 h 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47615" h="540000">
                <a:moveTo>
                  <a:pt x="0" y="0"/>
                </a:moveTo>
                <a:lnTo>
                  <a:pt x="5647615" y="0"/>
                </a:lnTo>
                <a:lnTo>
                  <a:pt x="5512615" y="540000"/>
                </a:lnTo>
                <a:lnTo>
                  <a:pt x="0" y="540000"/>
                </a:lnTo>
                <a:cubicBezTo>
                  <a:pt x="149117" y="540000"/>
                  <a:pt x="270000" y="419117"/>
                  <a:pt x="270000" y="270000"/>
                </a:cubicBezTo>
                <a:cubicBezTo>
                  <a:pt x="270000" y="120883"/>
                  <a:pt x="149117" y="0"/>
                  <a:pt x="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Franklin Gothic Medium" panose="020B0603020102020204"/>
                <a:ea typeface="+mn-ea"/>
                <a:cs typeface="+mn-cs"/>
              </a:rPr>
              <a:t> </a:t>
            </a:r>
          </a:p>
        </p:txBody>
      </p:sp>
      <p:sp>
        <p:nvSpPr>
          <p:cNvPr id="247" name="Rectangle 246">
            <a:extLst>
              <a:ext uri="{FF2B5EF4-FFF2-40B4-BE49-F238E27FC236}">
                <a16:creationId xmlns:a16="http://schemas.microsoft.com/office/drawing/2014/main" id="{B8FF52E8-5E39-4C63-B7E5-1EEE910AFF84}"/>
              </a:ext>
            </a:extLst>
          </p:cNvPr>
          <p:cNvSpPr>
            <a:spLocks/>
          </p:cNvSpPr>
          <p:nvPr/>
        </p:nvSpPr>
        <p:spPr>
          <a:xfrm>
            <a:off x="1125371" y="3900583"/>
            <a:ext cx="2946349" cy="247885"/>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3"/>
              </a:spcAft>
              <a:buClrTx/>
              <a:buSzTx/>
              <a:buFontTx/>
              <a:buNone/>
              <a:tabLst>
                <a:tab pos="2088356" algn="l"/>
              </a:tabLst>
              <a:defRPr/>
            </a:pPr>
            <a:r>
              <a:rPr kumimoji="0" lang="en-GB" sz="1050" b="0" i="0" u="none" strike="noStrike" kern="1200" cap="none" spc="0" normalizeH="0" baseline="0" noProof="0" dirty="0">
                <a:ln>
                  <a:noFill/>
                </a:ln>
                <a:solidFill>
                  <a:prstClr val="black"/>
                </a:solidFill>
                <a:effectLst/>
                <a:uLnTx/>
                <a:uFillTx/>
                <a:latin typeface="Franklin Gothic Book" panose="020B0503020102020204"/>
                <a:ea typeface="+mn-ea"/>
                <a:cs typeface="+mn-cs"/>
              </a:rPr>
              <a:t>Health care professionals/clinical researchers</a:t>
            </a:r>
          </a:p>
        </p:txBody>
      </p:sp>
      <p:grpSp>
        <p:nvGrpSpPr>
          <p:cNvPr id="22" name="Group 21">
            <a:extLst>
              <a:ext uri="{FF2B5EF4-FFF2-40B4-BE49-F238E27FC236}">
                <a16:creationId xmlns:a16="http://schemas.microsoft.com/office/drawing/2014/main" id="{75DE99EF-F550-40C6-B7E2-DD17FC78346E}"/>
              </a:ext>
            </a:extLst>
          </p:cNvPr>
          <p:cNvGrpSpPr/>
          <p:nvPr/>
        </p:nvGrpSpPr>
        <p:grpSpPr>
          <a:xfrm>
            <a:off x="635594" y="3801785"/>
            <a:ext cx="445480" cy="445480"/>
            <a:chOff x="-4383367" y="3800199"/>
            <a:chExt cx="399800" cy="399800"/>
          </a:xfrm>
        </p:grpSpPr>
        <p:sp>
          <p:nvSpPr>
            <p:cNvPr id="756" name="Oval 755">
              <a:extLst>
                <a:ext uri="{FF2B5EF4-FFF2-40B4-BE49-F238E27FC236}">
                  <a16:creationId xmlns:a16="http://schemas.microsoft.com/office/drawing/2014/main" id="{45D00EB2-9162-4152-97FE-5E6620B90BC5}"/>
                </a:ext>
              </a:extLst>
            </p:cNvPr>
            <p:cNvSpPr/>
            <p:nvPr/>
          </p:nvSpPr>
          <p:spPr>
            <a:xfrm>
              <a:off x="-4383367" y="3800199"/>
              <a:ext cx="399800" cy="3998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Franklin Gothic Medium" panose="020B0603020102020204"/>
                  <a:ea typeface="+mn-ea"/>
                  <a:cs typeface="+mn-cs"/>
                </a:rPr>
                <a:t> </a:t>
              </a:r>
            </a:p>
          </p:txBody>
        </p:sp>
        <p:grpSp>
          <p:nvGrpSpPr>
            <p:cNvPr id="762" name="Graphic 48">
              <a:extLst>
                <a:ext uri="{FF2B5EF4-FFF2-40B4-BE49-F238E27FC236}">
                  <a16:creationId xmlns:a16="http://schemas.microsoft.com/office/drawing/2014/main" id="{F4C04E9A-8C76-4BF5-B8C0-31C01A66300E}"/>
                </a:ext>
              </a:extLst>
            </p:cNvPr>
            <p:cNvGrpSpPr/>
            <p:nvPr/>
          </p:nvGrpSpPr>
          <p:grpSpPr>
            <a:xfrm>
              <a:off x="-4320849" y="3849013"/>
              <a:ext cx="274754" cy="350735"/>
              <a:chOff x="481901" y="7957394"/>
              <a:chExt cx="371103" cy="473729"/>
            </a:xfrm>
          </p:grpSpPr>
          <p:sp>
            <p:nvSpPr>
              <p:cNvPr id="763" name="Freeform: Shape 762">
                <a:extLst>
                  <a:ext uri="{FF2B5EF4-FFF2-40B4-BE49-F238E27FC236}">
                    <a16:creationId xmlns:a16="http://schemas.microsoft.com/office/drawing/2014/main" id="{10C8F914-2E86-4C75-9215-E25BDBA60C86}"/>
                  </a:ext>
                </a:extLst>
              </p:cNvPr>
              <p:cNvSpPr/>
              <p:nvPr/>
            </p:nvSpPr>
            <p:spPr>
              <a:xfrm>
                <a:off x="629120" y="8154448"/>
                <a:ext cx="75938" cy="60117"/>
              </a:xfrm>
              <a:custGeom>
                <a:avLst/>
                <a:gdLst>
                  <a:gd name="connsiteX0" fmla="*/ 705 w 75937"/>
                  <a:gd name="connsiteY0" fmla="*/ 87 h 60117"/>
                  <a:gd name="connsiteX1" fmla="*/ 75963 w 75937"/>
                  <a:gd name="connsiteY1" fmla="*/ 87 h 60117"/>
                  <a:gd name="connsiteX2" fmla="*/ 76372 w 75937"/>
                  <a:gd name="connsiteY2" fmla="*/ 5230 h 60117"/>
                  <a:gd name="connsiteX3" fmla="*/ 39593 w 75937"/>
                  <a:gd name="connsiteY3" fmla="*/ 60983 h 60117"/>
                  <a:gd name="connsiteX4" fmla="*/ 87 w 75937"/>
                  <a:gd name="connsiteY4" fmla="*/ 4674 h 60117"/>
                  <a:gd name="connsiteX5" fmla="*/ 700 w 75937"/>
                  <a:gd name="connsiteY5" fmla="*/ 87 h 60117"/>
                  <a:gd name="connsiteX6" fmla="*/ 705 w 75937"/>
                  <a:gd name="connsiteY6" fmla="*/ 87 h 60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937" h="60117">
                    <a:moveTo>
                      <a:pt x="705" y="87"/>
                    </a:moveTo>
                    <a:cubicBezTo>
                      <a:pt x="25792" y="87"/>
                      <a:pt x="50875" y="87"/>
                      <a:pt x="75963" y="87"/>
                    </a:cubicBezTo>
                    <a:lnTo>
                      <a:pt x="76372" y="5230"/>
                    </a:lnTo>
                    <a:lnTo>
                      <a:pt x="39593" y="60983"/>
                    </a:lnTo>
                    <a:lnTo>
                      <a:pt x="87" y="4674"/>
                    </a:lnTo>
                    <a:lnTo>
                      <a:pt x="700" y="87"/>
                    </a:lnTo>
                    <a:lnTo>
                      <a:pt x="705" y="87"/>
                    </a:lnTo>
                    <a:close/>
                  </a:path>
                </a:pathLst>
              </a:custGeom>
              <a:solidFill>
                <a:srgbClr val="B3B3B3"/>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64" name="Freeform: Shape 763">
                <a:extLst>
                  <a:ext uri="{FF2B5EF4-FFF2-40B4-BE49-F238E27FC236}">
                    <a16:creationId xmlns:a16="http://schemas.microsoft.com/office/drawing/2014/main" id="{DB60D939-82C5-46FD-B01D-46AA35502EFC}"/>
                  </a:ext>
                </a:extLst>
              </p:cNvPr>
              <p:cNvSpPr/>
              <p:nvPr/>
            </p:nvSpPr>
            <p:spPr>
              <a:xfrm>
                <a:off x="576216" y="8138821"/>
                <a:ext cx="179297" cy="168750"/>
              </a:xfrm>
              <a:custGeom>
                <a:avLst/>
                <a:gdLst>
                  <a:gd name="connsiteX0" fmla="*/ 54095 w 179296"/>
                  <a:gd name="connsiteY0" fmla="*/ 1723 h 168750"/>
                  <a:gd name="connsiteX1" fmla="*/ 53442 w 179296"/>
                  <a:gd name="connsiteY1" fmla="*/ 33173 h 168750"/>
                  <a:gd name="connsiteX2" fmla="*/ 87 w 179296"/>
                  <a:gd name="connsiteY2" fmla="*/ 62352 h 168750"/>
                  <a:gd name="connsiteX3" fmla="*/ 87 w 179296"/>
                  <a:gd name="connsiteY3" fmla="*/ 169303 h 168750"/>
                  <a:gd name="connsiteX4" fmla="*/ 89910 w 179296"/>
                  <a:gd name="connsiteY4" fmla="*/ 169303 h 168750"/>
                  <a:gd name="connsiteX5" fmla="*/ 179719 w 179296"/>
                  <a:gd name="connsiteY5" fmla="*/ 169303 h 168750"/>
                  <a:gd name="connsiteX6" fmla="*/ 179719 w 179296"/>
                  <a:gd name="connsiteY6" fmla="*/ 62352 h 168750"/>
                  <a:gd name="connsiteX7" fmla="*/ 130128 w 179296"/>
                  <a:gd name="connsiteY7" fmla="*/ 31531 h 168750"/>
                  <a:gd name="connsiteX8" fmla="*/ 127405 w 179296"/>
                  <a:gd name="connsiteY8" fmla="*/ 87 h 168750"/>
                  <a:gd name="connsiteX9" fmla="*/ 54096 w 179296"/>
                  <a:gd name="connsiteY9" fmla="*/ 1729 h 168750"/>
                  <a:gd name="connsiteX10" fmla="*/ 54096 w 179296"/>
                  <a:gd name="connsiteY10" fmla="*/ 1723 h 16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296" h="168750">
                    <a:moveTo>
                      <a:pt x="54095" y="1723"/>
                    </a:moveTo>
                    <a:lnTo>
                      <a:pt x="53442" y="33173"/>
                    </a:lnTo>
                    <a:lnTo>
                      <a:pt x="87" y="62352"/>
                    </a:lnTo>
                    <a:lnTo>
                      <a:pt x="87" y="169303"/>
                    </a:lnTo>
                    <a:lnTo>
                      <a:pt x="89910" y="169303"/>
                    </a:lnTo>
                    <a:lnTo>
                      <a:pt x="179719" y="169303"/>
                    </a:lnTo>
                    <a:lnTo>
                      <a:pt x="179719" y="62352"/>
                    </a:lnTo>
                    <a:lnTo>
                      <a:pt x="130128" y="31531"/>
                    </a:lnTo>
                    <a:lnTo>
                      <a:pt x="127405" y="87"/>
                    </a:lnTo>
                    <a:lnTo>
                      <a:pt x="54096" y="1729"/>
                    </a:lnTo>
                    <a:lnTo>
                      <a:pt x="54096" y="1723"/>
                    </a:lnTo>
                    <a:close/>
                  </a:path>
                </a:pathLst>
              </a:custGeom>
              <a:solidFill>
                <a:srgbClr val="F0BA7D"/>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65" name="Freeform: Shape 764">
                <a:extLst>
                  <a:ext uri="{FF2B5EF4-FFF2-40B4-BE49-F238E27FC236}">
                    <a16:creationId xmlns:a16="http://schemas.microsoft.com/office/drawing/2014/main" id="{4DC43AEC-7D0A-46B6-AC25-FCD0B5F60C3D}"/>
                  </a:ext>
                </a:extLst>
              </p:cNvPr>
              <p:cNvSpPr/>
              <p:nvPr/>
            </p:nvSpPr>
            <p:spPr>
              <a:xfrm>
                <a:off x="590839" y="7969590"/>
                <a:ext cx="152930" cy="191953"/>
              </a:xfrm>
              <a:custGeom>
                <a:avLst/>
                <a:gdLst>
                  <a:gd name="connsiteX0" fmla="*/ 14818 w 152929"/>
                  <a:gd name="connsiteY0" fmla="*/ 79246 h 191953"/>
                  <a:gd name="connsiteX1" fmla="*/ 3545 w 152929"/>
                  <a:gd name="connsiteY1" fmla="*/ 75855 h 191953"/>
                  <a:gd name="connsiteX2" fmla="*/ 7053 w 152929"/>
                  <a:gd name="connsiteY2" fmla="*/ 117038 h 191953"/>
                  <a:gd name="connsiteX3" fmla="*/ 17083 w 152929"/>
                  <a:gd name="connsiteY3" fmla="*/ 118543 h 191953"/>
                  <a:gd name="connsiteX4" fmla="*/ 27859 w 152929"/>
                  <a:gd name="connsiteY4" fmla="*/ 160344 h 191953"/>
                  <a:gd name="connsiteX5" fmla="*/ 61612 w 152929"/>
                  <a:gd name="connsiteY5" fmla="*/ 189981 h 191953"/>
                  <a:gd name="connsiteX6" fmla="*/ 76625 w 152929"/>
                  <a:gd name="connsiteY6" fmla="*/ 192265 h 191953"/>
                  <a:gd name="connsiteX7" fmla="*/ 91639 w 152929"/>
                  <a:gd name="connsiteY7" fmla="*/ 189981 h 191953"/>
                  <a:gd name="connsiteX8" fmla="*/ 125392 w 152929"/>
                  <a:gd name="connsiteY8" fmla="*/ 160344 h 191953"/>
                  <a:gd name="connsiteX9" fmla="*/ 136168 w 152929"/>
                  <a:gd name="connsiteY9" fmla="*/ 118543 h 191953"/>
                  <a:gd name="connsiteX10" fmla="*/ 146198 w 152929"/>
                  <a:gd name="connsiteY10" fmla="*/ 117038 h 191953"/>
                  <a:gd name="connsiteX11" fmla="*/ 149706 w 152929"/>
                  <a:gd name="connsiteY11" fmla="*/ 75855 h 191953"/>
                  <a:gd name="connsiteX12" fmla="*/ 138433 w 152929"/>
                  <a:gd name="connsiteY12" fmla="*/ 79246 h 191953"/>
                  <a:gd name="connsiteX13" fmla="*/ 132120 w 152929"/>
                  <a:gd name="connsiteY13" fmla="*/ 27483 h 191953"/>
                  <a:gd name="connsiteX14" fmla="*/ 76631 w 152929"/>
                  <a:gd name="connsiteY14" fmla="*/ 87 h 191953"/>
                  <a:gd name="connsiteX15" fmla="*/ 21142 w 152929"/>
                  <a:gd name="connsiteY15" fmla="*/ 27483 h 191953"/>
                  <a:gd name="connsiteX16" fmla="*/ 14828 w 152929"/>
                  <a:gd name="connsiteY16" fmla="*/ 79246 h 191953"/>
                  <a:gd name="connsiteX17" fmla="*/ 14818 w 152929"/>
                  <a:gd name="connsiteY17" fmla="*/ 79246 h 191953"/>
                  <a:gd name="connsiteX18" fmla="*/ 14818 w 152929"/>
                  <a:gd name="connsiteY18" fmla="*/ 79246 h 19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929" h="191953">
                    <a:moveTo>
                      <a:pt x="14818" y="79246"/>
                    </a:moveTo>
                    <a:cubicBezTo>
                      <a:pt x="14818" y="79246"/>
                      <a:pt x="11759" y="72524"/>
                      <a:pt x="3545" y="75855"/>
                    </a:cubicBezTo>
                    <a:cubicBezTo>
                      <a:pt x="-4668" y="79183"/>
                      <a:pt x="3915" y="112400"/>
                      <a:pt x="7053" y="117038"/>
                    </a:cubicBezTo>
                    <a:cubicBezTo>
                      <a:pt x="10190" y="121670"/>
                      <a:pt x="15242" y="118728"/>
                      <a:pt x="17083" y="118543"/>
                    </a:cubicBezTo>
                    <a:cubicBezTo>
                      <a:pt x="19699" y="138344"/>
                      <a:pt x="19933" y="151994"/>
                      <a:pt x="27859" y="160344"/>
                    </a:cubicBezTo>
                    <a:cubicBezTo>
                      <a:pt x="35365" y="168250"/>
                      <a:pt x="52556" y="184366"/>
                      <a:pt x="61612" y="189981"/>
                    </a:cubicBezTo>
                    <a:cubicBezTo>
                      <a:pt x="67745" y="191277"/>
                      <a:pt x="72319" y="192036"/>
                      <a:pt x="76625" y="192265"/>
                    </a:cubicBezTo>
                    <a:cubicBezTo>
                      <a:pt x="80926" y="192036"/>
                      <a:pt x="85506" y="191277"/>
                      <a:pt x="91639" y="189981"/>
                    </a:cubicBezTo>
                    <a:cubicBezTo>
                      <a:pt x="100694" y="184364"/>
                      <a:pt x="117886" y="168249"/>
                      <a:pt x="125392" y="160344"/>
                    </a:cubicBezTo>
                    <a:cubicBezTo>
                      <a:pt x="133317" y="151994"/>
                      <a:pt x="133552" y="138351"/>
                      <a:pt x="136168" y="118543"/>
                    </a:cubicBezTo>
                    <a:cubicBezTo>
                      <a:pt x="138009" y="118728"/>
                      <a:pt x="143056" y="121670"/>
                      <a:pt x="146198" y="117038"/>
                    </a:cubicBezTo>
                    <a:cubicBezTo>
                      <a:pt x="149335" y="112405"/>
                      <a:pt x="157923" y="79187"/>
                      <a:pt x="149706" y="75855"/>
                    </a:cubicBezTo>
                    <a:cubicBezTo>
                      <a:pt x="141493" y="72524"/>
                      <a:pt x="138433" y="79246"/>
                      <a:pt x="138433" y="79246"/>
                    </a:cubicBezTo>
                    <a:cubicBezTo>
                      <a:pt x="138433" y="79246"/>
                      <a:pt x="146554" y="53159"/>
                      <a:pt x="132120" y="27483"/>
                    </a:cubicBezTo>
                    <a:cubicBezTo>
                      <a:pt x="122231" y="9884"/>
                      <a:pt x="99671" y="758"/>
                      <a:pt x="76631" y="87"/>
                    </a:cubicBezTo>
                    <a:cubicBezTo>
                      <a:pt x="53590" y="754"/>
                      <a:pt x="31029" y="9882"/>
                      <a:pt x="21142" y="27483"/>
                    </a:cubicBezTo>
                    <a:cubicBezTo>
                      <a:pt x="6708" y="53159"/>
                      <a:pt x="14828" y="79246"/>
                      <a:pt x="14828" y="79246"/>
                    </a:cubicBezTo>
                    <a:lnTo>
                      <a:pt x="14818" y="79246"/>
                    </a:lnTo>
                    <a:lnTo>
                      <a:pt x="14818" y="79246"/>
                    </a:lnTo>
                    <a:close/>
                  </a:path>
                </a:pathLst>
              </a:custGeom>
              <a:solidFill>
                <a:srgbClr val="FEE0B8"/>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66" name="Freeform: Shape 765">
                <a:extLst>
                  <a:ext uri="{FF2B5EF4-FFF2-40B4-BE49-F238E27FC236}">
                    <a16:creationId xmlns:a16="http://schemas.microsoft.com/office/drawing/2014/main" id="{16CBDD44-9B70-49EB-9AA8-5DD58CBBD8BC}"/>
                  </a:ext>
                </a:extLst>
              </p:cNvPr>
              <p:cNvSpPr/>
              <p:nvPr/>
            </p:nvSpPr>
            <p:spPr>
              <a:xfrm>
                <a:off x="551016" y="8181162"/>
                <a:ext cx="220430" cy="249961"/>
              </a:xfrm>
              <a:custGeom>
                <a:avLst/>
                <a:gdLst>
                  <a:gd name="connsiteX0" fmla="*/ 52477 w 220429"/>
                  <a:gd name="connsiteY0" fmla="*/ 87 h 249960"/>
                  <a:gd name="connsiteX1" fmla="*/ 180409 w 220429"/>
                  <a:gd name="connsiteY1" fmla="*/ 92 h 249960"/>
                  <a:gd name="connsiteX2" fmla="*/ 220500 w 220429"/>
                  <a:gd name="connsiteY2" fmla="*/ 68237 h 249960"/>
                  <a:gd name="connsiteX3" fmla="*/ 188749 w 220429"/>
                  <a:gd name="connsiteY3" fmla="*/ 240493 h 249960"/>
                  <a:gd name="connsiteX4" fmla="*/ 116444 w 220429"/>
                  <a:gd name="connsiteY4" fmla="*/ 250300 h 249960"/>
                  <a:gd name="connsiteX5" fmla="*/ 56993 w 220429"/>
                  <a:gd name="connsiteY5" fmla="*/ 243718 h 249960"/>
                  <a:gd name="connsiteX6" fmla="*/ 87 w 220429"/>
                  <a:gd name="connsiteY6" fmla="*/ 73678 h 249960"/>
                  <a:gd name="connsiteX7" fmla="*/ 52483 w 220429"/>
                  <a:gd name="connsiteY7" fmla="*/ 87 h 249960"/>
                  <a:gd name="connsiteX8" fmla="*/ 52477 w 220429"/>
                  <a:gd name="connsiteY8" fmla="*/ 87 h 249960"/>
                  <a:gd name="connsiteX9" fmla="*/ 52477 w 220429"/>
                  <a:gd name="connsiteY9" fmla="*/ 87 h 24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0429" h="249960">
                    <a:moveTo>
                      <a:pt x="52477" y="87"/>
                    </a:moveTo>
                    <a:cubicBezTo>
                      <a:pt x="58220" y="47528"/>
                      <a:pt x="180127" y="46185"/>
                      <a:pt x="180409" y="92"/>
                    </a:cubicBezTo>
                    <a:lnTo>
                      <a:pt x="220500" y="68237"/>
                    </a:lnTo>
                    <a:lnTo>
                      <a:pt x="188749" y="240493"/>
                    </a:lnTo>
                    <a:cubicBezTo>
                      <a:pt x="165733" y="246875"/>
                      <a:pt x="141493" y="250300"/>
                      <a:pt x="116444" y="250300"/>
                    </a:cubicBezTo>
                    <a:cubicBezTo>
                      <a:pt x="96014" y="250300"/>
                      <a:pt x="76124" y="248015"/>
                      <a:pt x="56993" y="243718"/>
                    </a:cubicBezTo>
                    <a:lnTo>
                      <a:pt x="87" y="73678"/>
                    </a:lnTo>
                    <a:lnTo>
                      <a:pt x="52483" y="87"/>
                    </a:lnTo>
                    <a:lnTo>
                      <a:pt x="52477" y="87"/>
                    </a:lnTo>
                    <a:lnTo>
                      <a:pt x="52477" y="87"/>
                    </a:lnTo>
                    <a:close/>
                  </a:path>
                </a:pathLst>
              </a:custGeom>
              <a:solidFill>
                <a:schemeClr val="accent5"/>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67" name="Freeform: Shape 766">
                <a:extLst>
                  <a:ext uri="{FF2B5EF4-FFF2-40B4-BE49-F238E27FC236}">
                    <a16:creationId xmlns:a16="http://schemas.microsoft.com/office/drawing/2014/main" id="{F1867344-86E5-4A34-B55B-87456F4B0CD7}"/>
                  </a:ext>
                </a:extLst>
              </p:cNvPr>
              <p:cNvSpPr/>
              <p:nvPr/>
            </p:nvSpPr>
            <p:spPr>
              <a:xfrm>
                <a:off x="481901" y="8177485"/>
                <a:ext cx="185625" cy="253125"/>
              </a:xfrm>
              <a:custGeom>
                <a:avLst/>
                <a:gdLst>
                  <a:gd name="connsiteX0" fmla="*/ 133230 w 185625"/>
                  <a:gd name="connsiteY0" fmla="*/ 92 h 253125"/>
                  <a:gd name="connsiteX1" fmla="*/ 87 w 185625"/>
                  <a:gd name="connsiteY1" fmla="*/ 180175 h 253125"/>
                  <a:gd name="connsiteX2" fmla="*/ 65280 w 185625"/>
                  <a:gd name="connsiteY2" fmla="*/ 225747 h 253125"/>
                  <a:gd name="connsiteX3" fmla="*/ 79505 w 185625"/>
                  <a:gd name="connsiteY3" fmla="*/ 179333 h 253125"/>
                  <a:gd name="connsiteX4" fmla="*/ 80728 w 185625"/>
                  <a:gd name="connsiteY4" fmla="*/ 178533 h 253125"/>
                  <a:gd name="connsiteX5" fmla="*/ 81731 w 185625"/>
                  <a:gd name="connsiteY5" fmla="*/ 179595 h 253125"/>
                  <a:gd name="connsiteX6" fmla="*/ 83787 w 185625"/>
                  <a:gd name="connsiteY6" fmla="*/ 234111 h 253125"/>
                  <a:gd name="connsiteX7" fmla="*/ 185564 w 185625"/>
                  <a:gd name="connsiteY7" fmla="*/ 253971 h 253125"/>
                  <a:gd name="connsiteX8" fmla="*/ 185564 w 185625"/>
                  <a:gd name="connsiteY8" fmla="*/ 141132 h 253125"/>
                  <a:gd name="connsiteX9" fmla="*/ 133236 w 185625"/>
                  <a:gd name="connsiteY9" fmla="*/ 87 h 253125"/>
                  <a:gd name="connsiteX10" fmla="*/ 133230 w 185625"/>
                  <a:gd name="connsiteY10" fmla="*/ 92 h 25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625" h="253125">
                    <a:moveTo>
                      <a:pt x="133230" y="92"/>
                    </a:moveTo>
                    <a:cubicBezTo>
                      <a:pt x="-8492" y="46181"/>
                      <a:pt x="32125" y="23703"/>
                      <a:pt x="87" y="180175"/>
                    </a:cubicBezTo>
                    <a:cubicBezTo>
                      <a:pt x="19353" y="198394"/>
                      <a:pt x="41304" y="213798"/>
                      <a:pt x="65280" y="225747"/>
                    </a:cubicBezTo>
                    <a:lnTo>
                      <a:pt x="79505" y="179333"/>
                    </a:lnTo>
                    <a:cubicBezTo>
                      <a:pt x="79670" y="178802"/>
                      <a:pt x="80177" y="178471"/>
                      <a:pt x="80728" y="178533"/>
                    </a:cubicBezTo>
                    <a:cubicBezTo>
                      <a:pt x="81278" y="178596"/>
                      <a:pt x="81697" y="179040"/>
                      <a:pt x="81731" y="179595"/>
                    </a:cubicBezTo>
                    <a:lnTo>
                      <a:pt x="83787" y="234111"/>
                    </a:lnTo>
                    <a:cubicBezTo>
                      <a:pt x="115197" y="246908"/>
                      <a:pt x="149549" y="253971"/>
                      <a:pt x="185564" y="253971"/>
                    </a:cubicBezTo>
                    <a:lnTo>
                      <a:pt x="185564" y="141132"/>
                    </a:lnTo>
                    <a:lnTo>
                      <a:pt x="133236" y="87"/>
                    </a:lnTo>
                    <a:lnTo>
                      <a:pt x="133230" y="92"/>
                    </a:lnTo>
                    <a:close/>
                  </a:path>
                </a:pathLst>
              </a:custGeom>
              <a:solidFill>
                <a:srgbClr val="FFFFFF"/>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68" name="Freeform: Shape 767">
                <a:extLst>
                  <a:ext uri="{FF2B5EF4-FFF2-40B4-BE49-F238E27FC236}">
                    <a16:creationId xmlns:a16="http://schemas.microsoft.com/office/drawing/2014/main" id="{5C1F1262-5951-45D8-B742-26B87D3B61B6}"/>
                  </a:ext>
                </a:extLst>
              </p:cNvPr>
              <p:cNvSpPr/>
              <p:nvPr/>
            </p:nvSpPr>
            <p:spPr>
              <a:xfrm>
                <a:off x="667379" y="8177812"/>
                <a:ext cx="185625" cy="253125"/>
              </a:xfrm>
              <a:custGeom>
                <a:avLst/>
                <a:gdLst>
                  <a:gd name="connsiteX0" fmla="*/ 52380 w 185625"/>
                  <a:gd name="connsiteY0" fmla="*/ 87 h 253125"/>
                  <a:gd name="connsiteX1" fmla="*/ 185553 w 185625"/>
                  <a:gd name="connsiteY1" fmla="*/ 179850 h 253125"/>
                  <a:gd name="connsiteX2" fmla="*/ 120356 w 185625"/>
                  <a:gd name="connsiteY2" fmla="*/ 225427 h 253125"/>
                  <a:gd name="connsiteX3" fmla="*/ 106131 w 185625"/>
                  <a:gd name="connsiteY3" fmla="*/ 179012 h 253125"/>
                  <a:gd name="connsiteX4" fmla="*/ 104903 w 185625"/>
                  <a:gd name="connsiteY4" fmla="*/ 178213 h 253125"/>
                  <a:gd name="connsiteX5" fmla="*/ 103905 w 185625"/>
                  <a:gd name="connsiteY5" fmla="*/ 179275 h 253125"/>
                  <a:gd name="connsiteX6" fmla="*/ 101859 w 185625"/>
                  <a:gd name="connsiteY6" fmla="*/ 233791 h 253125"/>
                  <a:gd name="connsiteX7" fmla="*/ 87 w 185625"/>
                  <a:gd name="connsiteY7" fmla="*/ 253650 h 253125"/>
                  <a:gd name="connsiteX8" fmla="*/ 87 w 185625"/>
                  <a:gd name="connsiteY8" fmla="*/ 140810 h 253125"/>
                  <a:gd name="connsiteX9" fmla="*/ 52385 w 185625"/>
                  <a:gd name="connsiteY9" fmla="*/ 87 h 253125"/>
                  <a:gd name="connsiteX10" fmla="*/ 52380 w 185625"/>
                  <a:gd name="connsiteY10" fmla="*/ 87 h 25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5625" h="253125">
                    <a:moveTo>
                      <a:pt x="52380" y="87"/>
                    </a:moveTo>
                    <a:cubicBezTo>
                      <a:pt x="194219" y="45730"/>
                      <a:pt x="153515" y="23391"/>
                      <a:pt x="185553" y="179850"/>
                    </a:cubicBezTo>
                    <a:cubicBezTo>
                      <a:pt x="166287" y="198068"/>
                      <a:pt x="144332" y="213472"/>
                      <a:pt x="120356" y="225427"/>
                    </a:cubicBezTo>
                    <a:lnTo>
                      <a:pt x="106131" y="179012"/>
                    </a:lnTo>
                    <a:cubicBezTo>
                      <a:pt x="105970" y="178482"/>
                      <a:pt x="105458" y="178145"/>
                      <a:pt x="104903" y="178213"/>
                    </a:cubicBezTo>
                    <a:cubicBezTo>
                      <a:pt x="104353" y="178281"/>
                      <a:pt x="103934" y="178724"/>
                      <a:pt x="103905" y="179275"/>
                    </a:cubicBezTo>
                    <a:lnTo>
                      <a:pt x="101859" y="233791"/>
                    </a:lnTo>
                    <a:cubicBezTo>
                      <a:pt x="70448" y="246587"/>
                      <a:pt x="36090" y="253650"/>
                      <a:pt x="87" y="253650"/>
                    </a:cubicBezTo>
                    <a:lnTo>
                      <a:pt x="87" y="140810"/>
                    </a:lnTo>
                    <a:lnTo>
                      <a:pt x="52385" y="87"/>
                    </a:lnTo>
                    <a:lnTo>
                      <a:pt x="52380" y="87"/>
                    </a:lnTo>
                    <a:close/>
                  </a:path>
                </a:pathLst>
              </a:custGeom>
              <a:solidFill>
                <a:srgbClr val="EEF3F7"/>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69" name="Freeform: Shape 768">
                <a:extLst>
                  <a:ext uri="{FF2B5EF4-FFF2-40B4-BE49-F238E27FC236}">
                    <a16:creationId xmlns:a16="http://schemas.microsoft.com/office/drawing/2014/main" id="{9CFECC93-BDF3-4ED5-976B-57314EEC64A4}"/>
                  </a:ext>
                </a:extLst>
              </p:cNvPr>
              <p:cNvSpPr/>
              <p:nvPr/>
            </p:nvSpPr>
            <p:spPr>
              <a:xfrm>
                <a:off x="746641" y="8284369"/>
                <a:ext cx="37969" cy="37969"/>
              </a:xfrm>
              <a:custGeom>
                <a:avLst/>
                <a:gdLst>
                  <a:gd name="connsiteX0" fmla="*/ 16156 w 37968"/>
                  <a:gd name="connsiteY0" fmla="*/ 38530 h 37968"/>
                  <a:gd name="connsiteX1" fmla="*/ 373 w 37968"/>
                  <a:gd name="connsiteY1" fmla="*/ 16160 h 37968"/>
                  <a:gd name="connsiteX2" fmla="*/ 22743 w 37968"/>
                  <a:gd name="connsiteY2" fmla="*/ 371 h 37968"/>
                  <a:gd name="connsiteX3" fmla="*/ 38526 w 37968"/>
                  <a:gd name="connsiteY3" fmla="*/ 22745 h 37968"/>
                  <a:gd name="connsiteX4" fmla="*/ 16152 w 37968"/>
                  <a:gd name="connsiteY4" fmla="*/ 38529 h 37968"/>
                  <a:gd name="connsiteX5" fmla="*/ 16156 w 37968"/>
                  <a:gd name="connsiteY5" fmla="*/ 38529 h 37968"/>
                  <a:gd name="connsiteX6" fmla="*/ 16156 w 37968"/>
                  <a:gd name="connsiteY6" fmla="*/ 38530 h 37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68" h="37968">
                    <a:moveTo>
                      <a:pt x="16156" y="38530"/>
                    </a:moveTo>
                    <a:cubicBezTo>
                      <a:pt x="5619" y="36712"/>
                      <a:pt x="-1449" y="26692"/>
                      <a:pt x="373" y="16160"/>
                    </a:cubicBezTo>
                    <a:cubicBezTo>
                      <a:pt x="2190" y="5623"/>
                      <a:pt x="12210" y="-1445"/>
                      <a:pt x="22743" y="371"/>
                    </a:cubicBezTo>
                    <a:cubicBezTo>
                      <a:pt x="33280" y="2188"/>
                      <a:pt x="40347" y="12209"/>
                      <a:pt x="38526" y="22745"/>
                    </a:cubicBezTo>
                    <a:cubicBezTo>
                      <a:pt x="36709" y="33282"/>
                      <a:pt x="26688" y="40350"/>
                      <a:pt x="16152" y="38529"/>
                    </a:cubicBezTo>
                    <a:lnTo>
                      <a:pt x="16156" y="38529"/>
                    </a:lnTo>
                    <a:lnTo>
                      <a:pt x="16156" y="38530"/>
                    </a:lnTo>
                    <a:close/>
                  </a:path>
                </a:pathLst>
              </a:custGeom>
              <a:solidFill>
                <a:srgbClr val="FEFEFE"/>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70" name="Freeform: Shape 769">
                <a:extLst>
                  <a:ext uri="{FF2B5EF4-FFF2-40B4-BE49-F238E27FC236}">
                    <a16:creationId xmlns:a16="http://schemas.microsoft.com/office/drawing/2014/main" id="{F3E105A7-0F40-4167-8D3D-3EB70233710F}"/>
                  </a:ext>
                </a:extLst>
              </p:cNvPr>
              <p:cNvSpPr/>
              <p:nvPr/>
            </p:nvSpPr>
            <p:spPr>
              <a:xfrm>
                <a:off x="747766" y="8285497"/>
                <a:ext cx="35859" cy="35859"/>
              </a:xfrm>
              <a:custGeom>
                <a:avLst/>
                <a:gdLst>
                  <a:gd name="connsiteX0" fmla="*/ 15221 w 35859"/>
                  <a:gd name="connsiteY0" fmla="*/ 36291 h 35859"/>
                  <a:gd name="connsiteX1" fmla="*/ 354 w 35859"/>
                  <a:gd name="connsiteY1" fmla="*/ 15223 h 35859"/>
                  <a:gd name="connsiteX2" fmla="*/ 21423 w 35859"/>
                  <a:gd name="connsiteY2" fmla="*/ 356 h 35859"/>
                  <a:gd name="connsiteX3" fmla="*/ 36290 w 35859"/>
                  <a:gd name="connsiteY3" fmla="*/ 21429 h 35859"/>
                  <a:gd name="connsiteX4" fmla="*/ 15221 w 35859"/>
                  <a:gd name="connsiteY4" fmla="*/ 36291 h 358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59" h="35859">
                    <a:moveTo>
                      <a:pt x="15221" y="36291"/>
                    </a:moveTo>
                    <a:cubicBezTo>
                      <a:pt x="5298" y="34576"/>
                      <a:pt x="-1355" y="25146"/>
                      <a:pt x="354" y="15223"/>
                    </a:cubicBezTo>
                    <a:cubicBezTo>
                      <a:pt x="2069" y="5299"/>
                      <a:pt x="11499" y="-1359"/>
                      <a:pt x="21423" y="356"/>
                    </a:cubicBezTo>
                    <a:cubicBezTo>
                      <a:pt x="31346" y="2071"/>
                      <a:pt x="37999" y="11506"/>
                      <a:pt x="36290" y="21429"/>
                    </a:cubicBezTo>
                    <a:cubicBezTo>
                      <a:pt x="34575" y="31351"/>
                      <a:pt x="25145" y="38006"/>
                      <a:pt x="15221" y="36291"/>
                    </a:cubicBezTo>
                    <a:close/>
                  </a:path>
                </a:pathLst>
              </a:custGeom>
              <a:solidFill>
                <a:schemeClr val="accent5"/>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71" name="Freeform: Shape 770">
                <a:extLst>
                  <a:ext uri="{FF2B5EF4-FFF2-40B4-BE49-F238E27FC236}">
                    <a16:creationId xmlns:a16="http://schemas.microsoft.com/office/drawing/2014/main" id="{8B90140C-3B63-44D9-8079-A04121278441}"/>
                  </a:ext>
                </a:extLst>
              </p:cNvPr>
              <p:cNvSpPr/>
              <p:nvPr/>
            </p:nvSpPr>
            <p:spPr>
              <a:xfrm>
                <a:off x="755917" y="8293650"/>
                <a:ext cx="20039" cy="20039"/>
              </a:xfrm>
              <a:custGeom>
                <a:avLst/>
                <a:gdLst>
                  <a:gd name="connsiteX0" fmla="*/ 8459 w 20039"/>
                  <a:gd name="connsiteY0" fmla="*/ 20115 h 20039"/>
                  <a:gd name="connsiteX1" fmla="*/ 235 w 20039"/>
                  <a:gd name="connsiteY1" fmla="*/ 8459 h 20039"/>
                  <a:gd name="connsiteX2" fmla="*/ 11892 w 20039"/>
                  <a:gd name="connsiteY2" fmla="*/ 236 h 20039"/>
                  <a:gd name="connsiteX3" fmla="*/ 20115 w 20039"/>
                  <a:gd name="connsiteY3" fmla="*/ 11892 h 20039"/>
                  <a:gd name="connsiteX4" fmla="*/ 8459 w 20039"/>
                  <a:gd name="connsiteY4" fmla="*/ 20115 h 20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39" h="20039">
                    <a:moveTo>
                      <a:pt x="8459" y="20115"/>
                    </a:moveTo>
                    <a:cubicBezTo>
                      <a:pt x="2973" y="19170"/>
                      <a:pt x="-714" y="13943"/>
                      <a:pt x="235" y="8459"/>
                    </a:cubicBezTo>
                    <a:cubicBezTo>
                      <a:pt x="1180" y="2968"/>
                      <a:pt x="6403" y="-714"/>
                      <a:pt x="11892" y="236"/>
                    </a:cubicBezTo>
                    <a:cubicBezTo>
                      <a:pt x="17382" y="1185"/>
                      <a:pt x="21064" y="6403"/>
                      <a:pt x="20115" y="11892"/>
                    </a:cubicBezTo>
                    <a:cubicBezTo>
                      <a:pt x="19170" y="17383"/>
                      <a:pt x="13947" y="21065"/>
                      <a:pt x="8459" y="20115"/>
                    </a:cubicBezTo>
                    <a:close/>
                  </a:path>
                </a:pathLst>
              </a:custGeom>
              <a:solidFill>
                <a:srgbClr val="EBECEC"/>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72" name="Freeform: Shape 771">
                <a:extLst>
                  <a:ext uri="{FF2B5EF4-FFF2-40B4-BE49-F238E27FC236}">
                    <a16:creationId xmlns:a16="http://schemas.microsoft.com/office/drawing/2014/main" id="{86FC0B91-21A4-4F7A-88A6-03CBBE251932}"/>
                  </a:ext>
                </a:extLst>
              </p:cNvPr>
              <p:cNvSpPr/>
              <p:nvPr/>
            </p:nvSpPr>
            <p:spPr>
              <a:xfrm>
                <a:off x="765472" y="8281071"/>
                <a:ext cx="6328" cy="13711"/>
              </a:xfrm>
              <a:custGeom>
                <a:avLst/>
                <a:gdLst>
                  <a:gd name="connsiteX0" fmla="*/ 87 w 6328"/>
                  <a:gd name="connsiteY0" fmla="*/ 13891 h 13710"/>
                  <a:gd name="connsiteX1" fmla="*/ 4519 w 6328"/>
                  <a:gd name="connsiteY1" fmla="*/ 14657 h 13710"/>
                  <a:gd name="connsiteX2" fmla="*/ 6902 w 6328"/>
                  <a:gd name="connsiteY2" fmla="*/ 852 h 13710"/>
                  <a:gd name="connsiteX3" fmla="*/ 2469 w 6328"/>
                  <a:gd name="connsiteY3" fmla="*/ 87 h 13710"/>
                  <a:gd name="connsiteX4" fmla="*/ 87 w 6328"/>
                  <a:gd name="connsiteY4" fmla="*/ 13891 h 13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8" h="13710">
                    <a:moveTo>
                      <a:pt x="87" y="13891"/>
                    </a:moveTo>
                    <a:lnTo>
                      <a:pt x="4519" y="14657"/>
                    </a:lnTo>
                    <a:lnTo>
                      <a:pt x="6902" y="852"/>
                    </a:lnTo>
                    <a:lnTo>
                      <a:pt x="2469" y="87"/>
                    </a:lnTo>
                    <a:lnTo>
                      <a:pt x="87" y="13891"/>
                    </a:lnTo>
                    <a:close/>
                  </a:path>
                </a:pathLst>
              </a:custGeom>
              <a:solidFill>
                <a:srgbClr val="FEFEFE"/>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73" name="Freeform: Shape 772">
                <a:extLst>
                  <a:ext uri="{FF2B5EF4-FFF2-40B4-BE49-F238E27FC236}">
                    <a16:creationId xmlns:a16="http://schemas.microsoft.com/office/drawing/2014/main" id="{8F79FC42-50CF-4476-A6C8-BAC2D1B611F3}"/>
                  </a:ext>
                </a:extLst>
              </p:cNvPr>
              <p:cNvSpPr/>
              <p:nvPr/>
            </p:nvSpPr>
            <p:spPr>
              <a:xfrm>
                <a:off x="531824" y="8229808"/>
                <a:ext cx="103359" cy="108633"/>
              </a:xfrm>
              <a:custGeom>
                <a:avLst/>
                <a:gdLst>
                  <a:gd name="connsiteX0" fmla="*/ 85261 w 103359"/>
                  <a:gd name="connsiteY0" fmla="*/ 96924 h 108632"/>
                  <a:gd name="connsiteX1" fmla="*/ 93566 w 103359"/>
                  <a:gd name="connsiteY1" fmla="*/ 95278 h 108632"/>
                  <a:gd name="connsiteX2" fmla="*/ 101883 w 103359"/>
                  <a:gd name="connsiteY2" fmla="*/ 89709 h 108632"/>
                  <a:gd name="connsiteX3" fmla="*/ 103851 w 103359"/>
                  <a:gd name="connsiteY3" fmla="*/ 79899 h 108632"/>
                  <a:gd name="connsiteX4" fmla="*/ 94083 w 103359"/>
                  <a:gd name="connsiteY4" fmla="*/ 30678 h 108632"/>
                  <a:gd name="connsiteX5" fmla="*/ 59263 w 103359"/>
                  <a:gd name="connsiteY5" fmla="*/ 534 h 108632"/>
                  <a:gd name="connsiteX6" fmla="*/ 39768 w 103359"/>
                  <a:gd name="connsiteY6" fmla="*/ 1304 h 108632"/>
                  <a:gd name="connsiteX7" fmla="*/ 21462 w 103359"/>
                  <a:gd name="connsiteY7" fmla="*/ 8032 h 108632"/>
                  <a:gd name="connsiteX8" fmla="*/ 870 w 103359"/>
                  <a:gd name="connsiteY8" fmla="*/ 49181 h 108632"/>
                  <a:gd name="connsiteX9" fmla="*/ 10637 w 103359"/>
                  <a:gd name="connsiteY9" fmla="*/ 98401 h 108632"/>
                  <a:gd name="connsiteX10" fmla="*/ 16206 w 103359"/>
                  <a:gd name="connsiteY10" fmla="*/ 106717 h 108632"/>
                  <a:gd name="connsiteX11" fmla="*/ 16211 w 103359"/>
                  <a:gd name="connsiteY11" fmla="*/ 106712 h 108632"/>
                  <a:gd name="connsiteX12" fmla="*/ 26018 w 103359"/>
                  <a:gd name="connsiteY12" fmla="*/ 108684 h 108632"/>
                  <a:gd name="connsiteX13" fmla="*/ 34319 w 103359"/>
                  <a:gd name="connsiteY13" fmla="*/ 107038 h 108632"/>
                  <a:gd name="connsiteX14" fmla="*/ 33642 w 103359"/>
                  <a:gd name="connsiteY14" fmla="*/ 103613 h 108632"/>
                  <a:gd name="connsiteX15" fmla="*/ 25336 w 103359"/>
                  <a:gd name="connsiteY15" fmla="*/ 105260 h 108632"/>
                  <a:gd name="connsiteX16" fmla="*/ 18141 w 103359"/>
                  <a:gd name="connsiteY16" fmla="*/ 103818 h 108632"/>
                  <a:gd name="connsiteX17" fmla="*/ 18141 w 103359"/>
                  <a:gd name="connsiteY17" fmla="*/ 103818 h 108632"/>
                  <a:gd name="connsiteX18" fmla="*/ 14055 w 103359"/>
                  <a:gd name="connsiteY18" fmla="*/ 97719 h 108632"/>
                  <a:gd name="connsiteX19" fmla="*/ 4287 w 103359"/>
                  <a:gd name="connsiteY19" fmla="*/ 48498 h 108632"/>
                  <a:gd name="connsiteX20" fmla="*/ 23168 w 103359"/>
                  <a:gd name="connsiteY20" fmla="*/ 11052 h 108632"/>
                  <a:gd name="connsiteX21" fmla="*/ 40438 w 103359"/>
                  <a:gd name="connsiteY21" fmla="*/ 4705 h 108632"/>
                  <a:gd name="connsiteX22" fmla="*/ 58827 w 103359"/>
                  <a:gd name="connsiteY22" fmla="*/ 3978 h 108632"/>
                  <a:gd name="connsiteX23" fmla="*/ 90656 w 103359"/>
                  <a:gd name="connsiteY23" fmla="*/ 31355 h 108632"/>
                  <a:gd name="connsiteX24" fmla="*/ 100428 w 103359"/>
                  <a:gd name="connsiteY24" fmla="*/ 80575 h 108632"/>
                  <a:gd name="connsiteX25" fmla="*/ 98982 w 103359"/>
                  <a:gd name="connsiteY25" fmla="*/ 87770 h 108632"/>
                  <a:gd name="connsiteX26" fmla="*/ 92883 w 103359"/>
                  <a:gd name="connsiteY26" fmla="*/ 91851 h 108632"/>
                  <a:gd name="connsiteX27" fmla="*/ 84577 w 103359"/>
                  <a:gd name="connsiteY27" fmla="*/ 93498 h 108632"/>
                  <a:gd name="connsiteX28" fmla="*/ 85254 w 103359"/>
                  <a:gd name="connsiteY28" fmla="*/ 96922 h 108632"/>
                  <a:gd name="connsiteX29" fmla="*/ 85261 w 103359"/>
                  <a:gd name="connsiteY29" fmla="*/ 96922 h 108632"/>
                  <a:gd name="connsiteX30" fmla="*/ 85261 w 103359"/>
                  <a:gd name="connsiteY30" fmla="*/ 96924 h 10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3359" h="108632">
                    <a:moveTo>
                      <a:pt x="85261" y="96924"/>
                    </a:moveTo>
                    <a:lnTo>
                      <a:pt x="93566" y="95278"/>
                    </a:lnTo>
                    <a:cubicBezTo>
                      <a:pt x="97097" y="94577"/>
                      <a:pt x="100021" y="92497"/>
                      <a:pt x="101883" y="89709"/>
                    </a:cubicBezTo>
                    <a:cubicBezTo>
                      <a:pt x="103744" y="86922"/>
                      <a:pt x="104552" y="83426"/>
                      <a:pt x="103851" y="79899"/>
                    </a:cubicBezTo>
                    <a:lnTo>
                      <a:pt x="94083" y="30678"/>
                    </a:lnTo>
                    <a:cubicBezTo>
                      <a:pt x="90396" y="12103"/>
                      <a:pt x="75864" y="2634"/>
                      <a:pt x="59263" y="534"/>
                    </a:cubicBezTo>
                    <a:cubicBezTo>
                      <a:pt x="52901" y="-270"/>
                      <a:pt x="46232" y="23"/>
                      <a:pt x="39768" y="1304"/>
                    </a:cubicBezTo>
                    <a:cubicBezTo>
                      <a:pt x="33304" y="2581"/>
                      <a:pt x="27035" y="4860"/>
                      <a:pt x="21462" y="8032"/>
                    </a:cubicBezTo>
                    <a:cubicBezTo>
                      <a:pt x="6954" y="16295"/>
                      <a:pt x="-2823" y="30576"/>
                      <a:pt x="870" y="49181"/>
                    </a:cubicBezTo>
                    <a:lnTo>
                      <a:pt x="10637" y="98401"/>
                    </a:lnTo>
                    <a:cubicBezTo>
                      <a:pt x="11339" y="101932"/>
                      <a:pt x="13419" y="104850"/>
                      <a:pt x="16206" y="106717"/>
                    </a:cubicBezTo>
                    <a:lnTo>
                      <a:pt x="16211" y="106712"/>
                    </a:lnTo>
                    <a:cubicBezTo>
                      <a:pt x="18998" y="108578"/>
                      <a:pt x="22490" y="109381"/>
                      <a:pt x="26018" y="108684"/>
                    </a:cubicBezTo>
                    <a:lnTo>
                      <a:pt x="34319" y="107038"/>
                    </a:lnTo>
                    <a:lnTo>
                      <a:pt x="33642" y="103613"/>
                    </a:lnTo>
                    <a:lnTo>
                      <a:pt x="25336" y="105260"/>
                    </a:lnTo>
                    <a:cubicBezTo>
                      <a:pt x="22750" y="105771"/>
                      <a:pt x="20183" y="105182"/>
                      <a:pt x="18141" y="103818"/>
                    </a:cubicBezTo>
                    <a:lnTo>
                      <a:pt x="18141" y="103818"/>
                    </a:lnTo>
                    <a:cubicBezTo>
                      <a:pt x="16095" y="102450"/>
                      <a:pt x="14571" y="100305"/>
                      <a:pt x="14055" y="97719"/>
                    </a:cubicBezTo>
                    <a:lnTo>
                      <a:pt x="4287" y="48498"/>
                    </a:lnTo>
                    <a:cubicBezTo>
                      <a:pt x="935" y="31619"/>
                      <a:pt x="9895" y="18608"/>
                      <a:pt x="23168" y="11052"/>
                    </a:cubicBezTo>
                    <a:cubicBezTo>
                      <a:pt x="28414" y="8062"/>
                      <a:pt x="34328" y="5918"/>
                      <a:pt x="40438" y="4705"/>
                    </a:cubicBezTo>
                    <a:cubicBezTo>
                      <a:pt x="46542" y="3496"/>
                      <a:pt x="52830" y="3224"/>
                      <a:pt x="58827" y="3978"/>
                    </a:cubicBezTo>
                    <a:cubicBezTo>
                      <a:pt x="74021" y="5896"/>
                      <a:pt x="87314" y="14506"/>
                      <a:pt x="90656" y="31355"/>
                    </a:cubicBezTo>
                    <a:lnTo>
                      <a:pt x="100428" y="80575"/>
                    </a:lnTo>
                    <a:cubicBezTo>
                      <a:pt x="100940" y="83161"/>
                      <a:pt x="100345" y="85724"/>
                      <a:pt x="98982" y="87770"/>
                    </a:cubicBezTo>
                    <a:cubicBezTo>
                      <a:pt x="97614" y="89811"/>
                      <a:pt x="95469" y="91340"/>
                      <a:pt x="92883" y="91851"/>
                    </a:cubicBezTo>
                    <a:lnTo>
                      <a:pt x="84577" y="93498"/>
                    </a:lnTo>
                    <a:lnTo>
                      <a:pt x="85254" y="96922"/>
                    </a:lnTo>
                    <a:lnTo>
                      <a:pt x="85261" y="96922"/>
                    </a:lnTo>
                    <a:lnTo>
                      <a:pt x="85261" y="96924"/>
                    </a:lnTo>
                    <a:close/>
                  </a:path>
                </a:pathLst>
              </a:custGeom>
              <a:solidFill>
                <a:schemeClr val="accent5"/>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74" name="Freeform: Shape 773">
                <a:extLst>
                  <a:ext uri="{FF2B5EF4-FFF2-40B4-BE49-F238E27FC236}">
                    <a16:creationId xmlns:a16="http://schemas.microsoft.com/office/drawing/2014/main" id="{A25F59BE-10EC-4614-BC2C-6452720EA784}"/>
                  </a:ext>
                </a:extLst>
              </p:cNvPr>
              <p:cNvSpPr/>
              <p:nvPr/>
            </p:nvSpPr>
            <p:spPr>
              <a:xfrm>
                <a:off x="530664" y="8228641"/>
                <a:ext cx="97031" cy="58008"/>
              </a:xfrm>
              <a:custGeom>
                <a:avLst/>
                <a:gdLst>
                  <a:gd name="connsiteX0" fmla="*/ 97879 w 97031"/>
                  <a:gd name="connsiteY0" fmla="*/ 39134 h 58007"/>
                  <a:gd name="connsiteX1" fmla="*/ 96383 w 97031"/>
                  <a:gd name="connsiteY1" fmla="*/ 31613 h 58007"/>
                  <a:gd name="connsiteX2" fmla="*/ 60564 w 97031"/>
                  <a:gd name="connsiteY2" fmla="*/ 544 h 58007"/>
                  <a:gd name="connsiteX3" fmla="*/ 40703 w 97031"/>
                  <a:gd name="connsiteY3" fmla="*/ 1323 h 58007"/>
                  <a:gd name="connsiteX4" fmla="*/ 22056 w 97031"/>
                  <a:gd name="connsiteY4" fmla="*/ 8177 h 58007"/>
                  <a:gd name="connsiteX5" fmla="*/ 895 w 97031"/>
                  <a:gd name="connsiteY5" fmla="*/ 50562 h 58007"/>
                  <a:gd name="connsiteX6" fmla="*/ 2391 w 97031"/>
                  <a:gd name="connsiteY6" fmla="*/ 58083 h 58007"/>
                  <a:gd name="connsiteX7" fmla="*/ 8090 w 97031"/>
                  <a:gd name="connsiteY7" fmla="*/ 56949 h 58007"/>
                  <a:gd name="connsiteX8" fmla="*/ 6595 w 97031"/>
                  <a:gd name="connsiteY8" fmla="*/ 49432 h 58007"/>
                  <a:gd name="connsiteX9" fmla="*/ 24906 w 97031"/>
                  <a:gd name="connsiteY9" fmla="*/ 13218 h 58007"/>
                  <a:gd name="connsiteX10" fmla="*/ 41830 w 97031"/>
                  <a:gd name="connsiteY10" fmla="*/ 7003 h 58007"/>
                  <a:gd name="connsiteX11" fmla="*/ 59854 w 97031"/>
                  <a:gd name="connsiteY11" fmla="*/ 6291 h 58007"/>
                  <a:gd name="connsiteX12" fmla="*/ 90685 w 97031"/>
                  <a:gd name="connsiteY12" fmla="*/ 32742 h 58007"/>
                  <a:gd name="connsiteX13" fmla="*/ 92175 w 97031"/>
                  <a:gd name="connsiteY13" fmla="*/ 40263 h 58007"/>
                  <a:gd name="connsiteX14" fmla="*/ 97879 w 97031"/>
                  <a:gd name="connsiteY14" fmla="*/ 39134 h 5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7031" h="58007">
                    <a:moveTo>
                      <a:pt x="97879" y="39134"/>
                    </a:moveTo>
                    <a:lnTo>
                      <a:pt x="96383" y="31613"/>
                    </a:lnTo>
                    <a:cubicBezTo>
                      <a:pt x="92583" y="12463"/>
                      <a:pt x="77634" y="2702"/>
                      <a:pt x="60564" y="544"/>
                    </a:cubicBezTo>
                    <a:cubicBezTo>
                      <a:pt x="54080" y="-275"/>
                      <a:pt x="47286" y="18"/>
                      <a:pt x="40703" y="1323"/>
                    </a:cubicBezTo>
                    <a:cubicBezTo>
                      <a:pt x="34117" y="2625"/>
                      <a:pt x="27731" y="4947"/>
                      <a:pt x="22056" y="8177"/>
                    </a:cubicBezTo>
                    <a:cubicBezTo>
                      <a:pt x="7136" y="16672"/>
                      <a:pt x="-2909" y="31384"/>
                      <a:pt x="895" y="50562"/>
                    </a:cubicBezTo>
                    <a:lnTo>
                      <a:pt x="2391" y="58083"/>
                    </a:lnTo>
                    <a:lnTo>
                      <a:pt x="8090" y="56949"/>
                    </a:lnTo>
                    <a:lnTo>
                      <a:pt x="6595" y="49432"/>
                    </a:lnTo>
                    <a:cubicBezTo>
                      <a:pt x="3360" y="33127"/>
                      <a:pt x="12045" y="20541"/>
                      <a:pt x="24906" y="13218"/>
                    </a:cubicBezTo>
                    <a:cubicBezTo>
                      <a:pt x="30045" y="10290"/>
                      <a:pt x="35842" y="8190"/>
                      <a:pt x="41830" y="7003"/>
                    </a:cubicBezTo>
                    <a:cubicBezTo>
                      <a:pt x="47817" y="5814"/>
                      <a:pt x="53980" y="5546"/>
                      <a:pt x="59854" y="6291"/>
                    </a:cubicBezTo>
                    <a:cubicBezTo>
                      <a:pt x="74581" y="8152"/>
                      <a:pt x="87450" y="16472"/>
                      <a:pt x="90685" y="32742"/>
                    </a:cubicBezTo>
                    <a:lnTo>
                      <a:pt x="92175" y="40263"/>
                    </a:lnTo>
                    <a:lnTo>
                      <a:pt x="97879" y="39134"/>
                    </a:lnTo>
                    <a:close/>
                  </a:path>
                </a:pathLst>
              </a:custGeom>
              <a:solidFill>
                <a:schemeClr val="accent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75" name="Freeform: Shape 774">
                <a:extLst>
                  <a:ext uri="{FF2B5EF4-FFF2-40B4-BE49-F238E27FC236}">
                    <a16:creationId xmlns:a16="http://schemas.microsoft.com/office/drawing/2014/main" id="{8F32652C-F76B-4A68-80B3-CD65E9F0E1F0}"/>
                  </a:ext>
                </a:extLst>
              </p:cNvPr>
              <p:cNvSpPr/>
              <p:nvPr/>
            </p:nvSpPr>
            <p:spPr>
              <a:xfrm>
                <a:off x="557819" y="8329101"/>
                <a:ext cx="14766" cy="10547"/>
              </a:xfrm>
              <a:custGeom>
                <a:avLst/>
                <a:gdLst>
                  <a:gd name="connsiteX0" fmla="*/ 1751 w 14765"/>
                  <a:gd name="connsiteY0" fmla="*/ 9796 h 10546"/>
                  <a:gd name="connsiteX1" fmla="*/ 6194 w 14765"/>
                  <a:gd name="connsiteY1" fmla="*/ 8914 h 10546"/>
                  <a:gd name="connsiteX2" fmla="*/ 10797 w 14765"/>
                  <a:gd name="connsiteY2" fmla="*/ 10458 h 10546"/>
                  <a:gd name="connsiteX3" fmla="*/ 14636 w 14765"/>
                  <a:gd name="connsiteY3" fmla="*/ 4720 h 10546"/>
                  <a:gd name="connsiteX4" fmla="*/ 8897 w 14765"/>
                  <a:gd name="connsiteY4" fmla="*/ 886 h 10546"/>
                  <a:gd name="connsiteX5" fmla="*/ 5234 w 14765"/>
                  <a:gd name="connsiteY5" fmla="*/ 4072 h 10546"/>
                  <a:gd name="connsiteX6" fmla="*/ 791 w 14765"/>
                  <a:gd name="connsiteY6" fmla="*/ 4954 h 10546"/>
                  <a:gd name="connsiteX7" fmla="*/ 1751 w 14765"/>
                  <a:gd name="connsiteY7" fmla="*/ 9796 h 1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65" h="10546">
                    <a:moveTo>
                      <a:pt x="1751" y="9796"/>
                    </a:moveTo>
                    <a:lnTo>
                      <a:pt x="6194" y="8914"/>
                    </a:lnTo>
                    <a:cubicBezTo>
                      <a:pt x="7310" y="10166"/>
                      <a:pt x="9034" y="10808"/>
                      <a:pt x="10797" y="10458"/>
                    </a:cubicBezTo>
                    <a:cubicBezTo>
                      <a:pt x="13442" y="9932"/>
                      <a:pt x="15161" y="7365"/>
                      <a:pt x="14636" y="4720"/>
                    </a:cubicBezTo>
                    <a:cubicBezTo>
                      <a:pt x="14115" y="2080"/>
                      <a:pt x="11543" y="359"/>
                      <a:pt x="8897" y="886"/>
                    </a:cubicBezTo>
                    <a:cubicBezTo>
                      <a:pt x="7134" y="1236"/>
                      <a:pt x="5785" y="2489"/>
                      <a:pt x="5234" y="4072"/>
                    </a:cubicBezTo>
                    <a:lnTo>
                      <a:pt x="791" y="4954"/>
                    </a:lnTo>
                    <a:lnTo>
                      <a:pt x="1751" y="9796"/>
                    </a:lnTo>
                    <a:close/>
                  </a:path>
                </a:pathLst>
              </a:custGeom>
              <a:solidFill>
                <a:schemeClr val="accent5"/>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76" name="Freeform: Shape 775">
                <a:extLst>
                  <a:ext uri="{FF2B5EF4-FFF2-40B4-BE49-F238E27FC236}">
                    <a16:creationId xmlns:a16="http://schemas.microsoft.com/office/drawing/2014/main" id="{0297D0F7-DF03-4C79-803B-83CCEA464706}"/>
                  </a:ext>
                </a:extLst>
              </p:cNvPr>
              <p:cNvSpPr/>
              <p:nvPr/>
            </p:nvSpPr>
            <p:spPr>
              <a:xfrm>
                <a:off x="605893" y="8320391"/>
                <a:ext cx="14766" cy="10547"/>
              </a:xfrm>
              <a:custGeom>
                <a:avLst/>
                <a:gdLst>
                  <a:gd name="connsiteX0" fmla="*/ 14724 w 14765"/>
                  <a:gd name="connsiteY0" fmla="*/ 6390 h 10546"/>
                  <a:gd name="connsiteX1" fmla="*/ 10286 w 14765"/>
                  <a:gd name="connsiteY1" fmla="*/ 7272 h 10546"/>
                  <a:gd name="connsiteX2" fmla="*/ 6623 w 14765"/>
                  <a:gd name="connsiteY2" fmla="*/ 10458 h 10546"/>
                  <a:gd name="connsiteX3" fmla="*/ 884 w 14765"/>
                  <a:gd name="connsiteY3" fmla="*/ 6619 h 10546"/>
                  <a:gd name="connsiteX4" fmla="*/ 4718 w 14765"/>
                  <a:gd name="connsiteY4" fmla="*/ 886 h 10546"/>
                  <a:gd name="connsiteX5" fmla="*/ 9316 w 14765"/>
                  <a:gd name="connsiteY5" fmla="*/ 2430 h 10546"/>
                  <a:gd name="connsiteX6" fmla="*/ 13760 w 14765"/>
                  <a:gd name="connsiteY6" fmla="*/ 1548 h 10546"/>
                  <a:gd name="connsiteX7" fmla="*/ 14720 w 14765"/>
                  <a:gd name="connsiteY7" fmla="*/ 6390 h 10546"/>
                  <a:gd name="connsiteX8" fmla="*/ 14724 w 14765"/>
                  <a:gd name="connsiteY8" fmla="*/ 6390 h 10546"/>
                  <a:gd name="connsiteX9" fmla="*/ 14724 w 14765"/>
                  <a:gd name="connsiteY9" fmla="*/ 6390 h 1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65" h="10546">
                    <a:moveTo>
                      <a:pt x="14724" y="6390"/>
                    </a:moveTo>
                    <a:lnTo>
                      <a:pt x="10286" y="7272"/>
                    </a:lnTo>
                    <a:cubicBezTo>
                      <a:pt x="9735" y="8849"/>
                      <a:pt x="8386" y="10107"/>
                      <a:pt x="6623" y="10458"/>
                    </a:cubicBezTo>
                    <a:cubicBezTo>
                      <a:pt x="3978" y="10979"/>
                      <a:pt x="1411" y="9264"/>
                      <a:pt x="884" y="6619"/>
                    </a:cubicBezTo>
                    <a:cubicBezTo>
                      <a:pt x="363" y="3979"/>
                      <a:pt x="2078" y="1407"/>
                      <a:pt x="4718" y="886"/>
                    </a:cubicBezTo>
                    <a:cubicBezTo>
                      <a:pt x="6477" y="535"/>
                      <a:pt x="8207" y="1182"/>
                      <a:pt x="9316" y="2430"/>
                    </a:cubicBezTo>
                    <a:lnTo>
                      <a:pt x="13760" y="1548"/>
                    </a:lnTo>
                    <a:lnTo>
                      <a:pt x="14720" y="6390"/>
                    </a:lnTo>
                    <a:lnTo>
                      <a:pt x="14724" y="6390"/>
                    </a:lnTo>
                    <a:lnTo>
                      <a:pt x="14724" y="6390"/>
                    </a:lnTo>
                    <a:close/>
                  </a:path>
                </a:pathLst>
              </a:custGeom>
              <a:solidFill>
                <a:schemeClr val="accent5"/>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77" name="Freeform: Shape 776">
                <a:extLst>
                  <a:ext uri="{FF2B5EF4-FFF2-40B4-BE49-F238E27FC236}">
                    <a16:creationId xmlns:a16="http://schemas.microsoft.com/office/drawing/2014/main" id="{3CC29250-2EEF-44CD-AB2C-BB0ADC2BC122}"/>
                  </a:ext>
                </a:extLst>
              </p:cNvPr>
              <p:cNvSpPr/>
              <p:nvPr/>
            </p:nvSpPr>
            <p:spPr>
              <a:xfrm>
                <a:off x="565557" y="8220899"/>
                <a:ext cx="8438" cy="9492"/>
              </a:xfrm>
              <a:custGeom>
                <a:avLst/>
                <a:gdLst>
                  <a:gd name="connsiteX0" fmla="*/ 8519 w 8437"/>
                  <a:gd name="connsiteY0" fmla="*/ 8626 h 9492"/>
                  <a:gd name="connsiteX1" fmla="*/ 6824 w 8437"/>
                  <a:gd name="connsiteY1" fmla="*/ 87 h 9492"/>
                  <a:gd name="connsiteX2" fmla="*/ 3453 w 8437"/>
                  <a:gd name="connsiteY2" fmla="*/ 759 h 9492"/>
                  <a:gd name="connsiteX3" fmla="*/ 87 w 8437"/>
                  <a:gd name="connsiteY3" fmla="*/ 1427 h 9492"/>
                  <a:gd name="connsiteX4" fmla="*/ 1801 w 8437"/>
                  <a:gd name="connsiteY4" fmla="*/ 10049 h 9492"/>
                  <a:gd name="connsiteX5" fmla="*/ 5699 w 8437"/>
                  <a:gd name="connsiteY5" fmla="*/ 9100 h 9492"/>
                  <a:gd name="connsiteX6" fmla="*/ 8519 w 8437"/>
                  <a:gd name="connsiteY6" fmla="*/ 8633 h 9492"/>
                  <a:gd name="connsiteX7" fmla="*/ 8519 w 8437"/>
                  <a:gd name="connsiteY7" fmla="*/ 8626 h 9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37" h="9492">
                    <a:moveTo>
                      <a:pt x="8519" y="8626"/>
                    </a:moveTo>
                    <a:lnTo>
                      <a:pt x="6824" y="87"/>
                    </a:lnTo>
                    <a:lnTo>
                      <a:pt x="3453" y="759"/>
                    </a:lnTo>
                    <a:lnTo>
                      <a:pt x="87" y="1427"/>
                    </a:lnTo>
                    <a:lnTo>
                      <a:pt x="1801" y="10049"/>
                    </a:lnTo>
                    <a:cubicBezTo>
                      <a:pt x="3083" y="9675"/>
                      <a:pt x="4383" y="9357"/>
                      <a:pt x="5699" y="9100"/>
                    </a:cubicBezTo>
                    <a:cubicBezTo>
                      <a:pt x="6634" y="8914"/>
                      <a:pt x="7575" y="8759"/>
                      <a:pt x="8519" y="8633"/>
                    </a:cubicBezTo>
                    <a:lnTo>
                      <a:pt x="8519" y="8626"/>
                    </a:lnTo>
                    <a:close/>
                  </a:path>
                </a:pathLst>
              </a:custGeom>
              <a:solidFill>
                <a:schemeClr val="accent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78" name="Freeform: Shape 777">
                <a:extLst>
                  <a:ext uri="{FF2B5EF4-FFF2-40B4-BE49-F238E27FC236}">
                    <a16:creationId xmlns:a16="http://schemas.microsoft.com/office/drawing/2014/main" id="{684CD234-CE93-460B-B174-C33E91B63478}"/>
                  </a:ext>
                </a:extLst>
              </p:cNvPr>
              <p:cNvSpPr/>
              <p:nvPr/>
            </p:nvSpPr>
            <p:spPr>
              <a:xfrm>
                <a:off x="564248" y="8330430"/>
                <a:ext cx="4219" cy="4219"/>
              </a:xfrm>
              <a:custGeom>
                <a:avLst/>
                <a:gdLst>
                  <a:gd name="connsiteX0" fmla="*/ 2554 w 4218"/>
                  <a:gd name="connsiteY0" fmla="*/ 3717 h 4218"/>
                  <a:gd name="connsiteX1" fmla="*/ 3713 w 4218"/>
                  <a:gd name="connsiteY1" fmla="*/ 1983 h 4218"/>
                  <a:gd name="connsiteX2" fmla="*/ 1979 w 4218"/>
                  <a:gd name="connsiteY2" fmla="*/ 819 h 4218"/>
                  <a:gd name="connsiteX3" fmla="*/ 820 w 4218"/>
                  <a:gd name="connsiteY3" fmla="*/ 2553 h 4218"/>
                  <a:gd name="connsiteX4" fmla="*/ 2555 w 4218"/>
                  <a:gd name="connsiteY4" fmla="*/ 3712 h 4218"/>
                  <a:gd name="connsiteX5" fmla="*/ 2554 w 4218"/>
                  <a:gd name="connsiteY5" fmla="*/ 3717 h 4218"/>
                  <a:gd name="connsiteX6" fmla="*/ 2554 w 4218"/>
                  <a:gd name="connsiteY6" fmla="*/ 3717 h 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 h="4218">
                    <a:moveTo>
                      <a:pt x="2554" y="3717"/>
                    </a:moveTo>
                    <a:cubicBezTo>
                      <a:pt x="3354" y="3556"/>
                      <a:pt x="3875" y="2777"/>
                      <a:pt x="3713" y="1983"/>
                    </a:cubicBezTo>
                    <a:cubicBezTo>
                      <a:pt x="3557" y="1184"/>
                      <a:pt x="2778" y="663"/>
                      <a:pt x="1979" y="819"/>
                    </a:cubicBezTo>
                    <a:cubicBezTo>
                      <a:pt x="1180" y="980"/>
                      <a:pt x="659" y="1754"/>
                      <a:pt x="820" y="2553"/>
                    </a:cubicBezTo>
                    <a:cubicBezTo>
                      <a:pt x="982" y="3352"/>
                      <a:pt x="1756" y="3873"/>
                      <a:pt x="2555" y="3712"/>
                    </a:cubicBezTo>
                    <a:lnTo>
                      <a:pt x="2554" y="3717"/>
                    </a:lnTo>
                    <a:lnTo>
                      <a:pt x="2554" y="3717"/>
                    </a:lnTo>
                    <a:close/>
                  </a:path>
                </a:pathLst>
              </a:custGeom>
              <a:solidFill>
                <a:schemeClr val="accent5"/>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79" name="Freeform: Shape 778">
                <a:extLst>
                  <a:ext uri="{FF2B5EF4-FFF2-40B4-BE49-F238E27FC236}">
                    <a16:creationId xmlns:a16="http://schemas.microsoft.com/office/drawing/2014/main" id="{25757CC2-A5E0-4160-BA36-253DE580AA88}"/>
                  </a:ext>
                </a:extLst>
              </p:cNvPr>
              <p:cNvSpPr/>
              <p:nvPr/>
            </p:nvSpPr>
            <p:spPr>
              <a:xfrm>
                <a:off x="608184" y="8321695"/>
                <a:ext cx="4219" cy="4219"/>
              </a:xfrm>
              <a:custGeom>
                <a:avLst/>
                <a:gdLst>
                  <a:gd name="connsiteX0" fmla="*/ 2554 w 4218"/>
                  <a:gd name="connsiteY0" fmla="*/ 3717 h 4218"/>
                  <a:gd name="connsiteX1" fmla="*/ 3713 w 4218"/>
                  <a:gd name="connsiteY1" fmla="*/ 1983 h 4218"/>
                  <a:gd name="connsiteX2" fmla="*/ 1979 w 4218"/>
                  <a:gd name="connsiteY2" fmla="*/ 819 h 4218"/>
                  <a:gd name="connsiteX3" fmla="*/ 820 w 4218"/>
                  <a:gd name="connsiteY3" fmla="*/ 2558 h 4218"/>
                  <a:gd name="connsiteX4" fmla="*/ 2560 w 4218"/>
                  <a:gd name="connsiteY4" fmla="*/ 3717 h 4218"/>
                  <a:gd name="connsiteX5" fmla="*/ 2554 w 4218"/>
                  <a:gd name="connsiteY5" fmla="*/ 3717 h 4218"/>
                  <a:gd name="connsiteX6" fmla="*/ 2554 w 4218"/>
                  <a:gd name="connsiteY6" fmla="*/ 3717 h 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 h="4218">
                    <a:moveTo>
                      <a:pt x="2554" y="3717"/>
                    </a:moveTo>
                    <a:cubicBezTo>
                      <a:pt x="3354" y="3561"/>
                      <a:pt x="3869" y="2782"/>
                      <a:pt x="3713" y="1983"/>
                    </a:cubicBezTo>
                    <a:cubicBezTo>
                      <a:pt x="3552" y="1178"/>
                      <a:pt x="2778" y="663"/>
                      <a:pt x="1979" y="819"/>
                    </a:cubicBezTo>
                    <a:cubicBezTo>
                      <a:pt x="1180" y="980"/>
                      <a:pt x="659" y="1754"/>
                      <a:pt x="820" y="2558"/>
                    </a:cubicBezTo>
                    <a:cubicBezTo>
                      <a:pt x="976" y="3357"/>
                      <a:pt x="1756" y="3873"/>
                      <a:pt x="2560" y="3717"/>
                    </a:cubicBezTo>
                    <a:lnTo>
                      <a:pt x="2554" y="3717"/>
                    </a:lnTo>
                    <a:lnTo>
                      <a:pt x="2554" y="3717"/>
                    </a:lnTo>
                    <a:close/>
                  </a:path>
                </a:pathLst>
              </a:custGeom>
              <a:solidFill>
                <a:schemeClr val="accent5"/>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80" name="Freeform: Shape 779">
                <a:extLst>
                  <a:ext uri="{FF2B5EF4-FFF2-40B4-BE49-F238E27FC236}">
                    <a16:creationId xmlns:a16="http://schemas.microsoft.com/office/drawing/2014/main" id="{6CA38BF9-4B0D-4562-8BC6-148D1548729B}"/>
                  </a:ext>
                </a:extLst>
              </p:cNvPr>
              <p:cNvSpPr/>
              <p:nvPr/>
            </p:nvSpPr>
            <p:spPr>
              <a:xfrm>
                <a:off x="755828" y="8294646"/>
                <a:ext cx="18984" cy="18984"/>
              </a:xfrm>
              <a:custGeom>
                <a:avLst/>
                <a:gdLst>
                  <a:gd name="connsiteX0" fmla="*/ 8007 w 18984"/>
                  <a:gd name="connsiteY0" fmla="*/ 19027 h 18984"/>
                  <a:gd name="connsiteX1" fmla="*/ 227 w 18984"/>
                  <a:gd name="connsiteY1" fmla="*/ 8002 h 18984"/>
                  <a:gd name="connsiteX2" fmla="*/ 11251 w 18984"/>
                  <a:gd name="connsiteY2" fmla="*/ 227 h 18984"/>
                  <a:gd name="connsiteX3" fmla="*/ 19032 w 18984"/>
                  <a:gd name="connsiteY3" fmla="*/ 11252 h 18984"/>
                  <a:gd name="connsiteX4" fmla="*/ 8007 w 18984"/>
                  <a:gd name="connsiteY4" fmla="*/ 19032 h 18984"/>
                  <a:gd name="connsiteX5" fmla="*/ 8007 w 18984"/>
                  <a:gd name="connsiteY5" fmla="*/ 19027 h 1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84" h="18984">
                    <a:moveTo>
                      <a:pt x="8007" y="19027"/>
                    </a:moveTo>
                    <a:cubicBezTo>
                      <a:pt x="2815" y="18130"/>
                      <a:pt x="-669" y="13196"/>
                      <a:pt x="227" y="8002"/>
                    </a:cubicBezTo>
                    <a:cubicBezTo>
                      <a:pt x="1123" y="2814"/>
                      <a:pt x="6057" y="-669"/>
                      <a:pt x="11251" y="227"/>
                    </a:cubicBezTo>
                    <a:cubicBezTo>
                      <a:pt x="16444" y="1123"/>
                      <a:pt x="19927" y="6057"/>
                      <a:pt x="19032" y="11252"/>
                    </a:cubicBezTo>
                    <a:cubicBezTo>
                      <a:pt x="18135" y="16444"/>
                      <a:pt x="13196" y="19927"/>
                      <a:pt x="8007" y="19032"/>
                    </a:cubicBezTo>
                    <a:lnTo>
                      <a:pt x="8007" y="19027"/>
                    </a:lnTo>
                    <a:close/>
                  </a:path>
                </a:pathLst>
              </a:custGeom>
              <a:solidFill>
                <a:srgbClr val="FEFEFE"/>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81" name="Freeform: Shape 780">
                <a:extLst>
                  <a:ext uri="{FF2B5EF4-FFF2-40B4-BE49-F238E27FC236}">
                    <a16:creationId xmlns:a16="http://schemas.microsoft.com/office/drawing/2014/main" id="{A5DFDF65-E2D3-4ED5-9109-8DB146549622}"/>
                  </a:ext>
                </a:extLst>
              </p:cNvPr>
              <p:cNvSpPr/>
              <p:nvPr/>
            </p:nvSpPr>
            <p:spPr>
              <a:xfrm>
                <a:off x="564634" y="8169126"/>
                <a:ext cx="50625" cy="52734"/>
              </a:xfrm>
              <a:custGeom>
                <a:avLst/>
                <a:gdLst>
                  <a:gd name="connsiteX0" fmla="*/ 50547 w 50625"/>
                  <a:gd name="connsiteY0" fmla="*/ 5746 h 52734"/>
                  <a:gd name="connsiteX1" fmla="*/ 6816 w 50625"/>
                  <a:gd name="connsiteY1" fmla="*/ 52057 h 52734"/>
                  <a:gd name="connsiteX2" fmla="*/ 1940 w 50625"/>
                  <a:gd name="connsiteY2" fmla="*/ 52987 h 52734"/>
                  <a:gd name="connsiteX3" fmla="*/ 50489 w 50625"/>
                  <a:gd name="connsiteY3" fmla="*/ 791 h 52734"/>
                  <a:gd name="connsiteX4" fmla="*/ 50547 w 50625"/>
                  <a:gd name="connsiteY4" fmla="*/ 5746 h 5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25" h="52734">
                    <a:moveTo>
                      <a:pt x="50547" y="5746"/>
                    </a:moveTo>
                    <a:cubicBezTo>
                      <a:pt x="50396" y="5746"/>
                      <a:pt x="-2040" y="6185"/>
                      <a:pt x="6816" y="52057"/>
                    </a:cubicBezTo>
                    <a:lnTo>
                      <a:pt x="1940" y="52987"/>
                    </a:lnTo>
                    <a:cubicBezTo>
                      <a:pt x="-8046" y="1269"/>
                      <a:pt x="50322" y="791"/>
                      <a:pt x="50489" y="791"/>
                    </a:cubicBezTo>
                    <a:lnTo>
                      <a:pt x="50547" y="5746"/>
                    </a:lnTo>
                    <a:close/>
                  </a:path>
                </a:pathLst>
              </a:custGeom>
              <a:solidFill>
                <a:schemeClr val="accent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82" name="Freeform: Shape 781">
                <a:extLst>
                  <a:ext uri="{FF2B5EF4-FFF2-40B4-BE49-F238E27FC236}">
                    <a16:creationId xmlns:a16="http://schemas.microsoft.com/office/drawing/2014/main" id="{AACA501C-908C-4982-825F-F739B079C058}"/>
                  </a:ext>
                </a:extLst>
              </p:cNvPr>
              <p:cNvSpPr/>
              <p:nvPr/>
            </p:nvSpPr>
            <p:spPr>
              <a:xfrm>
                <a:off x="718906" y="8169367"/>
                <a:ext cx="55898" cy="112852"/>
              </a:xfrm>
              <a:custGeom>
                <a:avLst/>
                <a:gdLst>
                  <a:gd name="connsiteX0" fmla="*/ 912 w 55898"/>
                  <a:gd name="connsiteY0" fmla="*/ 791 h 112851"/>
                  <a:gd name="connsiteX1" fmla="*/ 38733 w 55898"/>
                  <a:gd name="connsiteY1" fmla="*/ 18840 h 112851"/>
                  <a:gd name="connsiteX2" fmla="*/ 53391 w 55898"/>
                  <a:gd name="connsiteY2" fmla="*/ 112843 h 112851"/>
                  <a:gd name="connsiteX3" fmla="*/ 48477 w 55898"/>
                  <a:gd name="connsiteY3" fmla="*/ 112220 h 112851"/>
                  <a:gd name="connsiteX4" fmla="*/ 34905 w 55898"/>
                  <a:gd name="connsiteY4" fmla="*/ 21987 h 112851"/>
                  <a:gd name="connsiteX5" fmla="*/ 791 w 55898"/>
                  <a:gd name="connsiteY5" fmla="*/ 5746 h 112851"/>
                  <a:gd name="connsiteX6" fmla="*/ 908 w 55898"/>
                  <a:gd name="connsiteY6" fmla="*/ 792 h 112851"/>
                  <a:gd name="connsiteX7" fmla="*/ 912 w 55898"/>
                  <a:gd name="connsiteY7" fmla="*/ 792 h 112851"/>
                  <a:gd name="connsiteX8" fmla="*/ 912 w 55898"/>
                  <a:gd name="connsiteY8" fmla="*/ 791 h 112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898" h="112851">
                    <a:moveTo>
                      <a:pt x="912" y="791"/>
                    </a:moveTo>
                    <a:cubicBezTo>
                      <a:pt x="9466" y="1020"/>
                      <a:pt x="26005" y="3353"/>
                      <a:pt x="38733" y="18840"/>
                    </a:cubicBezTo>
                    <a:cubicBezTo>
                      <a:pt x="51189" y="33989"/>
                      <a:pt x="59924" y="61819"/>
                      <a:pt x="53391" y="112843"/>
                    </a:cubicBezTo>
                    <a:lnTo>
                      <a:pt x="48477" y="112220"/>
                    </a:lnTo>
                    <a:cubicBezTo>
                      <a:pt x="54794" y="62838"/>
                      <a:pt x="46630" y="36252"/>
                      <a:pt x="34905" y="21987"/>
                    </a:cubicBezTo>
                    <a:cubicBezTo>
                      <a:pt x="23452" y="8055"/>
                      <a:pt x="8517" y="5956"/>
                      <a:pt x="791" y="5746"/>
                    </a:cubicBezTo>
                    <a:lnTo>
                      <a:pt x="908" y="792"/>
                    </a:lnTo>
                    <a:lnTo>
                      <a:pt x="912" y="792"/>
                    </a:lnTo>
                    <a:lnTo>
                      <a:pt x="912" y="791"/>
                    </a:lnTo>
                    <a:close/>
                  </a:path>
                </a:pathLst>
              </a:custGeom>
              <a:solidFill>
                <a:schemeClr val="accent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83" name="Freeform: Shape 782">
                <a:extLst>
                  <a:ext uri="{FF2B5EF4-FFF2-40B4-BE49-F238E27FC236}">
                    <a16:creationId xmlns:a16="http://schemas.microsoft.com/office/drawing/2014/main" id="{C4B51CD6-B3B6-4EEA-9B88-9499CBE0B423}"/>
                  </a:ext>
                </a:extLst>
              </p:cNvPr>
              <p:cNvSpPr/>
              <p:nvPr/>
            </p:nvSpPr>
            <p:spPr>
              <a:xfrm>
                <a:off x="618558" y="8084352"/>
                <a:ext cx="97031" cy="76992"/>
              </a:xfrm>
              <a:custGeom>
                <a:avLst/>
                <a:gdLst>
                  <a:gd name="connsiteX0" fmla="*/ 48902 w 97031"/>
                  <a:gd name="connsiteY0" fmla="*/ 77500 h 76992"/>
                  <a:gd name="connsiteX1" fmla="*/ 33840 w 97031"/>
                  <a:gd name="connsiteY1" fmla="*/ 75566 h 76992"/>
                  <a:gd name="connsiteX2" fmla="*/ 87 w 97031"/>
                  <a:gd name="connsiteY2" fmla="*/ 45930 h 76992"/>
                  <a:gd name="connsiteX3" fmla="*/ 997 w 97031"/>
                  <a:gd name="connsiteY3" fmla="*/ 4294 h 76992"/>
                  <a:gd name="connsiteX4" fmla="*/ 41600 w 97031"/>
                  <a:gd name="connsiteY4" fmla="*/ 2442 h 76992"/>
                  <a:gd name="connsiteX5" fmla="*/ 48902 w 97031"/>
                  <a:gd name="connsiteY5" fmla="*/ 171 h 76992"/>
                  <a:gd name="connsiteX6" fmla="*/ 56203 w 97031"/>
                  <a:gd name="connsiteY6" fmla="*/ 2442 h 76992"/>
                  <a:gd name="connsiteX7" fmla="*/ 96807 w 97031"/>
                  <a:gd name="connsiteY7" fmla="*/ 4294 h 76992"/>
                  <a:gd name="connsiteX8" fmla="*/ 97717 w 97031"/>
                  <a:gd name="connsiteY8" fmla="*/ 45930 h 76992"/>
                  <a:gd name="connsiteX9" fmla="*/ 63963 w 97031"/>
                  <a:gd name="connsiteY9" fmla="*/ 75566 h 76992"/>
                  <a:gd name="connsiteX10" fmla="*/ 48902 w 97031"/>
                  <a:gd name="connsiteY10" fmla="*/ 77500 h 7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031" h="76992">
                    <a:moveTo>
                      <a:pt x="48902" y="77500"/>
                    </a:moveTo>
                    <a:cubicBezTo>
                      <a:pt x="48902" y="77500"/>
                      <a:pt x="38516" y="76949"/>
                      <a:pt x="33840" y="75566"/>
                    </a:cubicBezTo>
                    <a:cubicBezTo>
                      <a:pt x="29163" y="74184"/>
                      <a:pt x="87" y="45930"/>
                      <a:pt x="87" y="45930"/>
                    </a:cubicBezTo>
                    <a:lnTo>
                      <a:pt x="997" y="4294"/>
                    </a:lnTo>
                    <a:lnTo>
                      <a:pt x="41600" y="2442"/>
                    </a:lnTo>
                    <a:cubicBezTo>
                      <a:pt x="41600" y="2442"/>
                      <a:pt x="46433" y="-438"/>
                      <a:pt x="48902" y="171"/>
                    </a:cubicBezTo>
                    <a:cubicBezTo>
                      <a:pt x="51376" y="-438"/>
                      <a:pt x="56203" y="2442"/>
                      <a:pt x="56203" y="2442"/>
                    </a:cubicBezTo>
                    <a:lnTo>
                      <a:pt x="96807" y="4294"/>
                    </a:lnTo>
                    <a:lnTo>
                      <a:pt x="97717" y="45930"/>
                    </a:lnTo>
                    <a:cubicBezTo>
                      <a:pt x="97717" y="45930"/>
                      <a:pt x="68640" y="74184"/>
                      <a:pt x="63963" y="75566"/>
                    </a:cubicBezTo>
                    <a:cubicBezTo>
                      <a:pt x="59287" y="76949"/>
                      <a:pt x="48902" y="77500"/>
                      <a:pt x="48902" y="77500"/>
                    </a:cubicBezTo>
                    <a:close/>
                  </a:path>
                </a:pathLst>
              </a:custGeom>
              <a:solidFill>
                <a:srgbClr val="FEFEFE"/>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84" name="Freeform: Shape 783">
                <a:extLst>
                  <a:ext uri="{FF2B5EF4-FFF2-40B4-BE49-F238E27FC236}">
                    <a16:creationId xmlns:a16="http://schemas.microsoft.com/office/drawing/2014/main" id="{54F84665-5E13-46BA-9228-D56364D36BE6}"/>
                  </a:ext>
                </a:extLst>
              </p:cNvPr>
              <p:cNvSpPr/>
              <p:nvPr/>
            </p:nvSpPr>
            <p:spPr>
              <a:xfrm>
                <a:off x="667369" y="8084353"/>
                <a:ext cx="48516" cy="76992"/>
              </a:xfrm>
              <a:custGeom>
                <a:avLst/>
                <a:gdLst>
                  <a:gd name="connsiteX0" fmla="*/ 91 w 48515"/>
                  <a:gd name="connsiteY0" fmla="*/ 171 h 76992"/>
                  <a:gd name="connsiteX1" fmla="*/ 3379 w 48515"/>
                  <a:gd name="connsiteY1" fmla="*/ 11653 h 76992"/>
                  <a:gd name="connsiteX2" fmla="*/ 1631 w 48515"/>
                  <a:gd name="connsiteY2" fmla="*/ 19671 h 76992"/>
                  <a:gd name="connsiteX3" fmla="*/ 5230 w 48515"/>
                  <a:gd name="connsiteY3" fmla="*/ 39000 h 76992"/>
                  <a:gd name="connsiteX4" fmla="*/ 1445 w 48515"/>
                  <a:gd name="connsiteY4" fmla="*/ 57483 h 76992"/>
                  <a:gd name="connsiteX5" fmla="*/ 87 w 48515"/>
                  <a:gd name="connsiteY5" fmla="*/ 77500 h 76992"/>
                  <a:gd name="connsiteX6" fmla="*/ 15149 w 48515"/>
                  <a:gd name="connsiteY6" fmla="*/ 75566 h 76992"/>
                  <a:gd name="connsiteX7" fmla="*/ 48903 w 48515"/>
                  <a:gd name="connsiteY7" fmla="*/ 45930 h 76992"/>
                  <a:gd name="connsiteX8" fmla="*/ 47993 w 48515"/>
                  <a:gd name="connsiteY8" fmla="*/ 4294 h 76992"/>
                  <a:gd name="connsiteX9" fmla="*/ 7389 w 48515"/>
                  <a:gd name="connsiteY9" fmla="*/ 2442 h 76992"/>
                  <a:gd name="connsiteX10" fmla="*/ 88 w 48515"/>
                  <a:gd name="connsiteY10" fmla="*/ 171 h 76992"/>
                  <a:gd name="connsiteX11" fmla="*/ 91 w 48515"/>
                  <a:gd name="connsiteY11" fmla="*/ 171 h 7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15" h="76992">
                    <a:moveTo>
                      <a:pt x="91" y="171"/>
                    </a:moveTo>
                    <a:lnTo>
                      <a:pt x="3379" y="11653"/>
                    </a:lnTo>
                    <a:lnTo>
                      <a:pt x="1631" y="19671"/>
                    </a:lnTo>
                    <a:lnTo>
                      <a:pt x="5230" y="39000"/>
                    </a:lnTo>
                    <a:lnTo>
                      <a:pt x="1445" y="57483"/>
                    </a:lnTo>
                    <a:lnTo>
                      <a:pt x="87" y="77500"/>
                    </a:lnTo>
                    <a:cubicBezTo>
                      <a:pt x="87" y="77500"/>
                      <a:pt x="10472" y="76949"/>
                      <a:pt x="15149" y="75566"/>
                    </a:cubicBezTo>
                    <a:cubicBezTo>
                      <a:pt x="19825" y="74184"/>
                      <a:pt x="48903" y="45930"/>
                      <a:pt x="48903" y="45930"/>
                    </a:cubicBezTo>
                    <a:lnTo>
                      <a:pt x="47993" y="4294"/>
                    </a:lnTo>
                    <a:lnTo>
                      <a:pt x="7389" y="2442"/>
                    </a:lnTo>
                    <a:cubicBezTo>
                      <a:pt x="7389" y="2442"/>
                      <a:pt x="2557" y="-438"/>
                      <a:pt x="88" y="171"/>
                    </a:cubicBezTo>
                    <a:lnTo>
                      <a:pt x="91" y="171"/>
                    </a:lnTo>
                    <a:close/>
                  </a:path>
                </a:pathLst>
              </a:custGeom>
              <a:solidFill>
                <a:srgbClr val="EEF3F7"/>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85" name="Freeform: Shape 784">
                <a:extLst>
                  <a:ext uri="{FF2B5EF4-FFF2-40B4-BE49-F238E27FC236}">
                    <a16:creationId xmlns:a16="http://schemas.microsoft.com/office/drawing/2014/main" id="{97922614-9E2A-41B6-9522-C396BB256C70}"/>
                  </a:ext>
                </a:extLst>
              </p:cNvPr>
              <p:cNvSpPr/>
              <p:nvPr/>
            </p:nvSpPr>
            <p:spPr>
              <a:xfrm>
                <a:off x="599756" y="8039832"/>
                <a:ext cx="23203" cy="50625"/>
              </a:xfrm>
              <a:custGeom>
                <a:avLst/>
                <a:gdLst>
                  <a:gd name="connsiteX0" fmla="*/ 3105 w 23203"/>
                  <a:gd name="connsiteY0" fmla="*/ 791 h 50625"/>
                  <a:gd name="connsiteX1" fmla="*/ 22805 w 23203"/>
                  <a:gd name="connsiteY1" fmla="*/ 49860 h 50625"/>
                  <a:gd name="connsiteX2" fmla="*/ 20492 w 23203"/>
                  <a:gd name="connsiteY2" fmla="*/ 50742 h 50625"/>
                  <a:gd name="connsiteX3" fmla="*/ 791 w 23203"/>
                  <a:gd name="connsiteY3" fmla="*/ 1673 h 50625"/>
                  <a:gd name="connsiteX4" fmla="*/ 3105 w 23203"/>
                  <a:gd name="connsiteY4" fmla="*/ 791 h 50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203" h="50625">
                    <a:moveTo>
                      <a:pt x="3105" y="791"/>
                    </a:moveTo>
                    <a:lnTo>
                      <a:pt x="22805" y="49860"/>
                    </a:lnTo>
                    <a:lnTo>
                      <a:pt x="20492" y="50742"/>
                    </a:lnTo>
                    <a:lnTo>
                      <a:pt x="791" y="1673"/>
                    </a:lnTo>
                    <a:lnTo>
                      <a:pt x="3105" y="791"/>
                    </a:lnTo>
                    <a:close/>
                  </a:path>
                </a:pathLst>
              </a:custGeom>
              <a:solidFill>
                <a:schemeClr val="accent5"/>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86" name="Freeform: Shape 785">
                <a:extLst>
                  <a:ext uri="{FF2B5EF4-FFF2-40B4-BE49-F238E27FC236}">
                    <a16:creationId xmlns:a16="http://schemas.microsoft.com/office/drawing/2014/main" id="{9F13340B-571E-4939-B9B9-244282A6D374}"/>
                  </a:ext>
                </a:extLst>
              </p:cNvPr>
              <p:cNvSpPr/>
              <p:nvPr/>
            </p:nvSpPr>
            <p:spPr>
              <a:xfrm>
                <a:off x="711890" y="8040742"/>
                <a:ext cx="22148" cy="50625"/>
              </a:xfrm>
              <a:custGeom>
                <a:avLst/>
                <a:gdLst>
                  <a:gd name="connsiteX0" fmla="*/ 21723 w 22148"/>
                  <a:gd name="connsiteY0" fmla="*/ 1464 h 50625"/>
                  <a:gd name="connsiteX1" fmla="*/ 3183 w 22148"/>
                  <a:gd name="connsiteY1" fmla="*/ 50552 h 50625"/>
                  <a:gd name="connsiteX2" fmla="*/ 791 w 22148"/>
                  <a:gd name="connsiteY2" fmla="*/ 49879 h 50625"/>
                  <a:gd name="connsiteX3" fmla="*/ 19331 w 22148"/>
                  <a:gd name="connsiteY3" fmla="*/ 791 h 50625"/>
                  <a:gd name="connsiteX4" fmla="*/ 21723 w 22148"/>
                  <a:gd name="connsiteY4" fmla="*/ 1464 h 50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48" h="50625">
                    <a:moveTo>
                      <a:pt x="21723" y="1464"/>
                    </a:moveTo>
                    <a:lnTo>
                      <a:pt x="3183" y="50552"/>
                    </a:lnTo>
                    <a:lnTo>
                      <a:pt x="791" y="49879"/>
                    </a:lnTo>
                    <a:lnTo>
                      <a:pt x="19331" y="791"/>
                    </a:lnTo>
                    <a:lnTo>
                      <a:pt x="21723" y="1464"/>
                    </a:lnTo>
                    <a:close/>
                  </a:path>
                </a:pathLst>
              </a:custGeom>
              <a:solidFill>
                <a:schemeClr val="accent5"/>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87" name="Freeform: Shape 786">
                <a:extLst>
                  <a:ext uri="{FF2B5EF4-FFF2-40B4-BE49-F238E27FC236}">
                    <a16:creationId xmlns:a16="http://schemas.microsoft.com/office/drawing/2014/main" id="{BBE66818-BC0C-424D-ADEE-EED30FA637F7}"/>
                  </a:ext>
                </a:extLst>
              </p:cNvPr>
              <p:cNvSpPr/>
              <p:nvPr/>
            </p:nvSpPr>
            <p:spPr>
              <a:xfrm>
                <a:off x="592667" y="7957394"/>
                <a:ext cx="148711" cy="88594"/>
              </a:xfrm>
              <a:custGeom>
                <a:avLst/>
                <a:gdLst>
                  <a:gd name="connsiteX0" fmla="*/ 74613 w 148710"/>
                  <a:gd name="connsiteY0" fmla="*/ 791 h 88593"/>
                  <a:gd name="connsiteX1" fmla="*/ 8826 w 148710"/>
                  <a:gd name="connsiteY1" fmla="*/ 22682 h 88593"/>
                  <a:gd name="connsiteX2" fmla="*/ 1012 w 148710"/>
                  <a:gd name="connsiteY2" fmla="*/ 47629 h 88593"/>
                  <a:gd name="connsiteX3" fmla="*/ 1713 w 148710"/>
                  <a:gd name="connsiteY3" fmla="*/ 88056 h 88593"/>
                  <a:gd name="connsiteX4" fmla="*/ 147508 w 148710"/>
                  <a:gd name="connsiteY4" fmla="*/ 88056 h 88593"/>
                  <a:gd name="connsiteX5" fmla="*/ 148209 w 148710"/>
                  <a:gd name="connsiteY5" fmla="*/ 47629 h 88593"/>
                  <a:gd name="connsiteX6" fmla="*/ 140395 w 148710"/>
                  <a:gd name="connsiteY6" fmla="*/ 22682 h 88593"/>
                  <a:gd name="connsiteX7" fmla="*/ 74608 w 148710"/>
                  <a:gd name="connsiteY7" fmla="*/ 791 h 88593"/>
                  <a:gd name="connsiteX8" fmla="*/ 74613 w 148710"/>
                  <a:gd name="connsiteY8" fmla="*/ 791 h 8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710" h="88593">
                    <a:moveTo>
                      <a:pt x="74613" y="791"/>
                    </a:moveTo>
                    <a:cubicBezTo>
                      <a:pt x="74613" y="791"/>
                      <a:pt x="13761" y="9919"/>
                      <a:pt x="8826" y="22682"/>
                    </a:cubicBezTo>
                    <a:cubicBezTo>
                      <a:pt x="3891" y="35445"/>
                      <a:pt x="-220" y="32547"/>
                      <a:pt x="1012" y="47629"/>
                    </a:cubicBezTo>
                    <a:cubicBezTo>
                      <a:pt x="2244" y="62711"/>
                      <a:pt x="1713" y="88056"/>
                      <a:pt x="1713" y="88056"/>
                    </a:cubicBezTo>
                    <a:cubicBezTo>
                      <a:pt x="53904" y="69028"/>
                      <a:pt x="95798" y="68337"/>
                      <a:pt x="147508" y="88056"/>
                    </a:cubicBezTo>
                    <a:cubicBezTo>
                      <a:pt x="147508" y="88056"/>
                      <a:pt x="146977" y="62711"/>
                      <a:pt x="148209" y="47629"/>
                    </a:cubicBezTo>
                    <a:cubicBezTo>
                      <a:pt x="149442" y="32547"/>
                      <a:pt x="145330" y="35446"/>
                      <a:pt x="140395" y="22682"/>
                    </a:cubicBezTo>
                    <a:cubicBezTo>
                      <a:pt x="135460" y="9919"/>
                      <a:pt x="74608" y="791"/>
                      <a:pt x="74608" y="791"/>
                    </a:cubicBezTo>
                    <a:cubicBezTo>
                      <a:pt x="74608" y="791"/>
                      <a:pt x="74613" y="791"/>
                      <a:pt x="74613" y="791"/>
                    </a:cubicBezTo>
                    <a:close/>
                  </a:path>
                </a:pathLst>
              </a:custGeom>
              <a:solidFill>
                <a:schemeClr val="accent5"/>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88" name="Freeform: Shape 787">
                <a:extLst>
                  <a:ext uri="{FF2B5EF4-FFF2-40B4-BE49-F238E27FC236}">
                    <a16:creationId xmlns:a16="http://schemas.microsoft.com/office/drawing/2014/main" id="{6C93ED23-A874-47C3-9000-8897E6AF2704}"/>
                  </a:ext>
                </a:extLst>
              </p:cNvPr>
              <p:cNvSpPr/>
              <p:nvPr/>
            </p:nvSpPr>
            <p:spPr>
              <a:xfrm>
                <a:off x="666897" y="7958088"/>
                <a:ext cx="73828" cy="86484"/>
              </a:xfrm>
              <a:custGeom>
                <a:avLst/>
                <a:gdLst>
                  <a:gd name="connsiteX0" fmla="*/ 383 w 73828"/>
                  <a:gd name="connsiteY0" fmla="*/ 97 h 86484"/>
                  <a:gd name="connsiteX1" fmla="*/ 87 w 73828"/>
                  <a:gd name="connsiteY1" fmla="*/ 141 h 86484"/>
                  <a:gd name="connsiteX2" fmla="*/ 60784 w 73828"/>
                  <a:gd name="connsiteY2" fmla="*/ 20055 h 86484"/>
                  <a:gd name="connsiteX3" fmla="*/ 65514 w 73828"/>
                  <a:gd name="connsiteY3" fmla="*/ 31463 h 86484"/>
                  <a:gd name="connsiteX4" fmla="*/ 70652 w 73828"/>
                  <a:gd name="connsiteY4" fmla="*/ 44806 h 86484"/>
                  <a:gd name="connsiteX5" fmla="*/ 69561 w 73828"/>
                  <a:gd name="connsiteY5" fmla="*/ 86485 h 86484"/>
                  <a:gd name="connsiteX6" fmla="*/ 69902 w 73828"/>
                  <a:gd name="connsiteY6" fmla="*/ 86884 h 86484"/>
                  <a:gd name="connsiteX7" fmla="*/ 73283 w 73828"/>
                  <a:gd name="connsiteY7" fmla="*/ 87351 h 86484"/>
                  <a:gd name="connsiteX8" fmla="*/ 73984 w 73828"/>
                  <a:gd name="connsiteY8" fmla="*/ 46924 h 86484"/>
                  <a:gd name="connsiteX9" fmla="*/ 66170 w 73828"/>
                  <a:gd name="connsiteY9" fmla="*/ 21978 h 86484"/>
                  <a:gd name="connsiteX10" fmla="*/ 383 w 73828"/>
                  <a:gd name="connsiteY10" fmla="*/ 87 h 86484"/>
                  <a:gd name="connsiteX11" fmla="*/ 383 w 73828"/>
                  <a:gd name="connsiteY11" fmla="*/ 97 h 86484"/>
                  <a:gd name="connsiteX12" fmla="*/ 383 w 73828"/>
                  <a:gd name="connsiteY12" fmla="*/ 97 h 86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828" h="86484">
                    <a:moveTo>
                      <a:pt x="383" y="97"/>
                    </a:moveTo>
                    <a:lnTo>
                      <a:pt x="87" y="141"/>
                    </a:lnTo>
                    <a:cubicBezTo>
                      <a:pt x="87" y="141"/>
                      <a:pt x="60166" y="15419"/>
                      <a:pt x="60784" y="20055"/>
                    </a:cubicBezTo>
                    <a:cubicBezTo>
                      <a:pt x="61403" y="24692"/>
                      <a:pt x="58494" y="29077"/>
                      <a:pt x="65514" y="31463"/>
                    </a:cubicBezTo>
                    <a:cubicBezTo>
                      <a:pt x="72534" y="33851"/>
                      <a:pt x="70652" y="44806"/>
                      <a:pt x="70652" y="44806"/>
                    </a:cubicBezTo>
                    <a:lnTo>
                      <a:pt x="69561" y="86485"/>
                    </a:lnTo>
                    <a:lnTo>
                      <a:pt x="69902" y="86884"/>
                    </a:lnTo>
                    <a:lnTo>
                      <a:pt x="73283" y="87351"/>
                    </a:lnTo>
                    <a:cubicBezTo>
                      <a:pt x="73283" y="87351"/>
                      <a:pt x="72752" y="62006"/>
                      <a:pt x="73984" y="46924"/>
                    </a:cubicBezTo>
                    <a:cubicBezTo>
                      <a:pt x="75216" y="31842"/>
                      <a:pt x="71105" y="34741"/>
                      <a:pt x="66170" y="21978"/>
                    </a:cubicBezTo>
                    <a:cubicBezTo>
                      <a:pt x="61235" y="9215"/>
                      <a:pt x="383" y="87"/>
                      <a:pt x="383" y="87"/>
                    </a:cubicBezTo>
                    <a:lnTo>
                      <a:pt x="383" y="97"/>
                    </a:lnTo>
                    <a:lnTo>
                      <a:pt x="383" y="97"/>
                    </a:lnTo>
                    <a:close/>
                  </a:path>
                </a:pathLst>
              </a:custGeom>
              <a:solidFill>
                <a:schemeClr val="accent5">
                  <a:lumMod val="60000"/>
                  <a:lumOff val="40000"/>
                </a:schemeClr>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grpSp>
      </p:grpSp>
      <p:grpSp>
        <p:nvGrpSpPr>
          <p:cNvPr id="29" name="Group 28">
            <a:extLst>
              <a:ext uri="{FF2B5EF4-FFF2-40B4-BE49-F238E27FC236}">
                <a16:creationId xmlns:a16="http://schemas.microsoft.com/office/drawing/2014/main" id="{56000CC4-FABD-4987-B5E7-619DA31D5B43}"/>
              </a:ext>
            </a:extLst>
          </p:cNvPr>
          <p:cNvGrpSpPr/>
          <p:nvPr/>
        </p:nvGrpSpPr>
        <p:grpSpPr>
          <a:xfrm>
            <a:off x="3883473" y="3955125"/>
            <a:ext cx="420847" cy="138801"/>
            <a:chOff x="165794" y="3394179"/>
            <a:chExt cx="594745" cy="196156"/>
          </a:xfrm>
        </p:grpSpPr>
        <p:pic>
          <p:nvPicPr>
            <p:cNvPr id="758" name="Graphic 757" descr="Woman">
              <a:extLst>
                <a:ext uri="{FF2B5EF4-FFF2-40B4-BE49-F238E27FC236}">
                  <a16:creationId xmlns:a16="http://schemas.microsoft.com/office/drawing/2014/main" id="{7CB1BDB4-F771-46D1-9684-AA1B030BFA18}"/>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1520" y="3394179"/>
              <a:ext cx="196156" cy="196156"/>
            </a:xfrm>
            <a:prstGeom prst="rect">
              <a:avLst/>
            </a:prstGeom>
          </p:spPr>
        </p:pic>
        <p:pic>
          <p:nvPicPr>
            <p:cNvPr id="759" name="Graphic 758" descr="Woman">
              <a:extLst>
                <a:ext uri="{FF2B5EF4-FFF2-40B4-BE49-F238E27FC236}">
                  <a16:creationId xmlns:a16="http://schemas.microsoft.com/office/drawing/2014/main" id="{C1BEA576-2261-4E35-AA55-4B0B132EE4A9}"/>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8657" y="3394179"/>
              <a:ext cx="196156" cy="196156"/>
            </a:xfrm>
            <a:prstGeom prst="rect">
              <a:avLst/>
            </a:prstGeom>
          </p:spPr>
        </p:pic>
        <p:pic>
          <p:nvPicPr>
            <p:cNvPr id="760" name="Graphic 759" descr="Woman">
              <a:extLst>
                <a:ext uri="{FF2B5EF4-FFF2-40B4-BE49-F238E27FC236}">
                  <a16:creationId xmlns:a16="http://schemas.microsoft.com/office/drawing/2014/main" id="{4717A26A-76B3-458B-A7C8-FE0814DC27F5}"/>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5794" y="3394179"/>
              <a:ext cx="196156" cy="196156"/>
            </a:xfrm>
            <a:prstGeom prst="rect">
              <a:avLst/>
            </a:prstGeom>
          </p:spPr>
        </p:pic>
        <p:pic>
          <p:nvPicPr>
            <p:cNvPr id="761" name="Graphic 760" descr="Man">
              <a:extLst>
                <a:ext uri="{FF2B5EF4-FFF2-40B4-BE49-F238E27FC236}">
                  <a16:creationId xmlns:a16="http://schemas.microsoft.com/office/drawing/2014/main" id="{4CE30FE9-4FC3-4B30-90BE-14571AA9C63B}"/>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64383" y="3394179"/>
              <a:ext cx="196156" cy="196156"/>
            </a:xfrm>
            <a:prstGeom prst="rect">
              <a:avLst/>
            </a:prstGeom>
          </p:spPr>
        </p:pic>
      </p:grpSp>
      <p:sp>
        <p:nvSpPr>
          <p:cNvPr id="249" name="Freeform: Shape 248">
            <a:extLst>
              <a:ext uri="{FF2B5EF4-FFF2-40B4-BE49-F238E27FC236}">
                <a16:creationId xmlns:a16="http://schemas.microsoft.com/office/drawing/2014/main" id="{E737C111-7E4E-45ED-94D9-E2F9EFB6FF20}"/>
              </a:ext>
            </a:extLst>
          </p:cNvPr>
          <p:cNvSpPr/>
          <p:nvPr/>
        </p:nvSpPr>
        <p:spPr>
          <a:xfrm>
            <a:off x="863227" y="4394508"/>
            <a:ext cx="3527864" cy="346000"/>
          </a:xfrm>
          <a:custGeom>
            <a:avLst/>
            <a:gdLst>
              <a:gd name="connsiteX0" fmla="*/ 0 w 5647615"/>
              <a:gd name="connsiteY0" fmla="*/ 0 h 540000"/>
              <a:gd name="connsiteX1" fmla="*/ 5647615 w 5647615"/>
              <a:gd name="connsiteY1" fmla="*/ 0 h 540000"/>
              <a:gd name="connsiteX2" fmla="*/ 5512615 w 5647615"/>
              <a:gd name="connsiteY2" fmla="*/ 540000 h 540000"/>
              <a:gd name="connsiteX3" fmla="*/ 0 w 5647615"/>
              <a:gd name="connsiteY3" fmla="*/ 540000 h 540000"/>
              <a:gd name="connsiteX4" fmla="*/ 270000 w 5647615"/>
              <a:gd name="connsiteY4" fmla="*/ 270000 h 540000"/>
              <a:gd name="connsiteX5" fmla="*/ 0 w 5647615"/>
              <a:gd name="connsiteY5" fmla="*/ 0 h 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47615" h="540000">
                <a:moveTo>
                  <a:pt x="0" y="0"/>
                </a:moveTo>
                <a:lnTo>
                  <a:pt x="5647615" y="0"/>
                </a:lnTo>
                <a:lnTo>
                  <a:pt x="5512615" y="540000"/>
                </a:lnTo>
                <a:lnTo>
                  <a:pt x="0" y="540000"/>
                </a:lnTo>
                <a:cubicBezTo>
                  <a:pt x="149117" y="540000"/>
                  <a:pt x="270000" y="419117"/>
                  <a:pt x="270000" y="270000"/>
                </a:cubicBezTo>
                <a:cubicBezTo>
                  <a:pt x="270000" y="120883"/>
                  <a:pt x="149117" y="0"/>
                  <a:pt x="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Franklin Gothic Medium" panose="020B0603020102020204"/>
                <a:ea typeface="+mn-ea"/>
                <a:cs typeface="+mn-cs"/>
              </a:rPr>
              <a:t> </a:t>
            </a:r>
          </a:p>
        </p:txBody>
      </p:sp>
      <p:grpSp>
        <p:nvGrpSpPr>
          <p:cNvPr id="665" name="Group 664">
            <a:extLst>
              <a:ext uri="{FF2B5EF4-FFF2-40B4-BE49-F238E27FC236}">
                <a16:creationId xmlns:a16="http://schemas.microsoft.com/office/drawing/2014/main" id="{04C555C8-1AAF-446E-A6B2-FA21F7E77335}"/>
              </a:ext>
            </a:extLst>
          </p:cNvPr>
          <p:cNvGrpSpPr/>
          <p:nvPr/>
        </p:nvGrpSpPr>
        <p:grpSpPr>
          <a:xfrm>
            <a:off x="635594" y="4344769"/>
            <a:ext cx="445544" cy="445480"/>
            <a:chOff x="12600957" y="5812341"/>
            <a:chExt cx="540077" cy="540000"/>
          </a:xfrm>
        </p:grpSpPr>
        <p:sp>
          <p:nvSpPr>
            <p:cNvPr id="745" name="Oval 744">
              <a:extLst>
                <a:ext uri="{FF2B5EF4-FFF2-40B4-BE49-F238E27FC236}">
                  <a16:creationId xmlns:a16="http://schemas.microsoft.com/office/drawing/2014/main" id="{8E348993-CA6B-4B3C-972B-4C07FFB74AFA}"/>
                </a:ext>
              </a:extLst>
            </p:cNvPr>
            <p:cNvSpPr/>
            <p:nvPr/>
          </p:nvSpPr>
          <p:spPr>
            <a:xfrm>
              <a:off x="12601034" y="5812341"/>
              <a:ext cx="540000" cy="5400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Franklin Gothic Medium" panose="020B0603020102020204"/>
                  <a:ea typeface="+mn-ea"/>
                  <a:cs typeface="+mn-cs"/>
                </a:rPr>
                <a:t> </a:t>
              </a:r>
            </a:p>
          </p:txBody>
        </p:sp>
        <p:grpSp>
          <p:nvGrpSpPr>
            <p:cNvPr id="746" name="Graphic 465">
              <a:extLst>
                <a:ext uri="{FF2B5EF4-FFF2-40B4-BE49-F238E27FC236}">
                  <a16:creationId xmlns:a16="http://schemas.microsoft.com/office/drawing/2014/main" id="{CC157CA1-4CD1-44A3-BFF0-60CAD5E1382B}"/>
                </a:ext>
              </a:extLst>
            </p:cNvPr>
            <p:cNvGrpSpPr/>
            <p:nvPr/>
          </p:nvGrpSpPr>
          <p:grpSpPr>
            <a:xfrm>
              <a:off x="12600957" y="5917418"/>
              <a:ext cx="540000" cy="329588"/>
              <a:chOff x="397383" y="8677522"/>
              <a:chExt cx="540000" cy="329588"/>
            </a:xfrm>
          </p:grpSpPr>
          <p:sp>
            <p:nvSpPr>
              <p:cNvPr id="747" name="Freeform: Shape 746">
                <a:extLst>
                  <a:ext uri="{FF2B5EF4-FFF2-40B4-BE49-F238E27FC236}">
                    <a16:creationId xmlns:a16="http://schemas.microsoft.com/office/drawing/2014/main" id="{8C2D5CF6-AA2B-4307-9B72-7F3E2AF8FAF6}"/>
                  </a:ext>
                </a:extLst>
              </p:cNvPr>
              <p:cNvSpPr/>
              <p:nvPr/>
            </p:nvSpPr>
            <p:spPr>
              <a:xfrm>
                <a:off x="439791" y="8677522"/>
                <a:ext cx="454570" cy="285820"/>
              </a:xfrm>
              <a:custGeom>
                <a:avLst/>
                <a:gdLst>
                  <a:gd name="connsiteX0" fmla="*/ 9761 w 454570"/>
                  <a:gd name="connsiteY0" fmla="*/ 87 h 285820"/>
                  <a:gd name="connsiteX1" fmla="*/ 445578 w 454570"/>
                  <a:gd name="connsiteY1" fmla="*/ 87 h 285820"/>
                  <a:gd name="connsiteX2" fmla="*/ 455253 w 454570"/>
                  <a:gd name="connsiteY2" fmla="*/ 9760 h 285820"/>
                  <a:gd name="connsiteX3" fmla="*/ 455253 w 454570"/>
                  <a:gd name="connsiteY3" fmla="*/ 276786 h 285820"/>
                  <a:gd name="connsiteX4" fmla="*/ 445578 w 454570"/>
                  <a:gd name="connsiteY4" fmla="*/ 286459 h 285820"/>
                  <a:gd name="connsiteX5" fmla="*/ 9761 w 454570"/>
                  <a:gd name="connsiteY5" fmla="*/ 286459 h 285820"/>
                  <a:gd name="connsiteX6" fmla="*/ 87 w 454570"/>
                  <a:gd name="connsiteY6" fmla="*/ 276786 h 285820"/>
                  <a:gd name="connsiteX7" fmla="*/ 87 w 454570"/>
                  <a:gd name="connsiteY7" fmla="*/ 9760 h 285820"/>
                  <a:gd name="connsiteX8" fmla="*/ 9761 w 454570"/>
                  <a:gd name="connsiteY8" fmla="*/ 87 h 28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4570" h="285820">
                    <a:moveTo>
                      <a:pt x="9761" y="87"/>
                    </a:moveTo>
                    <a:lnTo>
                      <a:pt x="445578" y="87"/>
                    </a:lnTo>
                    <a:cubicBezTo>
                      <a:pt x="450900" y="87"/>
                      <a:pt x="455253" y="4440"/>
                      <a:pt x="455253" y="9760"/>
                    </a:cubicBezTo>
                    <a:lnTo>
                      <a:pt x="455253" y="276786"/>
                    </a:lnTo>
                    <a:cubicBezTo>
                      <a:pt x="455253" y="282106"/>
                      <a:pt x="450900" y="286459"/>
                      <a:pt x="445578" y="286459"/>
                    </a:cubicBezTo>
                    <a:lnTo>
                      <a:pt x="9761" y="286459"/>
                    </a:lnTo>
                    <a:cubicBezTo>
                      <a:pt x="4439" y="286459"/>
                      <a:pt x="87" y="282106"/>
                      <a:pt x="87" y="276786"/>
                    </a:cubicBezTo>
                    <a:lnTo>
                      <a:pt x="87" y="9760"/>
                    </a:lnTo>
                    <a:cubicBezTo>
                      <a:pt x="85" y="4440"/>
                      <a:pt x="4438" y="87"/>
                      <a:pt x="9761" y="87"/>
                    </a:cubicBezTo>
                    <a:close/>
                  </a:path>
                </a:pathLst>
              </a:custGeom>
              <a:solidFill>
                <a:schemeClr val="accent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48" name="Freeform: Shape 747">
                <a:extLst>
                  <a:ext uri="{FF2B5EF4-FFF2-40B4-BE49-F238E27FC236}">
                    <a16:creationId xmlns:a16="http://schemas.microsoft.com/office/drawing/2014/main" id="{7DC39F57-32B2-4F7C-9ADD-65E86FC4957C}"/>
                  </a:ext>
                </a:extLst>
              </p:cNvPr>
              <p:cNvSpPr/>
              <p:nvPr/>
            </p:nvSpPr>
            <p:spPr>
              <a:xfrm>
                <a:off x="460080" y="8696952"/>
                <a:ext cx="414492" cy="252070"/>
              </a:xfrm>
              <a:custGeom>
                <a:avLst/>
                <a:gdLst>
                  <a:gd name="connsiteX0" fmla="*/ 87 w 414492"/>
                  <a:gd name="connsiteY0" fmla="*/ 87 h 252070"/>
                  <a:gd name="connsiteX1" fmla="*/ 414675 w 414492"/>
                  <a:gd name="connsiteY1" fmla="*/ 87 h 252070"/>
                  <a:gd name="connsiteX2" fmla="*/ 414675 w 414492"/>
                  <a:gd name="connsiteY2" fmla="*/ 252752 h 252070"/>
                  <a:gd name="connsiteX3" fmla="*/ 87 w 414492"/>
                  <a:gd name="connsiteY3" fmla="*/ 252752 h 252070"/>
                  <a:gd name="connsiteX4" fmla="*/ 87 w 414492"/>
                  <a:gd name="connsiteY4" fmla="*/ 87 h 2520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492" h="252070">
                    <a:moveTo>
                      <a:pt x="87" y="87"/>
                    </a:moveTo>
                    <a:lnTo>
                      <a:pt x="414675" y="87"/>
                    </a:lnTo>
                    <a:lnTo>
                      <a:pt x="414675" y="252752"/>
                    </a:lnTo>
                    <a:lnTo>
                      <a:pt x="87" y="252752"/>
                    </a:lnTo>
                    <a:lnTo>
                      <a:pt x="87" y="87"/>
                    </a:lnTo>
                    <a:close/>
                  </a:path>
                </a:pathLst>
              </a:custGeom>
              <a:solidFill>
                <a:schemeClr val="bg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49" name="Freeform: Shape 748">
                <a:extLst>
                  <a:ext uri="{FF2B5EF4-FFF2-40B4-BE49-F238E27FC236}">
                    <a16:creationId xmlns:a16="http://schemas.microsoft.com/office/drawing/2014/main" id="{C2536052-6084-49FC-A639-FDBAFC374352}"/>
                  </a:ext>
                </a:extLst>
              </p:cNvPr>
              <p:cNvSpPr/>
              <p:nvPr/>
            </p:nvSpPr>
            <p:spPr>
              <a:xfrm>
                <a:off x="397383" y="8970196"/>
                <a:ext cx="540000" cy="36914"/>
              </a:xfrm>
              <a:custGeom>
                <a:avLst/>
                <a:gdLst>
                  <a:gd name="connsiteX0" fmla="*/ 88 w 540000"/>
                  <a:gd name="connsiteY0" fmla="*/ 87 h 36914"/>
                  <a:gd name="connsiteX1" fmla="*/ 540068 w 540000"/>
                  <a:gd name="connsiteY1" fmla="*/ 87 h 36914"/>
                  <a:gd name="connsiteX2" fmla="*/ 540068 w 540000"/>
                  <a:gd name="connsiteY2" fmla="*/ 18587 h 36914"/>
                  <a:gd name="connsiteX3" fmla="*/ 521569 w 540000"/>
                  <a:gd name="connsiteY3" fmla="*/ 37085 h 36914"/>
                  <a:gd name="connsiteX4" fmla="*/ 18584 w 540000"/>
                  <a:gd name="connsiteY4" fmla="*/ 37085 h 36914"/>
                  <a:gd name="connsiteX5" fmla="*/ 87 w 540000"/>
                  <a:gd name="connsiteY5" fmla="*/ 18587 h 36914"/>
                  <a:gd name="connsiteX6" fmla="*/ 88 w 540000"/>
                  <a:gd name="connsiteY6" fmla="*/ 87 h 36914"/>
                  <a:gd name="connsiteX7" fmla="*/ 88 w 540000"/>
                  <a:gd name="connsiteY7" fmla="*/ 87 h 36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000" h="36914">
                    <a:moveTo>
                      <a:pt x="88" y="87"/>
                    </a:moveTo>
                    <a:lnTo>
                      <a:pt x="540068" y="87"/>
                    </a:lnTo>
                    <a:lnTo>
                      <a:pt x="540068" y="18587"/>
                    </a:lnTo>
                    <a:cubicBezTo>
                      <a:pt x="540068" y="28760"/>
                      <a:pt x="531745" y="37085"/>
                      <a:pt x="521569" y="37085"/>
                    </a:cubicBezTo>
                    <a:lnTo>
                      <a:pt x="18584" y="37085"/>
                    </a:lnTo>
                    <a:cubicBezTo>
                      <a:pt x="8410" y="37085"/>
                      <a:pt x="87" y="28760"/>
                      <a:pt x="87" y="18587"/>
                    </a:cubicBezTo>
                    <a:lnTo>
                      <a:pt x="88" y="87"/>
                    </a:lnTo>
                    <a:lnTo>
                      <a:pt x="88" y="87"/>
                    </a:lnTo>
                    <a:close/>
                  </a:path>
                </a:pathLst>
              </a:custGeom>
              <a:solidFill>
                <a:schemeClr val="accent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50" name="Freeform: Shape 749">
                <a:extLst>
                  <a:ext uri="{FF2B5EF4-FFF2-40B4-BE49-F238E27FC236}">
                    <a16:creationId xmlns:a16="http://schemas.microsoft.com/office/drawing/2014/main" id="{A2F059DE-E1AF-4BF3-9E9D-773C5B9A9617}"/>
                  </a:ext>
                </a:extLst>
              </p:cNvPr>
              <p:cNvSpPr/>
              <p:nvPr/>
            </p:nvSpPr>
            <p:spPr>
              <a:xfrm>
                <a:off x="606938" y="8972860"/>
                <a:ext cx="120234" cy="8438"/>
              </a:xfrm>
              <a:custGeom>
                <a:avLst/>
                <a:gdLst>
                  <a:gd name="connsiteX0" fmla="*/ 87 w 120234"/>
                  <a:gd name="connsiteY0" fmla="*/ 87 h 8437"/>
                  <a:gd name="connsiteX1" fmla="*/ 120960 w 120234"/>
                  <a:gd name="connsiteY1" fmla="*/ 87 h 8437"/>
                  <a:gd name="connsiteX2" fmla="*/ 116516 w 120234"/>
                  <a:gd name="connsiteY2" fmla="*/ 8617 h 8437"/>
                  <a:gd name="connsiteX3" fmla="*/ 4529 w 120234"/>
                  <a:gd name="connsiteY3" fmla="*/ 8617 h 8437"/>
                  <a:gd name="connsiteX4" fmla="*/ 87 w 120234"/>
                  <a:gd name="connsiteY4" fmla="*/ 87 h 8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34" h="8437">
                    <a:moveTo>
                      <a:pt x="87" y="87"/>
                    </a:moveTo>
                    <a:lnTo>
                      <a:pt x="120960" y="87"/>
                    </a:lnTo>
                    <a:lnTo>
                      <a:pt x="116516" y="8617"/>
                    </a:lnTo>
                    <a:lnTo>
                      <a:pt x="4529" y="8617"/>
                    </a:lnTo>
                    <a:lnTo>
                      <a:pt x="87" y="87"/>
                    </a:lnTo>
                    <a:close/>
                  </a:path>
                </a:pathLst>
              </a:custGeom>
              <a:solidFill>
                <a:schemeClr val="accent1">
                  <a:lumMod val="50000"/>
                </a:schemeClr>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51" name="Freeform: Shape 750">
                <a:extLst>
                  <a:ext uri="{FF2B5EF4-FFF2-40B4-BE49-F238E27FC236}">
                    <a16:creationId xmlns:a16="http://schemas.microsoft.com/office/drawing/2014/main" id="{8A635016-B053-4C9E-9B16-461563854DE8}"/>
                  </a:ext>
                </a:extLst>
              </p:cNvPr>
              <p:cNvSpPr/>
              <p:nvPr/>
            </p:nvSpPr>
            <p:spPr>
              <a:xfrm>
                <a:off x="460080" y="8696954"/>
                <a:ext cx="42188" cy="15820"/>
              </a:xfrm>
              <a:custGeom>
                <a:avLst/>
                <a:gdLst>
                  <a:gd name="connsiteX0" fmla="*/ 87 w 42187"/>
                  <a:gd name="connsiteY0" fmla="*/ 87 h 15820"/>
                  <a:gd name="connsiteX1" fmla="*/ 42313 w 42187"/>
                  <a:gd name="connsiteY1" fmla="*/ 87 h 15820"/>
                  <a:gd name="connsiteX2" fmla="*/ 42313 w 42187"/>
                  <a:gd name="connsiteY2" fmla="*/ 15954 h 15820"/>
                  <a:gd name="connsiteX3" fmla="*/ 87 w 42187"/>
                  <a:gd name="connsiteY3" fmla="*/ 15954 h 15820"/>
                  <a:gd name="connsiteX4" fmla="*/ 87 w 42187"/>
                  <a:gd name="connsiteY4" fmla="*/ 87 h 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7" h="15820">
                    <a:moveTo>
                      <a:pt x="87" y="87"/>
                    </a:moveTo>
                    <a:lnTo>
                      <a:pt x="42313" y="87"/>
                    </a:lnTo>
                    <a:lnTo>
                      <a:pt x="42313" y="15954"/>
                    </a:lnTo>
                    <a:lnTo>
                      <a:pt x="87" y="15954"/>
                    </a:lnTo>
                    <a:lnTo>
                      <a:pt x="87" y="87"/>
                    </a:lnTo>
                    <a:close/>
                  </a:path>
                </a:pathLst>
              </a:custGeom>
              <a:solidFill>
                <a:schemeClr val="accent4"/>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52" name="Freeform: Shape 751">
                <a:extLst>
                  <a:ext uri="{FF2B5EF4-FFF2-40B4-BE49-F238E27FC236}">
                    <a16:creationId xmlns:a16="http://schemas.microsoft.com/office/drawing/2014/main" id="{42E7EB82-ED5C-48DE-85B9-9569C1F482F1}"/>
                  </a:ext>
                </a:extLst>
              </p:cNvPr>
              <p:cNvSpPr/>
              <p:nvPr/>
            </p:nvSpPr>
            <p:spPr>
              <a:xfrm>
                <a:off x="502303" y="8696954"/>
                <a:ext cx="372305" cy="15820"/>
              </a:xfrm>
              <a:custGeom>
                <a:avLst/>
                <a:gdLst>
                  <a:gd name="connsiteX0" fmla="*/ 372451 w 372304"/>
                  <a:gd name="connsiteY0" fmla="*/ 87 h 15820"/>
                  <a:gd name="connsiteX1" fmla="*/ 87 w 372304"/>
                  <a:gd name="connsiteY1" fmla="*/ 87 h 15820"/>
                  <a:gd name="connsiteX2" fmla="*/ 87 w 372304"/>
                  <a:gd name="connsiteY2" fmla="*/ 15954 h 15820"/>
                  <a:gd name="connsiteX3" fmla="*/ 372451 w 372304"/>
                  <a:gd name="connsiteY3" fmla="*/ 15954 h 15820"/>
                  <a:gd name="connsiteX4" fmla="*/ 372451 w 372304"/>
                  <a:gd name="connsiteY4" fmla="*/ 87 h 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304" h="15820">
                    <a:moveTo>
                      <a:pt x="372451" y="87"/>
                    </a:moveTo>
                    <a:lnTo>
                      <a:pt x="87" y="87"/>
                    </a:lnTo>
                    <a:lnTo>
                      <a:pt x="87" y="15954"/>
                    </a:lnTo>
                    <a:lnTo>
                      <a:pt x="372451" y="15954"/>
                    </a:lnTo>
                    <a:lnTo>
                      <a:pt x="372451" y="87"/>
                    </a:lnTo>
                    <a:close/>
                  </a:path>
                </a:pathLst>
              </a:custGeom>
              <a:solidFill>
                <a:schemeClr val="accent5"/>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53" name="Freeform: Shape 752">
                <a:extLst>
                  <a:ext uri="{FF2B5EF4-FFF2-40B4-BE49-F238E27FC236}">
                    <a16:creationId xmlns:a16="http://schemas.microsoft.com/office/drawing/2014/main" id="{073D4CFB-8A0F-4CE6-B50C-7FBC435152D0}"/>
                  </a:ext>
                </a:extLst>
              </p:cNvPr>
              <p:cNvSpPr/>
              <p:nvPr/>
            </p:nvSpPr>
            <p:spPr>
              <a:xfrm>
                <a:off x="497757" y="8963894"/>
                <a:ext cx="338555" cy="6328"/>
              </a:xfrm>
              <a:custGeom>
                <a:avLst/>
                <a:gdLst>
                  <a:gd name="connsiteX0" fmla="*/ 87 w 338554"/>
                  <a:gd name="connsiteY0" fmla="*/ 87 h 6328"/>
                  <a:gd name="connsiteX1" fmla="*/ 30229 w 338554"/>
                  <a:gd name="connsiteY1" fmla="*/ 87 h 6328"/>
                  <a:gd name="connsiteX2" fmla="*/ 30229 w 338554"/>
                  <a:gd name="connsiteY2" fmla="*/ 6388 h 6328"/>
                  <a:gd name="connsiteX3" fmla="*/ 87 w 338554"/>
                  <a:gd name="connsiteY3" fmla="*/ 6388 h 6328"/>
                  <a:gd name="connsiteX4" fmla="*/ 87 w 338554"/>
                  <a:gd name="connsiteY4" fmla="*/ 87 h 6328"/>
                  <a:gd name="connsiteX5" fmla="*/ 309181 w 338554"/>
                  <a:gd name="connsiteY5" fmla="*/ 87 h 6328"/>
                  <a:gd name="connsiteX6" fmla="*/ 309181 w 338554"/>
                  <a:gd name="connsiteY6" fmla="*/ 87 h 6328"/>
                  <a:gd name="connsiteX7" fmla="*/ 339324 w 338554"/>
                  <a:gd name="connsiteY7" fmla="*/ 87 h 6328"/>
                  <a:gd name="connsiteX8" fmla="*/ 339324 w 338554"/>
                  <a:gd name="connsiteY8" fmla="*/ 6388 h 6328"/>
                  <a:gd name="connsiteX9" fmla="*/ 309181 w 338554"/>
                  <a:gd name="connsiteY9" fmla="*/ 6388 h 6328"/>
                  <a:gd name="connsiteX10" fmla="*/ 309181 w 338554"/>
                  <a:gd name="connsiteY10" fmla="*/ 87 h 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8554" h="6328">
                    <a:moveTo>
                      <a:pt x="87" y="87"/>
                    </a:moveTo>
                    <a:lnTo>
                      <a:pt x="30229" y="87"/>
                    </a:lnTo>
                    <a:lnTo>
                      <a:pt x="30229" y="6388"/>
                    </a:lnTo>
                    <a:lnTo>
                      <a:pt x="87" y="6388"/>
                    </a:lnTo>
                    <a:lnTo>
                      <a:pt x="87" y="87"/>
                    </a:lnTo>
                    <a:close/>
                    <a:moveTo>
                      <a:pt x="309181" y="87"/>
                    </a:moveTo>
                    <a:lnTo>
                      <a:pt x="309181" y="87"/>
                    </a:lnTo>
                    <a:lnTo>
                      <a:pt x="339324" y="87"/>
                    </a:lnTo>
                    <a:lnTo>
                      <a:pt x="339324" y="6388"/>
                    </a:lnTo>
                    <a:lnTo>
                      <a:pt x="309181" y="6388"/>
                    </a:lnTo>
                    <a:lnTo>
                      <a:pt x="309181" y="87"/>
                    </a:lnTo>
                    <a:close/>
                  </a:path>
                </a:pathLst>
              </a:custGeom>
              <a:solidFill>
                <a:schemeClr val="accent1">
                  <a:lumMod val="50000"/>
                </a:schemeClr>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54" name="Freeform: Shape 753">
                <a:extLst>
                  <a:ext uri="{FF2B5EF4-FFF2-40B4-BE49-F238E27FC236}">
                    <a16:creationId xmlns:a16="http://schemas.microsoft.com/office/drawing/2014/main" id="{41A00139-0F42-4ACA-9FC0-C8A3A7226F2C}"/>
                  </a:ext>
                </a:extLst>
              </p:cNvPr>
              <p:cNvSpPr/>
              <p:nvPr/>
            </p:nvSpPr>
            <p:spPr>
              <a:xfrm>
                <a:off x="584006" y="8739532"/>
                <a:ext cx="166641" cy="166641"/>
              </a:xfrm>
              <a:custGeom>
                <a:avLst/>
                <a:gdLst>
                  <a:gd name="connsiteX0" fmla="*/ 83840 w 166640"/>
                  <a:gd name="connsiteY0" fmla="*/ 87 h 166640"/>
                  <a:gd name="connsiteX1" fmla="*/ 99563 w 166640"/>
                  <a:gd name="connsiteY1" fmla="*/ 1565 h 166640"/>
                  <a:gd name="connsiteX2" fmla="*/ 99921 w 166640"/>
                  <a:gd name="connsiteY2" fmla="*/ 1635 h 166640"/>
                  <a:gd name="connsiteX3" fmla="*/ 101567 w 166640"/>
                  <a:gd name="connsiteY3" fmla="*/ 1971 h 166640"/>
                  <a:gd name="connsiteX4" fmla="*/ 101710 w 166640"/>
                  <a:gd name="connsiteY4" fmla="*/ 2001 h 166640"/>
                  <a:gd name="connsiteX5" fmla="*/ 102066 w 166640"/>
                  <a:gd name="connsiteY5" fmla="*/ 2081 h 166640"/>
                  <a:gd name="connsiteX6" fmla="*/ 103483 w 166640"/>
                  <a:gd name="connsiteY6" fmla="*/ 2408 h 166640"/>
                  <a:gd name="connsiteX7" fmla="*/ 103837 w 166640"/>
                  <a:gd name="connsiteY7" fmla="*/ 2493 h 166640"/>
                  <a:gd name="connsiteX8" fmla="*/ 105591 w 166640"/>
                  <a:gd name="connsiteY8" fmla="*/ 2945 h 166640"/>
                  <a:gd name="connsiteX9" fmla="*/ 105940 w 166640"/>
                  <a:gd name="connsiteY9" fmla="*/ 3040 h 166640"/>
                  <a:gd name="connsiteX10" fmla="*/ 107679 w 166640"/>
                  <a:gd name="connsiteY10" fmla="*/ 3534 h 166640"/>
                  <a:gd name="connsiteX11" fmla="*/ 108024 w 166640"/>
                  <a:gd name="connsiteY11" fmla="*/ 3638 h 166640"/>
                  <a:gd name="connsiteX12" fmla="*/ 109399 w 166640"/>
                  <a:gd name="connsiteY12" fmla="*/ 4063 h 166640"/>
                  <a:gd name="connsiteX13" fmla="*/ 109742 w 166640"/>
                  <a:gd name="connsiteY13" fmla="*/ 4174 h 166640"/>
                  <a:gd name="connsiteX14" fmla="*/ 110083 w 166640"/>
                  <a:gd name="connsiteY14" fmla="*/ 4285 h 166640"/>
                  <a:gd name="connsiteX15" fmla="*/ 111444 w 166640"/>
                  <a:gd name="connsiteY15" fmla="*/ 4750 h 166640"/>
                  <a:gd name="connsiteX16" fmla="*/ 111782 w 166640"/>
                  <a:gd name="connsiteY16" fmla="*/ 4867 h 166640"/>
                  <a:gd name="connsiteX17" fmla="*/ 111858 w 166640"/>
                  <a:gd name="connsiteY17" fmla="*/ 4896 h 166640"/>
                  <a:gd name="connsiteX18" fmla="*/ 113462 w 166640"/>
                  <a:gd name="connsiteY18" fmla="*/ 5482 h 166640"/>
                  <a:gd name="connsiteX19" fmla="*/ 113463 w 166640"/>
                  <a:gd name="connsiteY19" fmla="*/ 5483 h 166640"/>
                  <a:gd name="connsiteX20" fmla="*/ 113799 w 166640"/>
                  <a:gd name="connsiteY20" fmla="*/ 5612 h 166640"/>
                  <a:gd name="connsiteX21" fmla="*/ 113815 w 166640"/>
                  <a:gd name="connsiteY21" fmla="*/ 5618 h 166640"/>
                  <a:gd name="connsiteX22" fmla="*/ 115315 w 166640"/>
                  <a:gd name="connsiteY22" fmla="*/ 6209 h 166640"/>
                  <a:gd name="connsiteX23" fmla="*/ 115462 w 166640"/>
                  <a:gd name="connsiteY23" fmla="*/ 6270 h 166640"/>
                  <a:gd name="connsiteX24" fmla="*/ 115792 w 166640"/>
                  <a:gd name="connsiteY24" fmla="*/ 6406 h 166640"/>
                  <a:gd name="connsiteX25" fmla="*/ 117082 w 166640"/>
                  <a:gd name="connsiteY25" fmla="*/ 6950 h 166640"/>
                  <a:gd name="connsiteX26" fmla="*/ 117107 w 166640"/>
                  <a:gd name="connsiteY26" fmla="*/ 6962 h 166640"/>
                  <a:gd name="connsiteX27" fmla="*/ 117432 w 166640"/>
                  <a:gd name="connsiteY27" fmla="*/ 7104 h 166640"/>
                  <a:gd name="connsiteX28" fmla="*/ 117757 w 166640"/>
                  <a:gd name="connsiteY28" fmla="*/ 7248 h 166640"/>
                  <a:gd name="connsiteX29" fmla="*/ 118984 w 166640"/>
                  <a:gd name="connsiteY29" fmla="*/ 7804 h 166640"/>
                  <a:gd name="connsiteX30" fmla="*/ 119056 w 166640"/>
                  <a:gd name="connsiteY30" fmla="*/ 7837 h 166640"/>
                  <a:gd name="connsiteX31" fmla="*/ 119379 w 166640"/>
                  <a:gd name="connsiteY31" fmla="*/ 7988 h 166640"/>
                  <a:gd name="connsiteX32" fmla="*/ 120963 w 166640"/>
                  <a:gd name="connsiteY32" fmla="*/ 8753 h 166640"/>
                  <a:gd name="connsiteX33" fmla="*/ 120981 w 166640"/>
                  <a:gd name="connsiteY33" fmla="*/ 8760 h 166640"/>
                  <a:gd name="connsiteX34" fmla="*/ 121299 w 166640"/>
                  <a:gd name="connsiteY34" fmla="*/ 8920 h 166640"/>
                  <a:gd name="connsiteX35" fmla="*/ 167587 w 166640"/>
                  <a:gd name="connsiteY35" fmla="*/ 83840 h 166640"/>
                  <a:gd name="connsiteX36" fmla="*/ 121299 w 166640"/>
                  <a:gd name="connsiteY36" fmla="*/ 158764 h 166640"/>
                  <a:gd name="connsiteX37" fmla="*/ 120981 w 166640"/>
                  <a:gd name="connsiteY37" fmla="*/ 158921 h 166640"/>
                  <a:gd name="connsiteX38" fmla="*/ 120963 w 166640"/>
                  <a:gd name="connsiteY38" fmla="*/ 158930 h 166640"/>
                  <a:gd name="connsiteX39" fmla="*/ 119379 w 166640"/>
                  <a:gd name="connsiteY39" fmla="*/ 159694 h 166640"/>
                  <a:gd name="connsiteX40" fmla="*/ 119056 w 166640"/>
                  <a:gd name="connsiteY40" fmla="*/ 159845 h 166640"/>
                  <a:gd name="connsiteX41" fmla="*/ 118984 w 166640"/>
                  <a:gd name="connsiteY41" fmla="*/ 159881 h 166640"/>
                  <a:gd name="connsiteX42" fmla="*/ 117757 w 166640"/>
                  <a:gd name="connsiteY42" fmla="*/ 160433 h 166640"/>
                  <a:gd name="connsiteX43" fmla="*/ 117432 w 166640"/>
                  <a:gd name="connsiteY43" fmla="*/ 160577 h 166640"/>
                  <a:gd name="connsiteX44" fmla="*/ 117107 w 166640"/>
                  <a:gd name="connsiteY44" fmla="*/ 160721 h 166640"/>
                  <a:gd name="connsiteX45" fmla="*/ 117082 w 166640"/>
                  <a:gd name="connsiteY45" fmla="*/ 160733 h 166640"/>
                  <a:gd name="connsiteX46" fmla="*/ 115792 w 166640"/>
                  <a:gd name="connsiteY46" fmla="*/ 161277 h 166640"/>
                  <a:gd name="connsiteX47" fmla="*/ 115462 w 166640"/>
                  <a:gd name="connsiteY47" fmla="*/ 161414 h 166640"/>
                  <a:gd name="connsiteX48" fmla="*/ 115315 w 166640"/>
                  <a:gd name="connsiteY48" fmla="*/ 161474 h 166640"/>
                  <a:gd name="connsiteX49" fmla="*/ 113815 w 166640"/>
                  <a:gd name="connsiteY49" fmla="*/ 162064 h 166640"/>
                  <a:gd name="connsiteX50" fmla="*/ 113799 w 166640"/>
                  <a:gd name="connsiteY50" fmla="*/ 162073 h 166640"/>
                  <a:gd name="connsiteX51" fmla="*/ 113463 w 166640"/>
                  <a:gd name="connsiteY51" fmla="*/ 162198 h 166640"/>
                  <a:gd name="connsiteX52" fmla="*/ 113462 w 166640"/>
                  <a:gd name="connsiteY52" fmla="*/ 162199 h 166640"/>
                  <a:gd name="connsiteX53" fmla="*/ 111858 w 166640"/>
                  <a:gd name="connsiteY53" fmla="*/ 162786 h 166640"/>
                  <a:gd name="connsiteX54" fmla="*/ 111782 w 166640"/>
                  <a:gd name="connsiteY54" fmla="*/ 162814 h 166640"/>
                  <a:gd name="connsiteX55" fmla="*/ 111444 w 166640"/>
                  <a:gd name="connsiteY55" fmla="*/ 162932 h 166640"/>
                  <a:gd name="connsiteX56" fmla="*/ 110083 w 166640"/>
                  <a:gd name="connsiteY56" fmla="*/ 163393 h 166640"/>
                  <a:gd name="connsiteX57" fmla="*/ 109742 w 166640"/>
                  <a:gd name="connsiteY57" fmla="*/ 163505 h 166640"/>
                  <a:gd name="connsiteX58" fmla="*/ 109399 w 166640"/>
                  <a:gd name="connsiteY58" fmla="*/ 163616 h 166640"/>
                  <a:gd name="connsiteX59" fmla="*/ 108024 w 166640"/>
                  <a:gd name="connsiteY59" fmla="*/ 164044 h 166640"/>
                  <a:gd name="connsiteX60" fmla="*/ 107679 w 166640"/>
                  <a:gd name="connsiteY60" fmla="*/ 164147 h 166640"/>
                  <a:gd name="connsiteX61" fmla="*/ 105940 w 166640"/>
                  <a:gd name="connsiteY61" fmla="*/ 164640 h 166640"/>
                  <a:gd name="connsiteX62" fmla="*/ 105591 w 166640"/>
                  <a:gd name="connsiteY62" fmla="*/ 164737 h 166640"/>
                  <a:gd name="connsiteX63" fmla="*/ 103837 w 166640"/>
                  <a:gd name="connsiteY63" fmla="*/ 165188 h 166640"/>
                  <a:gd name="connsiteX64" fmla="*/ 103483 w 166640"/>
                  <a:gd name="connsiteY64" fmla="*/ 165272 h 166640"/>
                  <a:gd name="connsiteX65" fmla="*/ 102066 w 166640"/>
                  <a:gd name="connsiteY65" fmla="*/ 165601 h 166640"/>
                  <a:gd name="connsiteX66" fmla="*/ 101710 w 166640"/>
                  <a:gd name="connsiteY66" fmla="*/ 165677 h 166640"/>
                  <a:gd name="connsiteX67" fmla="*/ 101567 w 166640"/>
                  <a:gd name="connsiteY67" fmla="*/ 165709 h 166640"/>
                  <a:gd name="connsiteX68" fmla="*/ 99921 w 166640"/>
                  <a:gd name="connsiteY68" fmla="*/ 166047 h 166640"/>
                  <a:gd name="connsiteX69" fmla="*/ 99563 w 166640"/>
                  <a:gd name="connsiteY69" fmla="*/ 166115 h 166640"/>
                  <a:gd name="connsiteX70" fmla="*/ 83840 w 166640"/>
                  <a:gd name="connsiteY70" fmla="*/ 167594 h 166640"/>
                  <a:gd name="connsiteX71" fmla="*/ 72004 w 166640"/>
                  <a:gd name="connsiteY71" fmla="*/ 166758 h 166640"/>
                  <a:gd name="connsiteX72" fmla="*/ 72003 w 166640"/>
                  <a:gd name="connsiteY72" fmla="*/ 166758 h 166640"/>
                  <a:gd name="connsiteX73" fmla="*/ 71975 w 166640"/>
                  <a:gd name="connsiteY73" fmla="*/ 166754 h 166640"/>
                  <a:gd name="connsiteX74" fmla="*/ 68158 w 166640"/>
                  <a:gd name="connsiteY74" fmla="*/ 166121 h 166640"/>
                  <a:gd name="connsiteX75" fmla="*/ 67680 w 166640"/>
                  <a:gd name="connsiteY75" fmla="*/ 166031 h 166640"/>
                  <a:gd name="connsiteX76" fmla="*/ 66259 w 166640"/>
                  <a:gd name="connsiteY76" fmla="*/ 165738 h 166640"/>
                  <a:gd name="connsiteX77" fmla="*/ 65786 w 166640"/>
                  <a:gd name="connsiteY77" fmla="*/ 165637 h 166640"/>
                  <a:gd name="connsiteX78" fmla="*/ 65747 w 166640"/>
                  <a:gd name="connsiteY78" fmla="*/ 165627 h 166640"/>
                  <a:gd name="connsiteX79" fmla="*/ 56175 w 166640"/>
                  <a:gd name="connsiteY79" fmla="*/ 162910 h 166640"/>
                  <a:gd name="connsiteX80" fmla="*/ 56105 w 166640"/>
                  <a:gd name="connsiteY80" fmla="*/ 162887 h 166640"/>
                  <a:gd name="connsiteX81" fmla="*/ 55659 w 166640"/>
                  <a:gd name="connsiteY81" fmla="*/ 162728 h 166640"/>
                  <a:gd name="connsiteX82" fmla="*/ 54320 w 166640"/>
                  <a:gd name="connsiteY82" fmla="*/ 162236 h 166640"/>
                  <a:gd name="connsiteX83" fmla="*/ 53875 w 166640"/>
                  <a:gd name="connsiteY83" fmla="*/ 162069 h 166640"/>
                  <a:gd name="connsiteX84" fmla="*/ 87 w 166640"/>
                  <a:gd name="connsiteY84" fmla="*/ 83839 h 166640"/>
                  <a:gd name="connsiteX85" fmla="*/ 53875 w 166640"/>
                  <a:gd name="connsiteY85" fmla="*/ 5613 h 166640"/>
                  <a:gd name="connsiteX86" fmla="*/ 54320 w 166640"/>
                  <a:gd name="connsiteY86" fmla="*/ 5446 h 166640"/>
                  <a:gd name="connsiteX87" fmla="*/ 55659 w 166640"/>
                  <a:gd name="connsiteY87" fmla="*/ 4954 h 166640"/>
                  <a:gd name="connsiteX88" fmla="*/ 56105 w 166640"/>
                  <a:gd name="connsiteY88" fmla="*/ 4795 h 166640"/>
                  <a:gd name="connsiteX89" fmla="*/ 56175 w 166640"/>
                  <a:gd name="connsiteY89" fmla="*/ 4771 h 166640"/>
                  <a:gd name="connsiteX90" fmla="*/ 65747 w 166640"/>
                  <a:gd name="connsiteY90" fmla="*/ 2051 h 166640"/>
                  <a:gd name="connsiteX91" fmla="*/ 65786 w 166640"/>
                  <a:gd name="connsiteY91" fmla="*/ 2044 h 166640"/>
                  <a:gd name="connsiteX92" fmla="*/ 66259 w 166640"/>
                  <a:gd name="connsiteY92" fmla="*/ 1942 h 166640"/>
                  <a:gd name="connsiteX93" fmla="*/ 67680 w 166640"/>
                  <a:gd name="connsiteY93" fmla="*/ 1653 h 166640"/>
                  <a:gd name="connsiteX94" fmla="*/ 68158 w 166640"/>
                  <a:gd name="connsiteY94" fmla="*/ 1559 h 166640"/>
                  <a:gd name="connsiteX95" fmla="*/ 71975 w 166640"/>
                  <a:gd name="connsiteY95" fmla="*/ 927 h 166640"/>
                  <a:gd name="connsiteX96" fmla="*/ 72003 w 166640"/>
                  <a:gd name="connsiteY96" fmla="*/ 925 h 166640"/>
                  <a:gd name="connsiteX97" fmla="*/ 72004 w 166640"/>
                  <a:gd name="connsiteY97" fmla="*/ 925 h 166640"/>
                  <a:gd name="connsiteX98" fmla="*/ 83840 w 166640"/>
                  <a:gd name="connsiteY98" fmla="*/ 87 h 166640"/>
                  <a:gd name="connsiteX99" fmla="*/ 83840 w 166640"/>
                  <a:gd name="connsiteY99" fmla="*/ 87 h 166640"/>
                  <a:gd name="connsiteX100" fmla="*/ 72224 w 166640"/>
                  <a:gd name="connsiteY100" fmla="*/ 22233 h 166640"/>
                  <a:gd name="connsiteX101" fmla="*/ 72224 w 166640"/>
                  <a:gd name="connsiteY101" fmla="*/ 22233 h 166640"/>
                  <a:gd name="connsiteX102" fmla="*/ 53161 w 166640"/>
                  <a:gd name="connsiteY102" fmla="*/ 41533 h 166640"/>
                  <a:gd name="connsiteX103" fmla="*/ 66073 w 166640"/>
                  <a:gd name="connsiteY103" fmla="*/ 43179 h 166640"/>
                  <a:gd name="connsiteX104" fmla="*/ 72224 w 166640"/>
                  <a:gd name="connsiteY104" fmla="*/ 22233 h 166640"/>
                  <a:gd name="connsiteX105" fmla="*/ 44042 w 166640"/>
                  <a:gd name="connsiteY105" fmla="*/ 39795 h 166640"/>
                  <a:gd name="connsiteX106" fmla="*/ 44042 w 166640"/>
                  <a:gd name="connsiteY106" fmla="*/ 39795 h 166640"/>
                  <a:gd name="connsiteX107" fmla="*/ 75350 w 166640"/>
                  <a:gd name="connsiteY107" fmla="*/ 10213 h 166640"/>
                  <a:gd name="connsiteX108" fmla="*/ 72011 w 166640"/>
                  <a:gd name="connsiteY108" fmla="*/ 9608 h 166640"/>
                  <a:gd name="connsiteX109" fmla="*/ 26682 w 166640"/>
                  <a:gd name="connsiteY109" fmla="*/ 35036 h 166640"/>
                  <a:gd name="connsiteX110" fmla="*/ 44042 w 166640"/>
                  <a:gd name="connsiteY110" fmla="*/ 39795 h 166640"/>
                  <a:gd name="connsiteX111" fmla="*/ 20672 w 166640"/>
                  <a:gd name="connsiteY111" fmla="*/ 43101 h 166640"/>
                  <a:gd name="connsiteX112" fmla="*/ 20672 w 166640"/>
                  <a:gd name="connsiteY112" fmla="*/ 43101 h 166640"/>
                  <a:gd name="connsiteX113" fmla="*/ 8854 w 166640"/>
                  <a:gd name="connsiteY113" fmla="*/ 78683 h 166640"/>
                  <a:gd name="connsiteX114" fmla="*/ 31693 w 166640"/>
                  <a:gd name="connsiteY114" fmla="*/ 78683 h 166640"/>
                  <a:gd name="connsiteX115" fmla="*/ 39168 w 166640"/>
                  <a:gd name="connsiteY115" fmla="*/ 48867 h 166640"/>
                  <a:gd name="connsiteX116" fmla="*/ 20672 w 166640"/>
                  <a:gd name="connsiteY116" fmla="*/ 43101 h 166640"/>
                  <a:gd name="connsiteX117" fmla="*/ 20672 w 166640"/>
                  <a:gd name="connsiteY117" fmla="*/ 43101 h 166640"/>
                  <a:gd name="connsiteX118" fmla="*/ 47774 w 166640"/>
                  <a:gd name="connsiteY118" fmla="*/ 50774 h 166640"/>
                  <a:gd name="connsiteX119" fmla="*/ 47774 w 166640"/>
                  <a:gd name="connsiteY119" fmla="*/ 50774 h 166640"/>
                  <a:gd name="connsiteX120" fmla="*/ 40303 w 166640"/>
                  <a:gd name="connsiteY120" fmla="*/ 78684 h 166640"/>
                  <a:gd name="connsiteX121" fmla="*/ 61722 w 166640"/>
                  <a:gd name="connsiteY121" fmla="*/ 78684 h 166640"/>
                  <a:gd name="connsiteX122" fmla="*/ 64127 w 166640"/>
                  <a:gd name="connsiteY122" fmla="*/ 53197 h 166640"/>
                  <a:gd name="connsiteX123" fmla="*/ 47774 w 166640"/>
                  <a:gd name="connsiteY123" fmla="*/ 50774 h 166640"/>
                  <a:gd name="connsiteX124" fmla="*/ 61721 w 166640"/>
                  <a:gd name="connsiteY124" fmla="*/ 88995 h 166640"/>
                  <a:gd name="connsiteX125" fmla="*/ 61721 w 166640"/>
                  <a:gd name="connsiteY125" fmla="*/ 88995 h 166640"/>
                  <a:gd name="connsiteX126" fmla="*/ 40303 w 166640"/>
                  <a:gd name="connsiteY126" fmla="*/ 88995 h 166640"/>
                  <a:gd name="connsiteX127" fmla="*/ 46112 w 166640"/>
                  <a:gd name="connsiteY127" fmla="*/ 113273 h 166640"/>
                  <a:gd name="connsiteX128" fmla="*/ 63527 w 166640"/>
                  <a:gd name="connsiteY128" fmla="*/ 110580 h 166640"/>
                  <a:gd name="connsiteX129" fmla="*/ 61721 w 166640"/>
                  <a:gd name="connsiteY129" fmla="*/ 88995 h 166640"/>
                  <a:gd name="connsiteX130" fmla="*/ 61721 w 166640"/>
                  <a:gd name="connsiteY130" fmla="*/ 88995 h 166640"/>
                  <a:gd name="connsiteX131" fmla="*/ 37621 w 166640"/>
                  <a:gd name="connsiteY131" fmla="*/ 115238 h 166640"/>
                  <a:gd name="connsiteX132" fmla="*/ 37621 w 166640"/>
                  <a:gd name="connsiteY132" fmla="*/ 115238 h 166640"/>
                  <a:gd name="connsiteX133" fmla="*/ 31693 w 166640"/>
                  <a:gd name="connsiteY133" fmla="*/ 88995 h 166640"/>
                  <a:gd name="connsiteX134" fmla="*/ 8854 w 166640"/>
                  <a:gd name="connsiteY134" fmla="*/ 88995 h 166640"/>
                  <a:gd name="connsiteX135" fmla="*/ 18712 w 166640"/>
                  <a:gd name="connsiteY135" fmla="*/ 121372 h 166640"/>
                  <a:gd name="connsiteX136" fmla="*/ 37621 w 166640"/>
                  <a:gd name="connsiteY136" fmla="*/ 115238 h 166640"/>
                  <a:gd name="connsiteX137" fmla="*/ 37621 w 166640"/>
                  <a:gd name="connsiteY137" fmla="*/ 115238 h 166640"/>
                  <a:gd name="connsiteX138" fmla="*/ 24163 w 166640"/>
                  <a:gd name="connsiteY138" fmla="*/ 129531 h 166640"/>
                  <a:gd name="connsiteX139" fmla="*/ 24163 w 166640"/>
                  <a:gd name="connsiteY139" fmla="*/ 129531 h 166640"/>
                  <a:gd name="connsiteX140" fmla="*/ 72010 w 166640"/>
                  <a:gd name="connsiteY140" fmla="*/ 158074 h 166640"/>
                  <a:gd name="connsiteX141" fmla="*/ 75349 w 166640"/>
                  <a:gd name="connsiteY141" fmla="*/ 157468 h 166640"/>
                  <a:gd name="connsiteX142" fmla="*/ 41981 w 166640"/>
                  <a:gd name="connsiteY142" fmla="*/ 124372 h 166640"/>
                  <a:gd name="connsiteX143" fmla="*/ 24163 w 166640"/>
                  <a:gd name="connsiteY143" fmla="*/ 129531 h 166640"/>
                  <a:gd name="connsiteX144" fmla="*/ 24163 w 166640"/>
                  <a:gd name="connsiteY144" fmla="*/ 129531 h 166640"/>
                  <a:gd name="connsiteX145" fmla="*/ 50861 w 166640"/>
                  <a:gd name="connsiteY145" fmla="*/ 122565 h 166640"/>
                  <a:gd name="connsiteX146" fmla="*/ 50861 w 166640"/>
                  <a:gd name="connsiteY146" fmla="*/ 122565 h 166640"/>
                  <a:gd name="connsiteX147" fmla="*/ 72223 w 166640"/>
                  <a:gd name="connsiteY147" fmla="*/ 145450 h 166640"/>
                  <a:gd name="connsiteX148" fmla="*/ 65244 w 166640"/>
                  <a:gd name="connsiteY148" fmla="*/ 120606 h 166640"/>
                  <a:gd name="connsiteX149" fmla="*/ 50861 w 166640"/>
                  <a:gd name="connsiteY149" fmla="*/ 122565 h 166640"/>
                  <a:gd name="connsiteX150" fmla="*/ 95752 w 166640"/>
                  <a:gd name="connsiteY150" fmla="*/ 150057 h 166640"/>
                  <a:gd name="connsiteX151" fmla="*/ 95752 w 166640"/>
                  <a:gd name="connsiteY151" fmla="*/ 150057 h 166640"/>
                  <a:gd name="connsiteX152" fmla="*/ 123699 w 166640"/>
                  <a:gd name="connsiteY152" fmla="*/ 124007 h 166640"/>
                  <a:gd name="connsiteX153" fmla="*/ 104467 w 166640"/>
                  <a:gd name="connsiteY153" fmla="*/ 120857 h 166640"/>
                  <a:gd name="connsiteX154" fmla="*/ 95752 w 166640"/>
                  <a:gd name="connsiteY154" fmla="*/ 150057 h 166640"/>
                  <a:gd name="connsiteX155" fmla="*/ 132437 w 166640"/>
                  <a:gd name="connsiteY155" fmla="*/ 126178 h 166640"/>
                  <a:gd name="connsiteX156" fmla="*/ 132437 w 166640"/>
                  <a:gd name="connsiteY156" fmla="*/ 126178 h 166640"/>
                  <a:gd name="connsiteX157" fmla="*/ 100801 w 166640"/>
                  <a:gd name="connsiteY157" fmla="*/ 157081 h 166640"/>
                  <a:gd name="connsiteX158" fmla="*/ 143439 w 166640"/>
                  <a:gd name="connsiteY158" fmla="*/ 129641 h 166640"/>
                  <a:gd name="connsiteX159" fmla="*/ 132437 w 166640"/>
                  <a:gd name="connsiteY159" fmla="*/ 126178 h 166640"/>
                  <a:gd name="connsiteX160" fmla="*/ 148904 w 166640"/>
                  <a:gd name="connsiteY160" fmla="*/ 121488 h 166640"/>
                  <a:gd name="connsiteX161" fmla="*/ 148904 w 166640"/>
                  <a:gd name="connsiteY161" fmla="*/ 121488 h 166640"/>
                  <a:gd name="connsiteX162" fmla="*/ 158828 w 166640"/>
                  <a:gd name="connsiteY162" fmla="*/ 88995 h 166640"/>
                  <a:gd name="connsiteX163" fmla="*/ 143761 w 166640"/>
                  <a:gd name="connsiteY163" fmla="*/ 88995 h 166640"/>
                  <a:gd name="connsiteX164" fmla="*/ 136968 w 166640"/>
                  <a:gd name="connsiteY164" fmla="*/ 117292 h 166640"/>
                  <a:gd name="connsiteX165" fmla="*/ 148904 w 166640"/>
                  <a:gd name="connsiteY165" fmla="*/ 121488 h 166640"/>
                  <a:gd name="connsiteX166" fmla="*/ 148904 w 166640"/>
                  <a:gd name="connsiteY166" fmla="*/ 121488 h 166640"/>
                  <a:gd name="connsiteX167" fmla="*/ 128601 w 166640"/>
                  <a:gd name="connsiteY167" fmla="*/ 114957 h 166640"/>
                  <a:gd name="connsiteX168" fmla="*/ 128601 w 166640"/>
                  <a:gd name="connsiteY168" fmla="*/ 114957 h 166640"/>
                  <a:gd name="connsiteX169" fmla="*/ 135150 w 166640"/>
                  <a:gd name="connsiteY169" fmla="*/ 88995 h 166640"/>
                  <a:gd name="connsiteX170" fmla="*/ 108039 w 166640"/>
                  <a:gd name="connsiteY170" fmla="*/ 88995 h 166640"/>
                  <a:gd name="connsiteX171" fmla="*/ 106197 w 166640"/>
                  <a:gd name="connsiteY171" fmla="*/ 110849 h 166640"/>
                  <a:gd name="connsiteX172" fmla="*/ 128601 w 166640"/>
                  <a:gd name="connsiteY172" fmla="*/ 114957 h 166640"/>
                  <a:gd name="connsiteX173" fmla="*/ 108038 w 166640"/>
                  <a:gd name="connsiteY173" fmla="*/ 78683 h 166640"/>
                  <a:gd name="connsiteX174" fmla="*/ 108038 w 166640"/>
                  <a:gd name="connsiteY174" fmla="*/ 78683 h 166640"/>
                  <a:gd name="connsiteX175" fmla="*/ 135149 w 166640"/>
                  <a:gd name="connsiteY175" fmla="*/ 78683 h 166640"/>
                  <a:gd name="connsiteX176" fmla="*/ 126869 w 166640"/>
                  <a:gd name="connsiteY176" fmla="*/ 49174 h 166640"/>
                  <a:gd name="connsiteX177" fmla="*/ 105590 w 166640"/>
                  <a:gd name="connsiteY177" fmla="*/ 52928 h 166640"/>
                  <a:gd name="connsiteX178" fmla="*/ 108038 w 166640"/>
                  <a:gd name="connsiteY178" fmla="*/ 78683 h 166640"/>
                  <a:gd name="connsiteX179" fmla="*/ 135346 w 166640"/>
                  <a:gd name="connsiteY179" fmla="*/ 46905 h 166640"/>
                  <a:gd name="connsiteX180" fmla="*/ 135346 w 166640"/>
                  <a:gd name="connsiteY180" fmla="*/ 46905 h 166640"/>
                  <a:gd name="connsiteX181" fmla="*/ 143759 w 166640"/>
                  <a:gd name="connsiteY181" fmla="*/ 78683 h 166640"/>
                  <a:gd name="connsiteX182" fmla="*/ 158825 w 166640"/>
                  <a:gd name="connsiteY182" fmla="*/ 78683 h 166640"/>
                  <a:gd name="connsiteX183" fmla="*/ 146935 w 166640"/>
                  <a:gd name="connsiteY183" fmla="*/ 42984 h 166640"/>
                  <a:gd name="connsiteX184" fmla="*/ 135346 w 166640"/>
                  <a:gd name="connsiteY184" fmla="*/ 46905 h 166640"/>
                  <a:gd name="connsiteX185" fmla="*/ 140921 w 166640"/>
                  <a:gd name="connsiteY185" fmla="*/ 34940 h 166640"/>
                  <a:gd name="connsiteX186" fmla="*/ 140921 w 166640"/>
                  <a:gd name="connsiteY186" fmla="*/ 34940 h 166640"/>
                  <a:gd name="connsiteX187" fmla="*/ 100800 w 166640"/>
                  <a:gd name="connsiteY187" fmla="*/ 10601 h 166640"/>
                  <a:gd name="connsiteX188" fmla="*/ 130327 w 166640"/>
                  <a:gd name="connsiteY188" fmla="*/ 38101 h 166640"/>
                  <a:gd name="connsiteX189" fmla="*/ 140921 w 166640"/>
                  <a:gd name="connsiteY189" fmla="*/ 34940 h 166640"/>
                  <a:gd name="connsiteX190" fmla="*/ 121366 w 166640"/>
                  <a:gd name="connsiteY190" fmla="*/ 40199 h 166640"/>
                  <a:gd name="connsiteX191" fmla="*/ 121366 w 166640"/>
                  <a:gd name="connsiteY191" fmla="*/ 40199 h 166640"/>
                  <a:gd name="connsiteX192" fmla="*/ 95752 w 166640"/>
                  <a:gd name="connsiteY192" fmla="*/ 17624 h 166640"/>
                  <a:gd name="connsiteX193" fmla="*/ 103635 w 166640"/>
                  <a:gd name="connsiteY193" fmla="*/ 42942 h 166640"/>
                  <a:gd name="connsiteX194" fmla="*/ 121366 w 166640"/>
                  <a:gd name="connsiteY194" fmla="*/ 40199 h 166640"/>
                  <a:gd name="connsiteX195" fmla="*/ 76129 w 166640"/>
                  <a:gd name="connsiteY195" fmla="*/ 43834 h 166640"/>
                  <a:gd name="connsiteX196" fmla="*/ 76129 w 166640"/>
                  <a:gd name="connsiteY196" fmla="*/ 43834 h 166640"/>
                  <a:gd name="connsiteX197" fmla="*/ 83653 w 166640"/>
                  <a:gd name="connsiteY197" fmla="*/ 43985 h 166640"/>
                  <a:gd name="connsiteX198" fmla="*/ 93610 w 166640"/>
                  <a:gd name="connsiteY198" fmla="*/ 43725 h 166640"/>
                  <a:gd name="connsiteX199" fmla="*/ 84882 w 166640"/>
                  <a:gd name="connsiteY199" fmla="*/ 16011 h 166640"/>
                  <a:gd name="connsiteX200" fmla="*/ 76129 w 166640"/>
                  <a:gd name="connsiteY200" fmla="*/ 43834 h 166640"/>
                  <a:gd name="connsiteX201" fmla="*/ 95534 w 166640"/>
                  <a:gd name="connsiteY201" fmla="*/ 53818 h 166640"/>
                  <a:gd name="connsiteX202" fmla="*/ 95534 w 166640"/>
                  <a:gd name="connsiteY202" fmla="*/ 53818 h 166640"/>
                  <a:gd name="connsiteX203" fmla="*/ 83653 w 166640"/>
                  <a:gd name="connsiteY203" fmla="*/ 54188 h 166640"/>
                  <a:gd name="connsiteX204" fmla="*/ 74206 w 166640"/>
                  <a:gd name="connsiteY204" fmla="*/ 53954 h 166640"/>
                  <a:gd name="connsiteX205" fmla="*/ 71923 w 166640"/>
                  <a:gd name="connsiteY205" fmla="*/ 78683 h 166640"/>
                  <a:gd name="connsiteX206" fmla="*/ 97836 w 166640"/>
                  <a:gd name="connsiteY206" fmla="*/ 78683 h 166640"/>
                  <a:gd name="connsiteX207" fmla="*/ 95534 w 166640"/>
                  <a:gd name="connsiteY207" fmla="*/ 53818 h 166640"/>
                  <a:gd name="connsiteX208" fmla="*/ 95534 w 166640"/>
                  <a:gd name="connsiteY208" fmla="*/ 53818 h 166640"/>
                  <a:gd name="connsiteX209" fmla="*/ 71924 w 166640"/>
                  <a:gd name="connsiteY209" fmla="*/ 88995 h 166640"/>
                  <a:gd name="connsiteX210" fmla="*/ 71924 w 166640"/>
                  <a:gd name="connsiteY210" fmla="*/ 88995 h 166640"/>
                  <a:gd name="connsiteX211" fmla="*/ 73618 w 166640"/>
                  <a:gd name="connsiteY211" fmla="*/ 109784 h 166640"/>
                  <a:gd name="connsiteX212" fmla="*/ 83654 w 166640"/>
                  <a:gd name="connsiteY212" fmla="*/ 109523 h 166640"/>
                  <a:gd name="connsiteX213" fmla="*/ 96124 w 166640"/>
                  <a:gd name="connsiteY213" fmla="*/ 109928 h 166640"/>
                  <a:gd name="connsiteX214" fmla="*/ 97838 w 166640"/>
                  <a:gd name="connsiteY214" fmla="*/ 88996 h 166640"/>
                  <a:gd name="connsiteX215" fmla="*/ 71924 w 166640"/>
                  <a:gd name="connsiteY215" fmla="*/ 88995 h 166640"/>
                  <a:gd name="connsiteX216" fmla="*/ 71924 w 166640"/>
                  <a:gd name="connsiteY216" fmla="*/ 88995 h 166640"/>
                  <a:gd name="connsiteX217" fmla="*/ 75309 w 166640"/>
                  <a:gd name="connsiteY217" fmla="*/ 119909 h 166640"/>
                  <a:gd name="connsiteX218" fmla="*/ 75309 w 166640"/>
                  <a:gd name="connsiteY218" fmla="*/ 119909 h 166640"/>
                  <a:gd name="connsiteX219" fmla="*/ 84881 w 166640"/>
                  <a:gd name="connsiteY219" fmla="*/ 151668 h 166640"/>
                  <a:gd name="connsiteX220" fmla="*/ 94427 w 166640"/>
                  <a:gd name="connsiteY220" fmla="*/ 120029 h 166640"/>
                  <a:gd name="connsiteX221" fmla="*/ 83652 w 166640"/>
                  <a:gd name="connsiteY221" fmla="*/ 119725 h 166640"/>
                  <a:gd name="connsiteX222" fmla="*/ 75309 w 166640"/>
                  <a:gd name="connsiteY222" fmla="*/ 119909 h 166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Lst>
                <a:rect l="l" t="t" r="r" b="b"/>
                <a:pathLst>
                  <a:path w="166640" h="166640">
                    <a:moveTo>
                      <a:pt x="83840" y="87"/>
                    </a:moveTo>
                    <a:cubicBezTo>
                      <a:pt x="89215" y="87"/>
                      <a:pt x="94468" y="600"/>
                      <a:pt x="99563" y="1565"/>
                    </a:cubicBezTo>
                    <a:lnTo>
                      <a:pt x="99921" y="1635"/>
                    </a:lnTo>
                    <a:cubicBezTo>
                      <a:pt x="100473" y="1743"/>
                      <a:pt x="101022" y="1856"/>
                      <a:pt x="101567" y="1971"/>
                    </a:cubicBezTo>
                    <a:lnTo>
                      <a:pt x="101710" y="2001"/>
                    </a:lnTo>
                    <a:lnTo>
                      <a:pt x="102066" y="2081"/>
                    </a:lnTo>
                    <a:cubicBezTo>
                      <a:pt x="102541" y="2185"/>
                      <a:pt x="103013" y="2295"/>
                      <a:pt x="103483" y="2408"/>
                    </a:cubicBezTo>
                    <a:lnTo>
                      <a:pt x="103837" y="2493"/>
                    </a:lnTo>
                    <a:cubicBezTo>
                      <a:pt x="104423" y="2638"/>
                      <a:pt x="105010" y="2788"/>
                      <a:pt x="105591" y="2945"/>
                    </a:cubicBezTo>
                    <a:lnTo>
                      <a:pt x="105940" y="3040"/>
                    </a:lnTo>
                    <a:cubicBezTo>
                      <a:pt x="106522" y="3199"/>
                      <a:pt x="107103" y="3361"/>
                      <a:pt x="107679" y="3534"/>
                    </a:cubicBezTo>
                    <a:lnTo>
                      <a:pt x="108024" y="3638"/>
                    </a:lnTo>
                    <a:cubicBezTo>
                      <a:pt x="108485" y="3776"/>
                      <a:pt x="108942" y="3917"/>
                      <a:pt x="109399" y="4063"/>
                    </a:cubicBezTo>
                    <a:lnTo>
                      <a:pt x="109742" y="4174"/>
                    </a:lnTo>
                    <a:lnTo>
                      <a:pt x="110083" y="4285"/>
                    </a:lnTo>
                    <a:cubicBezTo>
                      <a:pt x="110538" y="4437"/>
                      <a:pt x="110991" y="4592"/>
                      <a:pt x="111444" y="4750"/>
                    </a:cubicBezTo>
                    <a:lnTo>
                      <a:pt x="111782" y="4867"/>
                    </a:lnTo>
                    <a:lnTo>
                      <a:pt x="111858" y="4896"/>
                    </a:lnTo>
                    <a:cubicBezTo>
                      <a:pt x="112396" y="5088"/>
                      <a:pt x="112931" y="5281"/>
                      <a:pt x="113462" y="5482"/>
                    </a:cubicBezTo>
                    <a:lnTo>
                      <a:pt x="113463" y="5483"/>
                    </a:lnTo>
                    <a:lnTo>
                      <a:pt x="113799" y="5612"/>
                    </a:lnTo>
                    <a:lnTo>
                      <a:pt x="113815" y="5618"/>
                    </a:lnTo>
                    <a:cubicBezTo>
                      <a:pt x="114316" y="5811"/>
                      <a:pt x="114815" y="6008"/>
                      <a:pt x="115315" y="6209"/>
                    </a:cubicBezTo>
                    <a:lnTo>
                      <a:pt x="115462" y="6270"/>
                    </a:lnTo>
                    <a:lnTo>
                      <a:pt x="115792" y="6406"/>
                    </a:lnTo>
                    <a:cubicBezTo>
                      <a:pt x="116222" y="6584"/>
                      <a:pt x="116652" y="6766"/>
                      <a:pt x="117082" y="6950"/>
                    </a:cubicBezTo>
                    <a:lnTo>
                      <a:pt x="117107" y="6962"/>
                    </a:lnTo>
                    <a:lnTo>
                      <a:pt x="117432" y="7104"/>
                    </a:lnTo>
                    <a:lnTo>
                      <a:pt x="117757" y="7248"/>
                    </a:lnTo>
                    <a:cubicBezTo>
                      <a:pt x="118168" y="7431"/>
                      <a:pt x="118578" y="7617"/>
                      <a:pt x="118984" y="7804"/>
                    </a:cubicBezTo>
                    <a:lnTo>
                      <a:pt x="119056" y="7837"/>
                    </a:lnTo>
                    <a:lnTo>
                      <a:pt x="119379" y="7988"/>
                    </a:lnTo>
                    <a:cubicBezTo>
                      <a:pt x="119909" y="8240"/>
                      <a:pt x="120438" y="8493"/>
                      <a:pt x="120963" y="8753"/>
                    </a:cubicBezTo>
                    <a:lnTo>
                      <a:pt x="120981" y="8760"/>
                    </a:lnTo>
                    <a:lnTo>
                      <a:pt x="121299" y="8920"/>
                    </a:lnTo>
                    <a:cubicBezTo>
                      <a:pt x="148743" y="22667"/>
                      <a:pt x="167587" y="51053"/>
                      <a:pt x="167587" y="83840"/>
                    </a:cubicBezTo>
                    <a:cubicBezTo>
                      <a:pt x="167587" y="116632"/>
                      <a:pt x="148745" y="145014"/>
                      <a:pt x="121299" y="158764"/>
                    </a:cubicBezTo>
                    <a:lnTo>
                      <a:pt x="120981" y="158921"/>
                    </a:lnTo>
                    <a:lnTo>
                      <a:pt x="120963" y="158930"/>
                    </a:lnTo>
                    <a:cubicBezTo>
                      <a:pt x="120439" y="159190"/>
                      <a:pt x="119909" y="159446"/>
                      <a:pt x="119379" y="159694"/>
                    </a:cubicBezTo>
                    <a:lnTo>
                      <a:pt x="119056" y="159845"/>
                    </a:lnTo>
                    <a:lnTo>
                      <a:pt x="118984" y="159881"/>
                    </a:lnTo>
                    <a:cubicBezTo>
                      <a:pt x="118579" y="160068"/>
                      <a:pt x="118169" y="160251"/>
                      <a:pt x="117757" y="160433"/>
                    </a:cubicBezTo>
                    <a:lnTo>
                      <a:pt x="117432" y="160577"/>
                    </a:lnTo>
                    <a:lnTo>
                      <a:pt x="117107" y="160721"/>
                    </a:lnTo>
                    <a:lnTo>
                      <a:pt x="117082" y="160733"/>
                    </a:lnTo>
                    <a:cubicBezTo>
                      <a:pt x="116654" y="160919"/>
                      <a:pt x="116223" y="161099"/>
                      <a:pt x="115792" y="161277"/>
                    </a:cubicBezTo>
                    <a:lnTo>
                      <a:pt x="115462" y="161414"/>
                    </a:lnTo>
                    <a:lnTo>
                      <a:pt x="115315" y="161474"/>
                    </a:lnTo>
                    <a:cubicBezTo>
                      <a:pt x="114815" y="161675"/>
                      <a:pt x="114316" y="161872"/>
                      <a:pt x="113815" y="162064"/>
                    </a:cubicBezTo>
                    <a:lnTo>
                      <a:pt x="113799" y="162073"/>
                    </a:lnTo>
                    <a:lnTo>
                      <a:pt x="113463" y="162198"/>
                    </a:lnTo>
                    <a:lnTo>
                      <a:pt x="113462" y="162199"/>
                    </a:lnTo>
                    <a:cubicBezTo>
                      <a:pt x="112932" y="162400"/>
                      <a:pt x="112397" y="162597"/>
                      <a:pt x="111858" y="162786"/>
                    </a:cubicBezTo>
                    <a:lnTo>
                      <a:pt x="111782" y="162814"/>
                    </a:lnTo>
                    <a:lnTo>
                      <a:pt x="111444" y="162932"/>
                    </a:lnTo>
                    <a:cubicBezTo>
                      <a:pt x="110991" y="163091"/>
                      <a:pt x="110538" y="163244"/>
                      <a:pt x="110083" y="163393"/>
                    </a:cubicBezTo>
                    <a:lnTo>
                      <a:pt x="109742" y="163505"/>
                    </a:lnTo>
                    <a:lnTo>
                      <a:pt x="109399" y="163616"/>
                    </a:lnTo>
                    <a:cubicBezTo>
                      <a:pt x="108941" y="163766"/>
                      <a:pt x="108485" y="163904"/>
                      <a:pt x="108024" y="164044"/>
                    </a:cubicBezTo>
                    <a:lnTo>
                      <a:pt x="107679" y="164147"/>
                    </a:lnTo>
                    <a:cubicBezTo>
                      <a:pt x="107103" y="164319"/>
                      <a:pt x="106521" y="164481"/>
                      <a:pt x="105940" y="164640"/>
                    </a:cubicBezTo>
                    <a:lnTo>
                      <a:pt x="105591" y="164737"/>
                    </a:lnTo>
                    <a:cubicBezTo>
                      <a:pt x="105009" y="164894"/>
                      <a:pt x="104423" y="165041"/>
                      <a:pt x="103837" y="165188"/>
                    </a:cubicBezTo>
                    <a:lnTo>
                      <a:pt x="103483" y="165272"/>
                    </a:lnTo>
                    <a:cubicBezTo>
                      <a:pt x="103013" y="165387"/>
                      <a:pt x="102541" y="165494"/>
                      <a:pt x="102066" y="165601"/>
                    </a:cubicBezTo>
                    <a:lnTo>
                      <a:pt x="101710" y="165677"/>
                    </a:lnTo>
                    <a:lnTo>
                      <a:pt x="101567" y="165709"/>
                    </a:lnTo>
                    <a:cubicBezTo>
                      <a:pt x="101023" y="165828"/>
                      <a:pt x="100474" y="165940"/>
                      <a:pt x="99921" y="166047"/>
                    </a:cubicBezTo>
                    <a:lnTo>
                      <a:pt x="99563" y="166115"/>
                    </a:lnTo>
                    <a:cubicBezTo>
                      <a:pt x="94468" y="167084"/>
                      <a:pt x="89215" y="167594"/>
                      <a:pt x="83840" y="167594"/>
                    </a:cubicBezTo>
                    <a:cubicBezTo>
                      <a:pt x="79821" y="167594"/>
                      <a:pt x="75873" y="167305"/>
                      <a:pt x="72004" y="166758"/>
                    </a:cubicBezTo>
                    <a:lnTo>
                      <a:pt x="72003" y="166758"/>
                    </a:lnTo>
                    <a:lnTo>
                      <a:pt x="71975" y="166754"/>
                    </a:lnTo>
                    <a:cubicBezTo>
                      <a:pt x="70690" y="166572"/>
                      <a:pt x="69422" y="166361"/>
                      <a:pt x="68158" y="166121"/>
                    </a:cubicBezTo>
                    <a:lnTo>
                      <a:pt x="67680" y="166031"/>
                    </a:lnTo>
                    <a:cubicBezTo>
                      <a:pt x="67205" y="165936"/>
                      <a:pt x="66732" y="165840"/>
                      <a:pt x="66259" y="165738"/>
                    </a:cubicBezTo>
                    <a:lnTo>
                      <a:pt x="65786" y="165637"/>
                    </a:lnTo>
                    <a:lnTo>
                      <a:pt x="65747" y="165627"/>
                    </a:lnTo>
                    <a:cubicBezTo>
                      <a:pt x="62483" y="164908"/>
                      <a:pt x="59286" y="164000"/>
                      <a:pt x="56175" y="162910"/>
                    </a:cubicBezTo>
                    <a:lnTo>
                      <a:pt x="56105" y="162887"/>
                    </a:lnTo>
                    <a:lnTo>
                      <a:pt x="55659" y="162728"/>
                    </a:lnTo>
                    <a:cubicBezTo>
                      <a:pt x="55211" y="162565"/>
                      <a:pt x="54762" y="162405"/>
                      <a:pt x="54320" y="162236"/>
                    </a:cubicBezTo>
                    <a:lnTo>
                      <a:pt x="53875" y="162069"/>
                    </a:lnTo>
                    <a:cubicBezTo>
                      <a:pt x="22418" y="150010"/>
                      <a:pt x="87" y="119536"/>
                      <a:pt x="87" y="83839"/>
                    </a:cubicBezTo>
                    <a:cubicBezTo>
                      <a:pt x="87" y="48145"/>
                      <a:pt x="22420" y="17670"/>
                      <a:pt x="53875" y="5613"/>
                    </a:cubicBezTo>
                    <a:lnTo>
                      <a:pt x="54320" y="5446"/>
                    </a:lnTo>
                    <a:cubicBezTo>
                      <a:pt x="54760" y="5279"/>
                      <a:pt x="55210" y="5113"/>
                      <a:pt x="55659" y="4954"/>
                    </a:cubicBezTo>
                    <a:lnTo>
                      <a:pt x="56105" y="4795"/>
                    </a:lnTo>
                    <a:lnTo>
                      <a:pt x="56175" y="4771"/>
                    </a:lnTo>
                    <a:cubicBezTo>
                      <a:pt x="59286" y="3682"/>
                      <a:pt x="62483" y="2773"/>
                      <a:pt x="65747" y="2051"/>
                    </a:cubicBezTo>
                    <a:lnTo>
                      <a:pt x="65786" y="2044"/>
                    </a:lnTo>
                    <a:lnTo>
                      <a:pt x="66259" y="1942"/>
                    </a:lnTo>
                    <a:cubicBezTo>
                      <a:pt x="66732" y="1840"/>
                      <a:pt x="67205" y="1744"/>
                      <a:pt x="67680" y="1653"/>
                    </a:cubicBezTo>
                    <a:lnTo>
                      <a:pt x="68158" y="1559"/>
                    </a:lnTo>
                    <a:cubicBezTo>
                      <a:pt x="69421" y="1318"/>
                      <a:pt x="70693" y="1112"/>
                      <a:pt x="71975" y="927"/>
                    </a:cubicBezTo>
                    <a:lnTo>
                      <a:pt x="72003" y="925"/>
                    </a:lnTo>
                    <a:lnTo>
                      <a:pt x="72004" y="925"/>
                    </a:lnTo>
                    <a:cubicBezTo>
                      <a:pt x="75870" y="376"/>
                      <a:pt x="79822" y="87"/>
                      <a:pt x="83840" y="87"/>
                    </a:cubicBezTo>
                    <a:lnTo>
                      <a:pt x="83840" y="87"/>
                    </a:lnTo>
                    <a:close/>
                    <a:moveTo>
                      <a:pt x="72224" y="22233"/>
                    </a:moveTo>
                    <a:lnTo>
                      <a:pt x="72224" y="22233"/>
                    </a:lnTo>
                    <a:cubicBezTo>
                      <a:pt x="64762" y="27458"/>
                      <a:pt x="58295" y="34004"/>
                      <a:pt x="53161" y="41533"/>
                    </a:cubicBezTo>
                    <a:cubicBezTo>
                      <a:pt x="57383" y="42225"/>
                      <a:pt x="61691" y="42776"/>
                      <a:pt x="66073" y="43179"/>
                    </a:cubicBezTo>
                    <a:cubicBezTo>
                      <a:pt x="67707" y="35879"/>
                      <a:pt x="69774" y="28875"/>
                      <a:pt x="72224" y="22233"/>
                    </a:cubicBezTo>
                    <a:close/>
                    <a:moveTo>
                      <a:pt x="44042" y="39795"/>
                    </a:moveTo>
                    <a:lnTo>
                      <a:pt x="44042" y="39795"/>
                    </a:lnTo>
                    <a:cubicBezTo>
                      <a:pt x="51712" y="27420"/>
                      <a:pt x="62517" y="17189"/>
                      <a:pt x="75350" y="10213"/>
                    </a:cubicBezTo>
                    <a:cubicBezTo>
                      <a:pt x="74246" y="9987"/>
                      <a:pt x="73134" y="9786"/>
                      <a:pt x="72011" y="9608"/>
                    </a:cubicBezTo>
                    <a:cubicBezTo>
                      <a:pt x="53957" y="12463"/>
                      <a:pt x="38044" y="21748"/>
                      <a:pt x="26682" y="35036"/>
                    </a:cubicBezTo>
                    <a:cubicBezTo>
                      <a:pt x="32250" y="36896"/>
                      <a:pt x="38049" y="38487"/>
                      <a:pt x="44042" y="39795"/>
                    </a:cubicBezTo>
                    <a:close/>
                    <a:moveTo>
                      <a:pt x="20672" y="43101"/>
                    </a:moveTo>
                    <a:lnTo>
                      <a:pt x="20672" y="43101"/>
                    </a:lnTo>
                    <a:cubicBezTo>
                      <a:pt x="13961" y="53484"/>
                      <a:pt x="9738" y="65627"/>
                      <a:pt x="8854" y="78683"/>
                    </a:cubicBezTo>
                    <a:lnTo>
                      <a:pt x="31693" y="78683"/>
                    </a:lnTo>
                    <a:cubicBezTo>
                      <a:pt x="32337" y="68093"/>
                      <a:pt x="34948" y="58033"/>
                      <a:pt x="39168" y="48867"/>
                    </a:cubicBezTo>
                    <a:cubicBezTo>
                      <a:pt x="32740" y="47270"/>
                      <a:pt x="26560" y="45338"/>
                      <a:pt x="20672" y="43101"/>
                    </a:cubicBezTo>
                    <a:lnTo>
                      <a:pt x="20672" y="43101"/>
                    </a:lnTo>
                    <a:close/>
                    <a:moveTo>
                      <a:pt x="47774" y="50774"/>
                    </a:moveTo>
                    <a:lnTo>
                      <a:pt x="47774" y="50774"/>
                    </a:lnTo>
                    <a:cubicBezTo>
                      <a:pt x="43592" y="59295"/>
                      <a:pt x="40978" y="68723"/>
                      <a:pt x="40303" y="78684"/>
                    </a:cubicBezTo>
                    <a:lnTo>
                      <a:pt x="61722" y="78684"/>
                    </a:lnTo>
                    <a:cubicBezTo>
                      <a:pt x="61956" y="69931"/>
                      <a:pt x="62777" y="61408"/>
                      <a:pt x="64127" y="53197"/>
                    </a:cubicBezTo>
                    <a:cubicBezTo>
                      <a:pt x="58548" y="52625"/>
                      <a:pt x="53088" y="51813"/>
                      <a:pt x="47774" y="50774"/>
                    </a:cubicBezTo>
                    <a:close/>
                    <a:moveTo>
                      <a:pt x="61721" y="88995"/>
                    </a:moveTo>
                    <a:lnTo>
                      <a:pt x="61721" y="88995"/>
                    </a:lnTo>
                    <a:lnTo>
                      <a:pt x="40303" y="88995"/>
                    </a:lnTo>
                    <a:cubicBezTo>
                      <a:pt x="40882" y="97562"/>
                      <a:pt x="42899" y="105734"/>
                      <a:pt x="46112" y="113273"/>
                    </a:cubicBezTo>
                    <a:cubicBezTo>
                      <a:pt x="51761" y="112113"/>
                      <a:pt x="57576" y="111208"/>
                      <a:pt x="63527" y="110580"/>
                    </a:cubicBezTo>
                    <a:cubicBezTo>
                      <a:pt x="62532" y="103583"/>
                      <a:pt x="61919" y="96369"/>
                      <a:pt x="61721" y="88995"/>
                    </a:cubicBezTo>
                    <a:lnTo>
                      <a:pt x="61721" y="88995"/>
                    </a:lnTo>
                    <a:close/>
                    <a:moveTo>
                      <a:pt x="37621" y="115238"/>
                    </a:moveTo>
                    <a:lnTo>
                      <a:pt x="37621" y="115238"/>
                    </a:lnTo>
                    <a:cubicBezTo>
                      <a:pt x="34310" y="107053"/>
                      <a:pt x="32252" y="98228"/>
                      <a:pt x="31693" y="88995"/>
                    </a:cubicBezTo>
                    <a:lnTo>
                      <a:pt x="8854" y="88995"/>
                    </a:lnTo>
                    <a:cubicBezTo>
                      <a:pt x="9649" y="100731"/>
                      <a:pt x="13140" y="111727"/>
                      <a:pt x="18712" y="121372"/>
                    </a:cubicBezTo>
                    <a:cubicBezTo>
                      <a:pt x="24712" y="118995"/>
                      <a:pt x="31034" y="116941"/>
                      <a:pt x="37621" y="115238"/>
                    </a:cubicBezTo>
                    <a:lnTo>
                      <a:pt x="37621" y="115238"/>
                    </a:lnTo>
                    <a:close/>
                    <a:moveTo>
                      <a:pt x="24163" y="129531"/>
                    </a:moveTo>
                    <a:lnTo>
                      <a:pt x="24163" y="129531"/>
                    </a:lnTo>
                    <a:cubicBezTo>
                      <a:pt x="35627" y="144482"/>
                      <a:pt x="52580" y="155002"/>
                      <a:pt x="72010" y="158074"/>
                    </a:cubicBezTo>
                    <a:cubicBezTo>
                      <a:pt x="73134" y="157895"/>
                      <a:pt x="74246" y="157695"/>
                      <a:pt x="75349" y="157468"/>
                    </a:cubicBezTo>
                    <a:cubicBezTo>
                      <a:pt x="61322" y="149845"/>
                      <a:pt x="49715" y="138330"/>
                      <a:pt x="41981" y="124372"/>
                    </a:cubicBezTo>
                    <a:cubicBezTo>
                      <a:pt x="35814" y="125796"/>
                      <a:pt x="29859" y="127524"/>
                      <a:pt x="24163" y="129531"/>
                    </a:cubicBezTo>
                    <a:lnTo>
                      <a:pt x="24163" y="129531"/>
                    </a:lnTo>
                    <a:close/>
                    <a:moveTo>
                      <a:pt x="50861" y="122565"/>
                    </a:moveTo>
                    <a:lnTo>
                      <a:pt x="50861" y="122565"/>
                    </a:lnTo>
                    <a:cubicBezTo>
                      <a:pt x="56307" y="131606"/>
                      <a:pt x="63600" y="139410"/>
                      <a:pt x="72223" y="145450"/>
                    </a:cubicBezTo>
                    <a:cubicBezTo>
                      <a:pt x="69340" y="137636"/>
                      <a:pt x="66990" y="129316"/>
                      <a:pt x="65244" y="120606"/>
                    </a:cubicBezTo>
                    <a:cubicBezTo>
                      <a:pt x="60353" y="121078"/>
                      <a:pt x="55554" y="121733"/>
                      <a:pt x="50861" y="122565"/>
                    </a:cubicBezTo>
                    <a:close/>
                    <a:moveTo>
                      <a:pt x="95752" y="150057"/>
                    </a:moveTo>
                    <a:lnTo>
                      <a:pt x="95752" y="150057"/>
                    </a:lnTo>
                    <a:cubicBezTo>
                      <a:pt x="107157" y="143915"/>
                      <a:pt x="116792" y="134912"/>
                      <a:pt x="123699" y="124007"/>
                    </a:cubicBezTo>
                    <a:cubicBezTo>
                      <a:pt x="117486" y="122639"/>
                      <a:pt x="111063" y="121578"/>
                      <a:pt x="104467" y="120857"/>
                    </a:cubicBezTo>
                    <a:cubicBezTo>
                      <a:pt x="102376" y="131211"/>
                      <a:pt x="99431" y="141004"/>
                      <a:pt x="95752" y="150057"/>
                    </a:cubicBezTo>
                    <a:close/>
                    <a:moveTo>
                      <a:pt x="132437" y="126178"/>
                    </a:moveTo>
                    <a:lnTo>
                      <a:pt x="132437" y="126178"/>
                    </a:lnTo>
                    <a:cubicBezTo>
                      <a:pt x="124854" y="139091"/>
                      <a:pt x="113911" y="149793"/>
                      <a:pt x="100801" y="157081"/>
                    </a:cubicBezTo>
                    <a:cubicBezTo>
                      <a:pt x="118034" y="153107"/>
                      <a:pt x="132998" y="143206"/>
                      <a:pt x="143439" y="129641"/>
                    </a:cubicBezTo>
                    <a:cubicBezTo>
                      <a:pt x="139867" y="128374"/>
                      <a:pt x="136199" y="127219"/>
                      <a:pt x="132437" y="126178"/>
                    </a:cubicBezTo>
                    <a:close/>
                    <a:moveTo>
                      <a:pt x="148904" y="121488"/>
                    </a:moveTo>
                    <a:lnTo>
                      <a:pt x="148904" y="121488"/>
                    </a:lnTo>
                    <a:cubicBezTo>
                      <a:pt x="154513" y="111818"/>
                      <a:pt x="158028" y="100779"/>
                      <a:pt x="158828" y="88995"/>
                    </a:cubicBezTo>
                    <a:lnTo>
                      <a:pt x="143761" y="88995"/>
                    </a:lnTo>
                    <a:cubicBezTo>
                      <a:pt x="143151" y="99004"/>
                      <a:pt x="140787" y="108537"/>
                      <a:pt x="136968" y="117292"/>
                    </a:cubicBezTo>
                    <a:cubicBezTo>
                      <a:pt x="141068" y="118552"/>
                      <a:pt x="145051" y="119955"/>
                      <a:pt x="148904" y="121488"/>
                    </a:cubicBezTo>
                    <a:lnTo>
                      <a:pt x="148904" y="121488"/>
                    </a:lnTo>
                    <a:close/>
                    <a:moveTo>
                      <a:pt x="128601" y="114957"/>
                    </a:moveTo>
                    <a:lnTo>
                      <a:pt x="128601" y="114957"/>
                    </a:lnTo>
                    <a:cubicBezTo>
                      <a:pt x="132245" y="106957"/>
                      <a:pt x="134528" y="98204"/>
                      <a:pt x="135150" y="88995"/>
                    </a:cubicBezTo>
                    <a:lnTo>
                      <a:pt x="108039" y="88995"/>
                    </a:lnTo>
                    <a:cubicBezTo>
                      <a:pt x="107841" y="96464"/>
                      <a:pt x="107215" y="103767"/>
                      <a:pt x="106197" y="110849"/>
                    </a:cubicBezTo>
                    <a:cubicBezTo>
                      <a:pt x="113928" y="111766"/>
                      <a:pt x="121420" y="113153"/>
                      <a:pt x="128601" y="114957"/>
                    </a:cubicBezTo>
                    <a:close/>
                    <a:moveTo>
                      <a:pt x="108038" y="78683"/>
                    </a:moveTo>
                    <a:lnTo>
                      <a:pt x="108038" y="78683"/>
                    </a:lnTo>
                    <a:lnTo>
                      <a:pt x="135149" y="78683"/>
                    </a:lnTo>
                    <a:cubicBezTo>
                      <a:pt x="134433" y="68097"/>
                      <a:pt x="131522" y="58107"/>
                      <a:pt x="126869" y="49174"/>
                    </a:cubicBezTo>
                    <a:cubicBezTo>
                      <a:pt x="120031" y="50819"/>
                      <a:pt x="112917" y="52084"/>
                      <a:pt x="105590" y="52928"/>
                    </a:cubicBezTo>
                    <a:cubicBezTo>
                      <a:pt x="106969" y="61224"/>
                      <a:pt x="107803" y="69836"/>
                      <a:pt x="108038" y="78683"/>
                    </a:cubicBezTo>
                    <a:close/>
                    <a:moveTo>
                      <a:pt x="135346" y="46905"/>
                    </a:moveTo>
                    <a:lnTo>
                      <a:pt x="135346" y="46905"/>
                    </a:lnTo>
                    <a:cubicBezTo>
                      <a:pt x="140116" y="56589"/>
                      <a:pt x="143071" y="67330"/>
                      <a:pt x="143759" y="78683"/>
                    </a:cubicBezTo>
                    <a:lnTo>
                      <a:pt x="158825" y="78683"/>
                    </a:lnTo>
                    <a:cubicBezTo>
                      <a:pt x="157937" y="65577"/>
                      <a:pt x="153688" y="53395"/>
                      <a:pt x="146935" y="42984"/>
                    </a:cubicBezTo>
                    <a:cubicBezTo>
                      <a:pt x="143191" y="44416"/>
                      <a:pt x="139323" y="45727"/>
                      <a:pt x="135346" y="46905"/>
                    </a:cubicBezTo>
                    <a:close/>
                    <a:moveTo>
                      <a:pt x="140921" y="34940"/>
                    </a:moveTo>
                    <a:lnTo>
                      <a:pt x="140921" y="34940"/>
                    </a:lnTo>
                    <a:cubicBezTo>
                      <a:pt x="130656" y="22971"/>
                      <a:pt x="116691" y="14265"/>
                      <a:pt x="100800" y="10601"/>
                    </a:cubicBezTo>
                    <a:cubicBezTo>
                      <a:pt x="112738" y="17236"/>
                      <a:pt x="122884" y="26707"/>
                      <a:pt x="130327" y="38101"/>
                    </a:cubicBezTo>
                    <a:cubicBezTo>
                      <a:pt x="133943" y="37152"/>
                      <a:pt x="137477" y="36096"/>
                      <a:pt x="140921" y="34940"/>
                    </a:cubicBezTo>
                    <a:close/>
                    <a:moveTo>
                      <a:pt x="121366" y="40199"/>
                    </a:moveTo>
                    <a:lnTo>
                      <a:pt x="121366" y="40199"/>
                    </a:lnTo>
                    <a:cubicBezTo>
                      <a:pt x="114689" y="30850"/>
                      <a:pt x="105924" y="23102"/>
                      <a:pt x="95752" y="17624"/>
                    </a:cubicBezTo>
                    <a:cubicBezTo>
                      <a:pt x="98966" y="25535"/>
                      <a:pt x="101621" y="34016"/>
                      <a:pt x="103635" y="42942"/>
                    </a:cubicBezTo>
                    <a:cubicBezTo>
                      <a:pt x="109702" y="42307"/>
                      <a:pt x="115618" y="41384"/>
                      <a:pt x="121366" y="40199"/>
                    </a:cubicBezTo>
                    <a:close/>
                    <a:moveTo>
                      <a:pt x="76129" y="43834"/>
                    </a:moveTo>
                    <a:lnTo>
                      <a:pt x="76129" y="43834"/>
                    </a:lnTo>
                    <a:cubicBezTo>
                      <a:pt x="78617" y="43931"/>
                      <a:pt x="81127" y="43985"/>
                      <a:pt x="83653" y="43985"/>
                    </a:cubicBezTo>
                    <a:cubicBezTo>
                      <a:pt x="87005" y="43985"/>
                      <a:pt x="90326" y="43899"/>
                      <a:pt x="93610" y="43725"/>
                    </a:cubicBezTo>
                    <a:cubicBezTo>
                      <a:pt x="91439" y="33902"/>
                      <a:pt x="88493" y="24609"/>
                      <a:pt x="84882" y="16011"/>
                    </a:cubicBezTo>
                    <a:cubicBezTo>
                      <a:pt x="81255" y="24643"/>
                      <a:pt x="78302" y="33969"/>
                      <a:pt x="76129" y="43834"/>
                    </a:cubicBezTo>
                    <a:close/>
                    <a:moveTo>
                      <a:pt x="95534" y="53818"/>
                    </a:moveTo>
                    <a:lnTo>
                      <a:pt x="95534" y="53818"/>
                    </a:lnTo>
                    <a:cubicBezTo>
                      <a:pt x="91620" y="54059"/>
                      <a:pt x="87659" y="54188"/>
                      <a:pt x="83653" y="54188"/>
                    </a:cubicBezTo>
                    <a:cubicBezTo>
                      <a:pt x="80475" y="54188"/>
                      <a:pt x="77324" y="54106"/>
                      <a:pt x="74206" y="53954"/>
                    </a:cubicBezTo>
                    <a:cubicBezTo>
                      <a:pt x="72927" y="61929"/>
                      <a:pt x="72150" y="70200"/>
                      <a:pt x="71923" y="78683"/>
                    </a:cubicBezTo>
                    <a:lnTo>
                      <a:pt x="97836" y="78683"/>
                    </a:lnTo>
                    <a:cubicBezTo>
                      <a:pt x="97611" y="70153"/>
                      <a:pt x="96822" y="61836"/>
                      <a:pt x="95534" y="53818"/>
                    </a:cubicBezTo>
                    <a:lnTo>
                      <a:pt x="95534" y="53818"/>
                    </a:lnTo>
                    <a:close/>
                    <a:moveTo>
                      <a:pt x="71924" y="88995"/>
                    </a:moveTo>
                    <a:lnTo>
                      <a:pt x="71924" y="88995"/>
                    </a:lnTo>
                    <a:cubicBezTo>
                      <a:pt x="72112" y="96089"/>
                      <a:pt x="72687" y="103036"/>
                      <a:pt x="73618" y="109784"/>
                    </a:cubicBezTo>
                    <a:cubicBezTo>
                      <a:pt x="76929" y="109611"/>
                      <a:pt x="80277" y="109523"/>
                      <a:pt x="83654" y="109523"/>
                    </a:cubicBezTo>
                    <a:cubicBezTo>
                      <a:pt x="87863" y="109523"/>
                      <a:pt x="92019" y="109665"/>
                      <a:pt x="96124" y="109928"/>
                    </a:cubicBezTo>
                    <a:cubicBezTo>
                      <a:pt x="97066" y="103136"/>
                      <a:pt x="97648" y="96141"/>
                      <a:pt x="97838" y="88996"/>
                    </a:cubicBezTo>
                    <a:lnTo>
                      <a:pt x="71924" y="88995"/>
                    </a:lnTo>
                    <a:lnTo>
                      <a:pt x="71924" y="88995"/>
                    </a:lnTo>
                    <a:close/>
                    <a:moveTo>
                      <a:pt x="75309" y="119909"/>
                    </a:moveTo>
                    <a:lnTo>
                      <a:pt x="75309" y="119909"/>
                    </a:lnTo>
                    <a:cubicBezTo>
                      <a:pt x="77532" y="131232"/>
                      <a:pt x="80776" y="141900"/>
                      <a:pt x="84881" y="151668"/>
                    </a:cubicBezTo>
                    <a:cubicBezTo>
                      <a:pt x="88970" y="141931"/>
                      <a:pt x="92205" y="131309"/>
                      <a:pt x="94427" y="120029"/>
                    </a:cubicBezTo>
                    <a:cubicBezTo>
                      <a:pt x="90875" y="119829"/>
                      <a:pt x="87282" y="119725"/>
                      <a:pt x="83652" y="119725"/>
                    </a:cubicBezTo>
                    <a:cubicBezTo>
                      <a:pt x="80847" y="119725"/>
                      <a:pt x="78068" y="119790"/>
                      <a:pt x="75309" y="119909"/>
                    </a:cubicBezTo>
                    <a:close/>
                  </a:path>
                </a:pathLst>
              </a:custGeom>
              <a:solidFill>
                <a:schemeClr val="accent4"/>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grpSp>
      </p:grpSp>
      <p:sp>
        <p:nvSpPr>
          <p:cNvPr id="250" name="Rectangle 249">
            <a:extLst>
              <a:ext uri="{FF2B5EF4-FFF2-40B4-BE49-F238E27FC236}">
                <a16:creationId xmlns:a16="http://schemas.microsoft.com/office/drawing/2014/main" id="{7B74CA02-9753-4A94-B760-889CF8A884CE}"/>
              </a:ext>
            </a:extLst>
          </p:cNvPr>
          <p:cNvSpPr>
            <a:spLocks/>
          </p:cNvSpPr>
          <p:nvPr/>
        </p:nvSpPr>
        <p:spPr>
          <a:xfrm>
            <a:off x="1125371" y="4443566"/>
            <a:ext cx="2946349" cy="247885"/>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3"/>
              </a:spcAft>
              <a:buClrTx/>
              <a:buSzTx/>
              <a:buFontTx/>
              <a:buNone/>
              <a:tabLst>
                <a:tab pos="2088356" algn="l"/>
              </a:tabLst>
              <a:defRPr/>
            </a:pPr>
            <a:r>
              <a:rPr kumimoji="0" lang="en-GB" sz="1050" b="0" i="0" u="none" strike="noStrike" kern="1200" cap="none" spc="0" normalizeH="0" baseline="0" noProof="0" dirty="0">
                <a:ln>
                  <a:noFill/>
                </a:ln>
                <a:solidFill>
                  <a:prstClr val="black"/>
                </a:solidFill>
                <a:effectLst/>
                <a:uLnTx/>
                <a:uFillTx/>
                <a:latin typeface="Franklin Gothic Book" panose="020B0503020102020204"/>
                <a:ea typeface="+mn-ea"/>
                <a:cs typeface="+mn-cs"/>
              </a:rPr>
              <a:t>Media/ISMPP/MRCT </a:t>
            </a:r>
          </a:p>
        </p:txBody>
      </p:sp>
      <p:grpSp>
        <p:nvGrpSpPr>
          <p:cNvPr id="30" name="Group 29">
            <a:extLst>
              <a:ext uri="{FF2B5EF4-FFF2-40B4-BE49-F238E27FC236}">
                <a16:creationId xmlns:a16="http://schemas.microsoft.com/office/drawing/2014/main" id="{A0CDAB1B-5BD0-4CB5-8201-D0D3E20B7523}"/>
              </a:ext>
            </a:extLst>
          </p:cNvPr>
          <p:cNvGrpSpPr/>
          <p:nvPr/>
        </p:nvGrpSpPr>
        <p:grpSpPr>
          <a:xfrm>
            <a:off x="3695445" y="4498108"/>
            <a:ext cx="608874" cy="138801"/>
            <a:chOff x="-99931" y="3775085"/>
            <a:chExt cx="860470" cy="196156"/>
          </a:xfrm>
        </p:grpSpPr>
        <p:pic>
          <p:nvPicPr>
            <p:cNvPr id="659" name="Graphic 658" descr="Man">
              <a:extLst>
                <a:ext uri="{FF2B5EF4-FFF2-40B4-BE49-F238E27FC236}">
                  <a16:creationId xmlns:a16="http://schemas.microsoft.com/office/drawing/2014/main" id="{43BA351D-6489-42E3-B955-392269F763D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1520" y="3775085"/>
              <a:ext cx="196156" cy="196156"/>
            </a:xfrm>
            <a:prstGeom prst="rect">
              <a:avLst/>
            </a:prstGeom>
          </p:spPr>
        </p:pic>
        <p:pic>
          <p:nvPicPr>
            <p:cNvPr id="660" name="Graphic 659" descr="Woman">
              <a:extLst>
                <a:ext uri="{FF2B5EF4-FFF2-40B4-BE49-F238E27FC236}">
                  <a16:creationId xmlns:a16="http://schemas.microsoft.com/office/drawing/2014/main" id="{18F07FFB-4454-4768-BF26-E2B13DCA0A7C}"/>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8657" y="3775085"/>
              <a:ext cx="196156" cy="196156"/>
            </a:xfrm>
            <a:prstGeom prst="rect">
              <a:avLst/>
            </a:prstGeom>
          </p:spPr>
        </p:pic>
        <p:pic>
          <p:nvPicPr>
            <p:cNvPr id="661" name="Graphic 660" descr="Woman">
              <a:extLst>
                <a:ext uri="{FF2B5EF4-FFF2-40B4-BE49-F238E27FC236}">
                  <a16:creationId xmlns:a16="http://schemas.microsoft.com/office/drawing/2014/main" id="{EDAD2BE1-D779-4D53-85FE-9477DBBF75F2}"/>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5794" y="3775085"/>
              <a:ext cx="196156" cy="196156"/>
            </a:xfrm>
            <a:prstGeom prst="rect">
              <a:avLst/>
            </a:prstGeom>
          </p:spPr>
        </p:pic>
        <p:pic>
          <p:nvPicPr>
            <p:cNvPr id="662" name="Graphic 661" descr="Woman">
              <a:extLst>
                <a:ext uri="{FF2B5EF4-FFF2-40B4-BE49-F238E27FC236}">
                  <a16:creationId xmlns:a16="http://schemas.microsoft.com/office/drawing/2014/main" id="{1F624E2E-5363-46C2-835E-29E63E1DACD9}"/>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2932" y="3775085"/>
              <a:ext cx="196156" cy="196156"/>
            </a:xfrm>
            <a:prstGeom prst="rect">
              <a:avLst/>
            </a:prstGeom>
          </p:spPr>
        </p:pic>
        <p:pic>
          <p:nvPicPr>
            <p:cNvPr id="663" name="Graphic 662" descr="Woman">
              <a:extLst>
                <a:ext uri="{FF2B5EF4-FFF2-40B4-BE49-F238E27FC236}">
                  <a16:creationId xmlns:a16="http://schemas.microsoft.com/office/drawing/2014/main" id="{A2A12091-1E05-48C4-84C4-BF0BEF36AC95}"/>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9931" y="3775085"/>
              <a:ext cx="196156" cy="196156"/>
            </a:xfrm>
            <a:prstGeom prst="rect">
              <a:avLst/>
            </a:prstGeom>
          </p:spPr>
        </p:pic>
        <p:pic>
          <p:nvPicPr>
            <p:cNvPr id="664" name="Graphic 663" descr="Man">
              <a:extLst>
                <a:ext uri="{FF2B5EF4-FFF2-40B4-BE49-F238E27FC236}">
                  <a16:creationId xmlns:a16="http://schemas.microsoft.com/office/drawing/2014/main" id="{634E303E-4086-4DEB-9930-4972B95C268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64383" y="3775085"/>
              <a:ext cx="196156" cy="196156"/>
            </a:xfrm>
            <a:prstGeom prst="rect">
              <a:avLst/>
            </a:prstGeom>
          </p:spPr>
        </p:pic>
      </p:grpSp>
      <p:sp>
        <p:nvSpPr>
          <p:cNvPr id="240" name="Freeform: Shape 239">
            <a:extLst>
              <a:ext uri="{FF2B5EF4-FFF2-40B4-BE49-F238E27FC236}">
                <a16:creationId xmlns:a16="http://schemas.microsoft.com/office/drawing/2014/main" id="{6ED0AC2E-456E-402F-8769-DCA405E1EFE5}"/>
              </a:ext>
            </a:extLst>
          </p:cNvPr>
          <p:cNvSpPr/>
          <p:nvPr/>
        </p:nvSpPr>
        <p:spPr>
          <a:xfrm>
            <a:off x="863227" y="2765560"/>
            <a:ext cx="3527864" cy="346000"/>
          </a:xfrm>
          <a:custGeom>
            <a:avLst/>
            <a:gdLst>
              <a:gd name="connsiteX0" fmla="*/ 0 w 5647615"/>
              <a:gd name="connsiteY0" fmla="*/ 0 h 540000"/>
              <a:gd name="connsiteX1" fmla="*/ 5647615 w 5647615"/>
              <a:gd name="connsiteY1" fmla="*/ 0 h 540000"/>
              <a:gd name="connsiteX2" fmla="*/ 5512615 w 5647615"/>
              <a:gd name="connsiteY2" fmla="*/ 540000 h 540000"/>
              <a:gd name="connsiteX3" fmla="*/ 0 w 5647615"/>
              <a:gd name="connsiteY3" fmla="*/ 540000 h 540000"/>
              <a:gd name="connsiteX4" fmla="*/ 270000 w 5647615"/>
              <a:gd name="connsiteY4" fmla="*/ 270000 h 540000"/>
              <a:gd name="connsiteX5" fmla="*/ 0 w 5647615"/>
              <a:gd name="connsiteY5" fmla="*/ 0 h 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47615" h="540000">
                <a:moveTo>
                  <a:pt x="0" y="0"/>
                </a:moveTo>
                <a:lnTo>
                  <a:pt x="5647615" y="0"/>
                </a:lnTo>
                <a:lnTo>
                  <a:pt x="5512615" y="540000"/>
                </a:lnTo>
                <a:lnTo>
                  <a:pt x="0" y="540000"/>
                </a:lnTo>
                <a:cubicBezTo>
                  <a:pt x="149117" y="540000"/>
                  <a:pt x="270000" y="419117"/>
                  <a:pt x="270000" y="270000"/>
                </a:cubicBezTo>
                <a:cubicBezTo>
                  <a:pt x="270000" y="120883"/>
                  <a:pt x="149117" y="0"/>
                  <a:pt x="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Franklin Gothic Medium" panose="020B0603020102020204"/>
                <a:ea typeface="+mn-ea"/>
                <a:cs typeface="+mn-cs"/>
              </a:rPr>
              <a:t> </a:t>
            </a:r>
          </a:p>
        </p:txBody>
      </p:sp>
      <p:sp>
        <p:nvSpPr>
          <p:cNvPr id="241" name="Rectangle 240">
            <a:extLst>
              <a:ext uri="{FF2B5EF4-FFF2-40B4-BE49-F238E27FC236}">
                <a16:creationId xmlns:a16="http://schemas.microsoft.com/office/drawing/2014/main" id="{2470CF87-8DB6-48F4-95C9-A140B6D94684}"/>
              </a:ext>
            </a:extLst>
          </p:cNvPr>
          <p:cNvSpPr>
            <a:spLocks/>
          </p:cNvSpPr>
          <p:nvPr/>
        </p:nvSpPr>
        <p:spPr>
          <a:xfrm>
            <a:off x="1125371" y="2814617"/>
            <a:ext cx="2946349" cy="247885"/>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3"/>
              </a:spcAft>
              <a:buClrTx/>
              <a:buSzTx/>
              <a:buFontTx/>
              <a:buNone/>
              <a:tabLst>
                <a:tab pos="2088356" algn="l"/>
              </a:tabLst>
              <a:defRPr/>
            </a:pPr>
            <a:r>
              <a:rPr kumimoji="0" lang="en-GB" sz="1050" b="0" i="0" u="none" strike="noStrike" kern="1200" cap="none" spc="0" normalizeH="0" baseline="0" noProof="0" dirty="0">
                <a:ln>
                  <a:noFill/>
                </a:ln>
                <a:solidFill>
                  <a:prstClr val="black"/>
                </a:solidFill>
                <a:effectLst/>
                <a:uLnTx/>
                <a:uFillTx/>
                <a:latin typeface="Franklin Gothic Book" panose="020B0503020102020204"/>
                <a:ea typeface="+mn-ea"/>
                <a:cs typeface="+mn-cs"/>
              </a:rPr>
              <a:t>Publication/medical education agencies</a:t>
            </a:r>
          </a:p>
        </p:txBody>
      </p:sp>
      <p:grpSp>
        <p:nvGrpSpPr>
          <p:cNvPr id="20" name="Group 19">
            <a:extLst>
              <a:ext uri="{FF2B5EF4-FFF2-40B4-BE49-F238E27FC236}">
                <a16:creationId xmlns:a16="http://schemas.microsoft.com/office/drawing/2014/main" id="{C7E4E041-42D8-48F5-9C32-34A4EFD4A7BF}"/>
              </a:ext>
            </a:extLst>
          </p:cNvPr>
          <p:cNvGrpSpPr/>
          <p:nvPr/>
        </p:nvGrpSpPr>
        <p:grpSpPr>
          <a:xfrm>
            <a:off x="635594" y="2715819"/>
            <a:ext cx="445480" cy="445480"/>
            <a:chOff x="-4383367" y="2596532"/>
            <a:chExt cx="399800" cy="399800"/>
          </a:xfrm>
        </p:grpSpPr>
        <p:sp>
          <p:nvSpPr>
            <p:cNvPr id="667" name="Oval 666">
              <a:extLst>
                <a:ext uri="{FF2B5EF4-FFF2-40B4-BE49-F238E27FC236}">
                  <a16:creationId xmlns:a16="http://schemas.microsoft.com/office/drawing/2014/main" id="{931F8F44-C69C-4F8E-89EF-8038ECA91D32}"/>
                </a:ext>
              </a:extLst>
            </p:cNvPr>
            <p:cNvSpPr/>
            <p:nvPr/>
          </p:nvSpPr>
          <p:spPr>
            <a:xfrm>
              <a:off x="-4383367" y="2596532"/>
              <a:ext cx="399800" cy="3998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Franklin Gothic Medium" panose="020B0603020102020204"/>
                  <a:ea typeface="+mn-ea"/>
                  <a:cs typeface="+mn-cs"/>
                </a:rPr>
                <a:t> </a:t>
              </a:r>
            </a:p>
          </p:txBody>
        </p:sp>
        <p:grpSp>
          <p:nvGrpSpPr>
            <p:cNvPr id="674" name="Graphic 479">
              <a:extLst>
                <a:ext uri="{FF2B5EF4-FFF2-40B4-BE49-F238E27FC236}">
                  <a16:creationId xmlns:a16="http://schemas.microsoft.com/office/drawing/2014/main" id="{1E0FA37B-F770-4DE3-9AE7-7EB5ABD07E64}"/>
                </a:ext>
              </a:extLst>
            </p:cNvPr>
            <p:cNvGrpSpPr/>
            <p:nvPr/>
          </p:nvGrpSpPr>
          <p:grpSpPr>
            <a:xfrm>
              <a:off x="-4375971" y="2670565"/>
              <a:ext cx="385008" cy="251735"/>
              <a:chOff x="434174" y="6584596"/>
              <a:chExt cx="466172" cy="304805"/>
            </a:xfrm>
          </p:grpSpPr>
          <p:sp>
            <p:nvSpPr>
              <p:cNvPr id="737" name="Freeform: Shape 736">
                <a:extLst>
                  <a:ext uri="{FF2B5EF4-FFF2-40B4-BE49-F238E27FC236}">
                    <a16:creationId xmlns:a16="http://schemas.microsoft.com/office/drawing/2014/main" id="{1FC70EE2-EF61-4705-B7F2-1840BF591B12}"/>
                  </a:ext>
                </a:extLst>
              </p:cNvPr>
              <p:cNvSpPr/>
              <p:nvPr/>
            </p:nvSpPr>
            <p:spPr>
              <a:xfrm>
                <a:off x="434174" y="6584596"/>
                <a:ext cx="466172" cy="304805"/>
              </a:xfrm>
              <a:custGeom>
                <a:avLst/>
                <a:gdLst>
                  <a:gd name="connsiteX0" fmla="*/ 87 w 466171"/>
                  <a:gd name="connsiteY0" fmla="*/ 305452 h 304804"/>
                  <a:gd name="connsiteX1" fmla="*/ 466483 w 466171"/>
                  <a:gd name="connsiteY1" fmla="*/ 305452 h 304804"/>
                  <a:gd name="connsiteX2" fmla="*/ 466483 w 466171"/>
                  <a:gd name="connsiteY2" fmla="*/ 87 h 304804"/>
                  <a:gd name="connsiteX3" fmla="*/ 87 w 466171"/>
                  <a:gd name="connsiteY3" fmla="*/ 87 h 304804"/>
                  <a:gd name="connsiteX4" fmla="*/ 87 w 466171"/>
                  <a:gd name="connsiteY4" fmla="*/ 305452 h 304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171" h="304804">
                    <a:moveTo>
                      <a:pt x="87" y="305452"/>
                    </a:moveTo>
                    <a:lnTo>
                      <a:pt x="466483" y="305452"/>
                    </a:lnTo>
                    <a:lnTo>
                      <a:pt x="466483" y="87"/>
                    </a:lnTo>
                    <a:lnTo>
                      <a:pt x="87" y="87"/>
                    </a:lnTo>
                    <a:lnTo>
                      <a:pt x="87" y="305452"/>
                    </a:lnTo>
                    <a:close/>
                  </a:path>
                </a:pathLst>
              </a:custGeom>
              <a:solidFill>
                <a:schemeClr val="accent5"/>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38" name="Freeform: Shape 737">
                <a:extLst>
                  <a:ext uri="{FF2B5EF4-FFF2-40B4-BE49-F238E27FC236}">
                    <a16:creationId xmlns:a16="http://schemas.microsoft.com/office/drawing/2014/main" id="{4939E6DA-CB8F-4B43-9455-50D842B8381A}"/>
                  </a:ext>
                </a:extLst>
              </p:cNvPr>
              <p:cNvSpPr/>
              <p:nvPr/>
            </p:nvSpPr>
            <p:spPr>
              <a:xfrm>
                <a:off x="667372" y="6584596"/>
                <a:ext cx="223594" cy="292148"/>
              </a:xfrm>
              <a:custGeom>
                <a:avLst/>
                <a:gdLst>
                  <a:gd name="connsiteX0" fmla="*/ 224124 w 223593"/>
                  <a:gd name="connsiteY0" fmla="*/ 87 h 292148"/>
                  <a:gd name="connsiteX1" fmla="*/ 87 w 223593"/>
                  <a:gd name="connsiteY1" fmla="*/ 87 h 292148"/>
                  <a:gd name="connsiteX2" fmla="*/ 87 w 223593"/>
                  <a:gd name="connsiteY2" fmla="*/ 292932 h 292148"/>
                  <a:gd name="connsiteX3" fmla="*/ 224124 w 223593"/>
                  <a:gd name="connsiteY3" fmla="*/ 292932 h 292148"/>
                  <a:gd name="connsiteX4" fmla="*/ 224124 w 223593"/>
                  <a:gd name="connsiteY4" fmla="*/ 87 h 292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593" h="292148">
                    <a:moveTo>
                      <a:pt x="224124" y="87"/>
                    </a:moveTo>
                    <a:lnTo>
                      <a:pt x="87" y="87"/>
                    </a:lnTo>
                    <a:lnTo>
                      <a:pt x="87" y="292932"/>
                    </a:lnTo>
                    <a:lnTo>
                      <a:pt x="224124" y="292932"/>
                    </a:lnTo>
                    <a:lnTo>
                      <a:pt x="224124" y="87"/>
                    </a:lnTo>
                    <a:close/>
                  </a:path>
                </a:pathLst>
              </a:custGeom>
              <a:solidFill>
                <a:schemeClr val="bg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39" name="Freeform: Shape 738">
                <a:extLst>
                  <a:ext uri="{FF2B5EF4-FFF2-40B4-BE49-F238E27FC236}">
                    <a16:creationId xmlns:a16="http://schemas.microsoft.com/office/drawing/2014/main" id="{A12FFD4C-8232-4BEB-84AC-B683809E0DF4}"/>
                  </a:ext>
                </a:extLst>
              </p:cNvPr>
              <p:cNvSpPr/>
              <p:nvPr/>
            </p:nvSpPr>
            <p:spPr>
              <a:xfrm>
                <a:off x="667372" y="6584596"/>
                <a:ext cx="216211" cy="274219"/>
              </a:xfrm>
              <a:custGeom>
                <a:avLst/>
                <a:gdLst>
                  <a:gd name="connsiteX0" fmla="*/ 216193 w 216210"/>
                  <a:gd name="connsiteY0" fmla="*/ 87 h 274218"/>
                  <a:gd name="connsiteX1" fmla="*/ 87 w 216210"/>
                  <a:gd name="connsiteY1" fmla="*/ 87 h 274218"/>
                  <a:gd name="connsiteX2" fmla="*/ 87 w 216210"/>
                  <a:gd name="connsiteY2" fmla="*/ 274399 h 274218"/>
                  <a:gd name="connsiteX3" fmla="*/ 216193 w 216210"/>
                  <a:gd name="connsiteY3" fmla="*/ 274399 h 274218"/>
                  <a:gd name="connsiteX4" fmla="*/ 216193 w 216210"/>
                  <a:gd name="connsiteY4" fmla="*/ 87 h 274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210" h="274218">
                    <a:moveTo>
                      <a:pt x="216193" y="87"/>
                    </a:moveTo>
                    <a:lnTo>
                      <a:pt x="87" y="87"/>
                    </a:lnTo>
                    <a:lnTo>
                      <a:pt x="87" y="274399"/>
                    </a:lnTo>
                    <a:lnTo>
                      <a:pt x="216193" y="274399"/>
                    </a:lnTo>
                    <a:lnTo>
                      <a:pt x="216193" y="87"/>
                    </a:lnTo>
                    <a:close/>
                  </a:path>
                </a:pathLst>
              </a:custGeom>
              <a:solidFill>
                <a:schemeClr val="bg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40" name="Freeform: Shape 739">
                <a:extLst>
                  <a:ext uri="{FF2B5EF4-FFF2-40B4-BE49-F238E27FC236}">
                    <a16:creationId xmlns:a16="http://schemas.microsoft.com/office/drawing/2014/main" id="{D566F5F5-4777-46F6-8BBA-F2776E847434}"/>
                  </a:ext>
                </a:extLst>
              </p:cNvPr>
              <p:cNvSpPr/>
              <p:nvPr/>
            </p:nvSpPr>
            <p:spPr>
              <a:xfrm>
                <a:off x="443333" y="6584596"/>
                <a:ext cx="223594" cy="292148"/>
              </a:xfrm>
              <a:custGeom>
                <a:avLst/>
                <a:gdLst>
                  <a:gd name="connsiteX0" fmla="*/ 87 w 223593"/>
                  <a:gd name="connsiteY0" fmla="*/ 87 h 292148"/>
                  <a:gd name="connsiteX1" fmla="*/ 224126 w 223593"/>
                  <a:gd name="connsiteY1" fmla="*/ 87 h 292148"/>
                  <a:gd name="connsiteX2" fmla="*/ 224126 w 223593"/>
                  <a:gd name="connsiteY2" fmla="*/ 292932 h 292148"/>
                  <a:gd name="connsiteX3" fmla="*/ 87 w 223593"/>
                  <a:gd name="connsiteY3" fmla="*/ 292932 h 292148"/>
                  <a:gd name="connsiteX4" fmla="*/ 87 w 223593"/>
                  <a:gd name="connsiteY4" fmla="*/ 87 h 292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593" h="292148">
                    <a:moveTo>
                      <a:pt x="87" y="87"/>
                    </a:moveTo>
                    <a:lnTo>
                      <a:pt x="224126" y="87"/>
                    </a:lnTo>
                    <a:lnTo>
                      <a:pt x="224126" y="292932"/>
                    </a:lnTo>
                    <a:lnTo>
                      <a:pt x="87" y="292932"/>
                    </a:lnTo>
                    <a:lnTo>
                      <a:pt x="87" y="87"/>
                    </a:lnTo>
                    <a:close/>
                  </a:path>
                </a:pathLst>
              </a:custGeom>
              <a:solidFill>
                <a:schemeClr val="tx2">
                  <a:lumMod val="10000"/>
                  <a:lumOff val="90000"/>
                </a:schemeClr>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41" name="Freeform: Shape 740">
                <a:extLst>
                  <a:ext uri="{FF2B5EF4-FFF2-40B4-BE49-F238E27FC236}">
                    <a16:creationId xmlns:a16="http://schemas.microsoft.com/office/drawing/2014/main" id="{6AF1ED47-F802-443F-B8FC-74522A89E05A}"/>
                  </a:ext>
                </a:extLst>
              </p:cNvPr>
              <p:cNvSpPr/>
              <p:nvPr/>
            </p:nvSpPr>
            <p:spPr>
              <a:xfrm>
                <a:off x="451264" y="6584596"/>
                <a:ext cx="216211" cy="274219"/>
              </a:xfrm>
              <a:custGeom>
                <a:avLst/>
                <a:gdLst>
                  <a:gd name="connsiteX0" fmla="*/ 87 w 216210"/>
                  <a:gd name="connsiteY0" fmla="*/ 87 h 274218"/>
                  <a:gd name="connsiteX1" fmla="*/ 216194 w 216210"/>
                  <a:gd name="connsiteY1" fmla="*/ 87 h 274218"/>
                  <a:gd name="connsiteX2" fmla="*/ 216194 w 216210"/>
                  <a:gd name="connsiteY2" fmla="*/ 274399 h 274218"/>
                  <a:gd name="connsiteX3" fmla="*/ 87 w 216210"/>
                  <a:gd name="connsiteY3" fmla="*/ 274399 h 274218"/>
                  <a:gd name="connsiteX4" fmla="*/ 87 w 216210"/>
                  <a:gd name="connsiteY4" fmla="*/ 87 h 274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210" h="274218">
                    <a:moveTo>
                      <a:pt x="87" y="87"/>
                    </a:moveTo>
                    <a:lnTo>
                      <a:pt x="216194" y="87"/>
                    </a:lnTo>
                    <a:lnTo>
                      <a:pt x="216194" y="274399"/>
                    </a:lnTo>
                    <a:lnTo>
                      <a:pt x="87" y="274399"/>
                    </a:lnTo>
                    <a:lnTo>
                      <a:pt x="87" y="87"/>
                    </a:lnTo>
                    <a:close/>
                  </a:path>
                </a:pathLst>
              </a:custGeom>
              <a:solidFill>
                <a:schemeClr val="bg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42" name="Freeform: Shape 741">
                <a:extLst>
                  <a:ext uri="{FF2B5EF4-FFF2-40B4-BE49-F238E27FC236}">
                    <a16:creationId xmlns:a16="http://schemas.microsoft.com/office/drawing/2014/main" id="{873DB4DB-447A-4DB9-9F8E-B2A3AA0248AD}"/>
                  </a:ext>
                </a:extLst>
              </p:cNvPr>
              <p:cNvSpPr/>
              <p:nvPr/>
            </p:nvSpPr>
            <p:spPr>
              <a:xfrm>
                <a:off x="663707" y="6584596"/>
                <a:ext cx="7383" cy="274219"/>
              </a:xfrm>
              <a:custGeom>
                <a:avLst/>
                <a:gdLst>
                  <a:gd name="connsiteX0" fmla="*/ 87 w 7382"/>
                  <a:gd name="connsiteY0" fmla="*/ 87 h 274218"/>
                  <a:gd name="connsiteX1" fmla="*/ 7416 w 7382"/>
                  <a:gd name="connsiteY1" fmla="*/ 87 h 274218"/>
                  <a:gd name="connsiteX2" fmla="*/ 7416 w 7382"/>
                  <a:gd name="connsiteY2" fmla="*/ 274399 h 274218"/>
                  <a:gd name="connsiteX3" fmla="*/ 87 w 7382"/>
                  <a:gd name="connsiteY3" fmla="*/ 274399 h 274218"/>
                  <a:gd name="connsiteX4" fmla="*/ 87 w 7382"/>
                  <a:gd name="connsiteY4" fmla="*/ 87 h 274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2" h="274218">
                    <a:moveTo>
                      <a:pt x="87" y="87"/>
                    </a:moveTo>
                    <a:lnTo>
                      <a:pt x="7416" y="87"/>
                    </a:lnTo>
                    <a:lnTo>
                      <a:pt x="7416" y="274399"/>
                    </a:lnTo>
                    <a:lnTo>
                      <a:pt x="87" y="274399"/>
                    </a:lnTo>
                    <a:lnTo>
                      <a:pt x="87" y="87"/>
                    </a:lnTo>
                    <a:close/>
                  </a:path>
                </a:pathLst>
              </a:custGeom>
              <a:solidFill>
                <a:schemeClr val="tx2">
                  <a:lumMod val="10000"/>
                  <a:lumOff val="90000"/>
                </a:schemeClr>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43" name="Freeform: Shape 742">
                <a:extLst>
                  <a:ext uri="{FF2B5EF4-FFF2-40B4-BE49-F238E27FC236}">
                    <a16:creationId xmlns:a16="http://schemas.microsoft.com/office/drawing/2014/main" id="{1D840C05-FDDE-4E0F-A4D1-82868E06FFF4}"/>
                  </a:ext>
                </a:extLst>
              </p:cNvPr>
              <p:cNvSpPr/>
              <p:nvPr/>
            </p:nvSpPr>
            <p:spPr>
              <a:xfrm>
                <a:off x="469731" y="6599782"/>
                <a:ext cx="114961" cy="15820"/>
              </a:xfrm>
              <a:custGeom>
                <a:avLst/>
                <a:gdLst>
                  <a:gd name="connsiteX0" fmla="*/ 87 w 114960"/>
                  <a:gd name="connsiteY0" fmla="*/ 15938 h 15820"/>
                  <a:gd name="connsiteX1" fmla="*/ 115469 w 114960"/>
                  <a:gd name="connsiteY1" fmla="*/ 15938 h 15820"/>
                  <a:gd name="connsiteX2" fmla="*/ 115469 w 114960"/>
                  <a:gd name="connsiteY2" fmla="*/ 87 h 15820"/>
                  <a:gd name="connsiteX3" fmla="*/ 87 w 114960"/>
                  <a:gd name="connsiteY3" fmla="*/ 87 h 15820"/>
                  <a:gd name="connsiteX4" fmla="*/ 87 w 114960"/>
                  <a:gd name="connsiteY4" fmla="*/ 15938 h 15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60" h="15820">
                    <a:moveTo>
                      <a:pt x="87" y="15938"/>
                    </a:moveTo>
                    <a:lnTo>
                      <a:pt x="115469" y="15938"/>
                    </a:lnTo>
                    <a:lnTo>
                      <a:pt x="115469" y="87"/>
                    </a:lnTo>
                    <a:lnTo>
                      <a:pt x="87" y="87"/>
                    </a:lnTo>
                    <a:lnTo>
                      <a:pt x="87" y="15938"/>
                    </a:lnTo>
                    <a:close/>
                  </a:path>
                </a:pathLst>
              </a:custGeom>
              <a:solidFill>
                <a:schemeClr val="accent4"/>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44" name="Freeform: Shape 743">
                <a:extLst>
                  <a:ext uri="{FF2B5EF4-FFF2-40B4-BE49-F238E27FC236}">
                    <a16:creationId xmlns:a16="http://schemas.microsoft.com/office/drawing/2014/main" id="{C2401882-9068-4924-86FA-B5560184B129}"/>
                  </a:ext>
                </a:extLst>
              </p:cNvPr>
              <p:cNvSpPr/>
              <p:nvPr/>
            </p:nvSpPr>
            <p:spPr>
              <a:xfrm>
                <a:off x="469731" y="6625498"/>
                <a:ext cx="389180" cy="205664"/>
              </a:xfrm>
              <a:custGeom>
                <a:avLst/>
                <a:gdLst>
                  <a:gd name="connsiteX0" fmla="*/ 87 w 389179"/>
                  <a:gd name="connsiteY0" fmla="*/ 111821 h 205664"/>
                  <a:gd name="connsiteX1" fmla="*/ 166897 w 389179"/>
                  <a:gd name="connsiteY1" fmla="*/ 111821 h 205664"/>
                  <a:gd name="connsiteX2" fmla="*/ 166897 w 389179"/>
                  <a:gd name="connsiteY2" fmla="*/ 120293 h 205664"/>
                  <a:gd name="connsiteX3" fmla="*/ 87 w 389179"/>
                  <a:gd name="connsiteY3" fmla="*/ 120293 h 205664"/>
                  <a:gd name="connsiteX4" fmla="*/ 87 w 389179"/>
                  <a:gd name="connsiteY4" fmla="*/ 111821 h 205664"/>
                  <a:gd name="connsiteX5" fmla="*/ 222376 w 389179"/>
                  <a:gd name="connsiteY5" fmla="*/ 111821 h 205664"/>
                  <a:gd name="connsiteX6" fmla="*/ 222376 w 389179"/>
                  <a:gd name="connsiteY6" fmla="*/ 111821 h 205664"/>
                  <a:gd name="connsiteX7" fmla="*/ 389186 w 389179"/>
                  <a:gd name="connsiteY7" fmla="*/ 111821 h 205664"/>
                  <a:gd name="connsiteX8" fmla="*/ 389186 w 389179"/>
                  <a:gd name="connsiteY8" fmla="*/ 120293 h 205664"/>
                  <a:gd name="connsiteX9" fmla="*/ 222376 w 389179"/>
                  <a:gd name="connsiteY9" fmla="*/ 120293 h 205664"/>
                  <a:gd name="connsiteX10" fmla="*/ 222376 w 389179"/>
                  <a:gd name="connsiteY10" fmla="*/ 111821 h 205664"/>
                  <a:gd name="connsiteX11" fmla="*/ 222376 w 389179"/>
                  <a:gd name="connsiteY11" fmla="*/ 87 h 205664"/>
                  <a:gd name="connsiteX12" fmla="*/ 222376 w 389179"/>
                  <a:gd name="connsiteY12" fmla="*/ 87 h 205664"/>
                  <a:gd name="connsiteX13" fmla="*/ 389186 w 389179"/>
                  <a:gd name="connsiteY13" fmla="*/ 87 h 205664"/>
                  <a:gd name="connsiteX14" fmla="*/ 389186 w 389179"/>
                  <a:gd name="connsiteY14" fmla="*/ 8557 h 205664"/>
                  <a:gd name="connsiteX15" fmla="*/ 222376 w 389179"/>
                  <a:gd name="connsiteY15" fmla="*/ 8557 h 205664"/>
                  <a:gd name="connsiteX16" fmla="*/ 222376 w 389179"/>
                  <a:gd name="connsiteY16" fmla="*/ 87 h 205664"/>
                  <a:gd name="connsiteX17" fmla="*/ 222376 w 389179"/>
                  <a:gd name="connsiteY17" fmla="*/ 85514 h 205664"/>
                  <a:gd name="connsiteX18" fmla="*/ 222376 w 389179"/>
                  <a:gd name="connsiteY18" fmla="*/ 85514 h 205664"/>
                  <a:gd name="connsiteX19" fmla="*/ 295412 w 389179"/>
                  <a:gd name="connsiteY19" fmla="*/ 85514 h 205664"/>
                  <a:gd name="connsiteX20" fmla="*/ 295412 w 389179"/>
                  <a:gd name="connsiteY20" fmla="*/ 93984 h 205664"/>
                  <a:gd name="connsiteX21" fmla="*/ 222376 w 389179"/>
                  <a:gd name="connsiteY21" fmla="*/ 93984 h 205664"/>
                  <a:gd name="connsiteX22" fmla="*/ 222376 w 389179"/>
                  <a:gd name="connsiteY22" fmla="*/ 85514 h 205664"/>
                  <a:gd name="connsiteX23" fmla="*/ 222376 w 389179"/>
                  <a:gd name="connsiteY23" fmla="*/ 68428 h 205664"/>
                  <a:gd name="connsiteX24" fmla="*/ 222376 w 389179"/>
                  <a:gd name="connsiteY24" fmla="*/ 68428 h 205664"/>
                  <a:gd name="connsiteX25" fmla="*/ 389186 w 389179"/>
                  <a:gd name="connsiteY25" fmla="*/ 68428 h 205664"/>
                  <a:gd name="connsiteX26" fmla="*/ 389186 w 389179"/>
                  <a:gd name="connsiteY26" fmla="*/ 76898 h 205664"/>
                  <a:gd name="connsiteX27" fmla="*/ 222376 w 389179"/>
                  <a:gd name="connsiteY27" fmla="*/ 76898 h 205664"/>
                  <a:gd name="connsiteX28" fmla="*/ 222376 w 389179"/>
                  <a:gd name="connsiteY28" fmla="*/ 68428 h 205664"/>
                  <a:gd name="connsiteX29" fmla="*/ 222376 w 389179"/>
                  <a:gd name="connsiteY29" fmla="*/ 51342 h 205664"/>
                  <a:gd name="connsiteX30" fmla="*/ 222376 w 389179"/>
                  <a:gd name="connsiteY30" fmla="*/ 51342 h 205664"/>
                  <a:gd name="connsiteX31" fmla="*/ 389186 w 389179"/>
                  <a:gd name="connsiteY31" fmla="*/ 51342 h 205664"/>
                  <a:gd name="connsiteX32" fmla="*/ 389186 w 389179"/>
                  <a:gd name="connsiteY32" fmla="*/ 59813 h 205664"/>
                  <a:gd name="connsiteX33" fmla="*/ 222376 w 389179"/>
                  <a:gd name="connsiteY33" fmla="*/ 59813 h 205664"/>
                  <a:gd name="connsiteX34" fmla="*/ 222376 w 389179"/>
                  <a:gd name="connsiteY34" fmla="*/ 51342 h 205664"/>
                  <a:gd name="connsiteX35" fmla="*/ 222376 w 389179"/>
                  <a:gd name="connsiteY35" fmla="*/ 34257 h 205664"/>
                  <a:gd name="connsiteX36" fmla="*/ 222376 w 389179"/>
                  <a:gd name="connsiteY36" fmla="*/ 34257 h 205664"/>
                  <a:gd name="connsiteX37" fmla="*/ 295412 w 389179"/>
                  <a:gd name="connsiteY37" fmla="*/ 34257 h 205664"/>
                  <a:gd name="connsiteX38" fmla="*/ 295412 w 389179"/>
                  <a:gd name="connsiteY38" fmla="*/ 42728 h 205664"/>
                  <a:gd name="connsiteX39" fmla="*/ 222376 w 389179"/>
                  <a:gd name="connsiteY39" fmla="*/ 42728 h 205664"/>
                  <a:gd name="connsiteX40" fmla="*/ 222376 w 389179"/>
                  <a:gd name="connsiteY40" fmla="*/ 34257 h 205664"/>
                  <a:gd name="connsiteX41" fmla="*/ 222376 w 389179"/>
                  <a:gd name="connsiteY41" fmla="*/ 17171 h 205664"/>
                  <a:gd name="connsiteX42" fmla="*/ 222376 w 389179"/>
                  <a:gd name="connsiteY42" fmla="*/ 17171 h 205664"/>
                  <a:gd name="connsiteX43" fmla="*/ 389186 w 389179"/>
                  <a:gd name="connsiteY43" fmla="*/ 17171 h 205664"/>
                  <a:gd name="connsiteX44" fmla="*/ 389186 w 389179"/>
                  <a:gd name="connsiteY44" fmla="*/ 25643 h 205664"/>
                  <a:gd name="connsiteX45" fmla="*/ 222376 w 389179"/>
                  <a:gd name="connsiteY45" fmla="*/ 25643 h 205664"/>
                  <a:gd name="connsiteX46" fmla="*/ 222376 w 389179"/>
                  <a:gd name="connsiteY46" fmla="*/ 17171 h 205664"/>
                  <a:gd name="connsiteX47" fmla="*/ 222376 w 389179"/>
                  <a:gd name="connsiteY47" fmla="*/ 197251 h 205664"/>
                  <a:gd name="connsiteX48" fmla="*/ 222376 w 389179"/>
                  <a:gd name="connsiteY48" fmla="*/ 197251 h 205664"/>
                  <a:gd name="connsiteX49" fmla="*/ 279785 w 389179"/>
                  <a:gd name="connsiteY49" fmla="*/ 197251 h 205664"/>
                  <a:gd name="connsiteX50" fmla="*/ 279785 w 389179"/>
                  <a:gd name="connsiteY50" fmla="*/ 205721 h 205664"/>
                  <a:gd name="connsiteX51" fmla="*/ 222376 w 389179"/>
                  <a:gd name="connsiteY51" fmla="*/ 205721 h 205664"/>
                  <a:gd name="connsiteX52" fmla="*/ 222376 w 389179"/>
                  <a:gd name="connsiteY52" fmla="*/ 197251 h 205664"/>
                  <a:gd name="connsiteX53" fmla="*/ 222376 w 389179"/>
                  <a:gd name="connsiteY53" fmla="*/ 180165 h 205664"/>
                  <a:gd name="connsiteX54" fmla="*/ 222376 w 389179"/>
                  <a:gd name="connsiteY54" fmla="*/ 180165 h 205664"/>
                  <a:gd name="connsiteX55" fmla="*/ 389186 w 389179"/>
                  <a:gd name="connsiteY55" fmla="*/ 180165 h 205664"/>
                  <a:gd name="connsiteX56" fmla="*/ 389186 w 389179"/>
                  <a:gd name="connsiteY56" fmla="*/ 188636 h 205664"/>
                  <a:gd name="connsiteX57" fmla="*/ 222376 w 389179"/>
                  <a:gd name="connsiteY57" fmla="*/ 188636 h 205664"/>
                  <a:gd name="connsiteX58" fmla="*/ 222376 w 389179"/>
                  <a:gd name="connsiteY58" fmla="*/ 180165 h 205664"/>
                  <a:gd name="connsiteX59" fmla="*/ 222376 w 389179"/>
                  <a:gd name="connsiteY59" fmla="*/ 163080 h 205664"/>
                  <a:gd name="connsiteX60" fmla="*/ 222376 w 389179"/>
                  <a:gd name="connsiteY60" fmla="*/ 163080 h 205664"/>
                  <a:gd name="connsiteX61" fmla="*/ 389186 w 389179"/>
                  <a:gd name="connsiteY61" fmla="*/ 163080 h 205664"/>
                  <a:gd name="connsiteX62" fmla="*/ 389186 w 389179"/>
                  <a:gd name="connsiteY62" fmla="*/ 171550 h 205664"/>
                  <a:gd name="connsiteX63" fmla="*/ 222376 w 389179"/>
                  <a:gd name="connsiteY63" fmla="*/ 171550 h 205664"/>
                  <a:gd name="connsiteX64" fmla="*/ 222376 w 389179"/>
                  <a:gd name="connsiteY64" fmla="*/ 163080 h 205664"/>
                  <a:gd name="connsiteX65" fmla="*/ 222376 w 389179"/>
                  <a:gd name="connsiteY65" fmla="*/ 145994 h 205664"/>
                  <a:gd name="connsiteX66" fmla="*/ 222376 w 389179"/>
                  <a:gd name="connsiteY66" fmla="*/ 145994 h 205664"/>
                  <a:gd name="connsiteX67" fmla="*/ 389186 w 389179"/>
                  <a:gd name="connsiteY67" fmla="*/ 145994 h 205664"/>
                  <a:gd name="connsiteX68" fmla="*/ 389186 w 389179"/>
                  <a:gd name="connsiteY68" fmla="*/ 154465 h 205664"/>
                  <a:gd name="connsiteX69" fmla="*/ 222376 w 389179"/>
                  <a:gd name="connsiteY69" fmla="*/ 154465 h 205664"/>
                  <a:gd name="connsiteX70" fmla="*/ 222376 w 389179"/>
                  <a:gd name="connsiteY70" fmla="*/ 145994 h 205664"/>
                  <a:gd name="connsiteX71" fmla="*/ 222376 w 389179"/>
                  <a:gd name="connsiteY71" fmla="*/ 128908 h 205664"/>
                  <a:gd name="connsiteX72" fmla="*/ 222376 w 389179"/>
                  <a:gd name="connsiteY72" fmla="*/ 128908 h 205664"/>
                  <a:gd name="connsiteX73" fmla="*/ 389186 w 389179"/>
                  <a:gd name="connsiteY73" fmla="*/ 128908 h 205664"/>
                  <a:gd name="connsiteX74" fmla="*/ 389186 w 389179"/>
                  <a:gd name="connsiteY74" fmla="*/ 137377 h 205664"/>
                  <a:gd name="connsiteX75" fmla="*/ 222376 w 389179"/>
                  <a:gd name="connsiteY75" fmla="*/ 137377 h 205664"/>
                  <a:gd name="connsiteX76" fmla="*/ 222376 w 389179"/>
                  <a:gd name="connsiteY76" fmla="*/ 128908 h 205664"/>
                  <a:gd name="connsiteX77" fmla="*/ 87 w 389179"/>
                  <a:gd name="connsiteY77" fmla="*/ 87 h 205664"/>
                  <a:gd name="connsiteX78" fmla="*/ 87 w 389179"/>
                  <a:gd name="connsiteY78" fmla="*/ 87 h 205664"/>
                  <a:gd name="connsiteX79" fmla="*/ 166897 w 389179"/>
                  <a:gd name="connsiteY79" fmla="*/ 87 h 205664"/>
                  <a:gd name="connsiteX80" fmla="*/ 166897 w 389179"/>
                  <a:gd name="connsiteY80" fmla="*/ 8557 h 205664"/>
                  <a:gd name="connsiteX81" fmla="*/ 87 w 389179"/>
                  <a:gd name="connsiteY81" fmla="*/ 8557 h 205664"/>
                  <a:gd name="connsiteX82" fmla="*/ 87 w 389179"/>
                  <a:gd name="connsiteY82" fmla="*/ 87 h 205664"/>
                  <a:gd name="connsiteX83" fmla="*/ 87 w 389179"/>
                  <a:gd name="connsiteY83" fmla="*/ 85514 h 205664"/>
                  <a:gd name="connsiteX84" fmla="*/ 87 w 389179"/>
                  <a:gd name="connsiteY84" fmla="*/ 85514 h 205664"/>
                  <a:gd name="connsiteX85" fmla="*/ 73127 w 389179"/>
                  <a:gd name="connsiteY85" fmla="*/ 85514 h 205664"/>
                  <a:gd name="connsiteX86" fmla="*/ 73127 w 389179"/>
                  <a:gd name="connsiteY86" fmla="*/ 93984 h 205664"/>
                  <a:gd name="connsiteX87" fmla="*/ 87 w 389179"/>
                  <a:gd name="connsiteY87" fmla="*/ 93984 h 205664"/>
                  <a:gd name="connsiteX88" fmla="*/ 87 w 389179"/>
                  <a:gd name="connsiteY88" fmla="*/ 85514 h 205664"/>
                  <a:gd name="connsiteX89" fmla="*/ 87 w 389179"/>
                  <a:gd name="connsiteY89" fmla="*/ 68428 h 205664"/>
                  <a:gd name="connsiteX90" fmla="*/ 87 w 389179"/>
                  <a:gd name="connsiteY90" fmla="*/ 68428 h 205664"/>
                  <a:gd name="connsiteX91" fmla="*/ 166897 w 389179"/>
                  <a:gd name="connsiteY91" fmla="*/ 68428 h 205664"/>
                  <a:gd name="connsiteX92" fmla="*/ 166897 w 389179"/>
                  <a:gd name="connsiteY92" fmla="*/ 76898 h 205664"/>
                  <a:gd name="connsiteX93" fmla="*/ 87 w 389179"/>
                  <a:gd name="connsiteY93" fmla="*/ 76898 h 205664"/>
                  <a:gd name="connsiteX94" fmla="*/ 87 w 389179"/>
                  <a:gd name="connsiteY94" fmla="*/ 68428 h 205664"/>
                  <a:gd name="connsiteX95" fmla="*/ 87 w 389179"/>
                  <a:gd name="connsiteY95" fmla="*/ 51342 h 205664"/>
                  <a:gd name="connsiteX96" fmla="*/ 87 w 389179"/>
                  <a:gd name="connsiteY96" fmla="*/ 51342 h 205664"/>
                  <a:gd name="connsiteX97" fmla="*/ 166897 w 389179"/>
                  <a:gd name="connsiteY97" fmla="*/ 51342 h 205664"/>
                  <a:gd name="connsiteX98" fmla="*/ 166897 w 389179"/>
                  <a:gd name="connsiteY98" fmla="*/ 59813 h 205664"/>
                  <a:gd name="connsiteX99" fmla="*/ 87 w 389179"/>
                  <a:gd name="connsiteY99" fmla="*/ 59813 h 205664"/>
                  <a:gd name="connsiteX100" fmla="*/ 87 w 389179"/>
                  <a:gd name="connsiteY100" fmla="*/ 51342 h 205664"/>
                  <a:gd name="connsiteX101" fmla="*/ 87 w 389179"/>
                  <a:gd name="connsiteY101" fmla="*/ 34257 h 205664"/>
                  <a:gd name="connsiteX102" fmla="*/ 87 w 389179"/>
                  <a:gd name="connsiteY102" fmla="*/ 34257 h 205664"/>
                  <a:gd name="connsiteX103" fmla="*/ 166897 w 389179"/>
                  <a:gd name="connsiteY103" fmla="*/ 34257 h 205664"/>
                  <a:gd name="connsiteX104" fmla="*/ 166897 w 389179"/>
                  <a:gd name="connsiteY104" fmla="*/ 42728 h 205664"/>
                  <a:gd name="connsiteX105" fmla="*/ 87 w 389179"/>
                  <a:gd name="connsiteY105" fmla="*/ 42728 h 205664"/>
                  <a:gd name="connsiteX106" fmla="*/ 87 w 389179"/>
                  <a:gd name="connsiteY106" fmla="*/ 34257 h 205664"/>
                  <a:gd name="connsiteX107" fmla="*/ 87 w 389179"/>
                  <a:gd name="connsiteY107" fmla="*/ 17171 h 205664"/>
                  <a:gd name="connsiteX108" fmla="*/ 87 w 389179"/>
                  <a:gd name="connsiteY108" fmla="*/ 17171 h 205664"/>
                  <a:gd name="connsiteX109" fmla="*/ 166897 w 389179"/>
                  <a:gd name="connsiteY109" fmla="*/ 17171 h 205664"/>
                  <a:gd name="connsiteX110" fmla="*/ 166897 w 389179"/>
                  <a:gd name="connsiteY110" fmla="*/ 25643 h 205664"/>
                  <a:gd name="connsiteX111" fmla="*/ 87 w 389179"/>
                  <a:gd name="connsiteY111" fmla="*/ 25643 h 205664"/>
                  <a:gd name="connsiteX112" fmla="*/ 87 w 389179"/>
                  <a:gd name="connsiteY112" fmla="*/ 17171 h 205664"/>
                  <a:gd name="connsiteX113" fmla="*/ 87 w 389179"/>
                  <a:gd name="connsiteY113" fmla="*/ 197251 h 205664"/>
                  <a:gd name="connsiteX114" fmla="*/ 87 w 389179"/>
                  <a:gd name="connsiteY114" fmla="*/ 197251 h 205664"/>
                  <a:gd name="connsiteX115" fmla="*/ 57498 w 389179"/>
                  <a:gd name="connsiteY115" fmla="*/ 197251 h 205664"/>
                  <a:gd name="connsiteX116" fmla="*/ 57498 w 389179"/>
                  <a:gd name="connsiteY116" fmla="*/ 205721 h 205664"/>
                  <a:gd name="connsiteX117" fmla="*/ 87 w 389179"/>
                  <a:gd name="connsiteY117" fmla="*/ 205721 h 205664"/>
                  <a:gd name="connsiteX118" fmla="*/ 87 w 389179"/>
                  <a:gd name="connsiteY118" fmla="*/ 197251 h 205664"/>
                  <a:gd name="connsiteX119" fmla="*/ 87 w 389179"/>
                  <a:gd name="connsiteY119" fmla="*/ 180165 h 205664"/>
                  <a:gd name="connsiteX120" fmla="*/ 87 w 389179"/>
                  <a:gd name="connsiteY120" fmla="*/ 180165 h 205664"/>
                  <a:gd name="connsiteX121" fmla="*/ 166897 w 389179"/>
                  <a:gd name="connsiteY121" fmla="*/ 180165 h 205664"/>
                  <a:gd name="connsiteX122" fmla="*/ 166897 w 389179"/>
                  <a:gd name="connsiteY122" fmla="*/ 188636 h 205664"/>
                  <a:gd name="connsiteX123" fmla="*/ 87 w 389179"/>
                  <a:gd name="connsiteY123" fmla="*/ 188636 h 205664"/>
                  <a:gd name="connsiteX124" fmla="*/ 87 w 389179"/>
                  <a:gd name="connsiteY124" fmla="*/ 180165 h 205664"/>
                  <a:gd name="connsiteX125" fmla="*/ 87 w 389179"/>
                  <a:gd name="connsiteY125" fmla="*/ 163080 h 205664"/>
                  <a:gd name="connsiteX126" fmla="*/ 87 w 389179"/>
                  <a:gd name="connsiteY126" fmla="*/ 163080 h 205664"/>
                  <a:gd name="connsiteX127" fmla="*/ 166897 w 389179"/>
                  <a:gd name="connsiteY127" fmla="*/ 163080 h 205664"/>
                  <a:gd name="connsiteX128" fmla="*/ 166897 w 389179"/>
                  <a:gd name="connsiteY128" fmla="*/ 171550 h 205664"/>
                  <a:gd name="connsiteX129" fmla="*/ 87 w 389179"/>
                  <a:gd name="connsiteY129" fmla="*/ 171550 h 205664"/>
                  <a:gd name="connsiteX130" fmla="*/ 87 w 389179"/>
                  <a:gd name="connsiteY130" fmla="*/ 163080 h 205664"/>
                  <a:gd name="connsiteX131" fmla="*/ 87 w 389179"/>
                  <a:gd name="connsiteY131" fmla="*/ 145994 h 205664"/>
                  <a:gd name="connsiteX132" fmla="*/ 87 w 389179"/>
                  <a:gd name="connsiteY132" fmla="*/ 145994 h 205664"/>
                  <a:gd name="connsiteX133" fmla="*/ 166897 w 389179"/>
                  <a:gd name="connsiteY133" fmla="*/ 145994 h 205664"/>
                  <a:gd name="connsiteX134" fmla="*/ 166897 w 389179"/>
                  <a:gd name="connsiteY134" fmla="*/ 154465 h 205664"/>
                  <a:gd name="connsiteX135" fmla="*/ 87 w 389179"/>
                  <a:gd name="connsiteY135" fmla="*/ 154465 h 205664"/>
                  <a:gd name="connsiteX136" fmla="*/ 87 w 389179"/>
                  <a:gd name="connsiteY136" fmla="*/ 145994 h 205664"/>
                  <a:gd name="connsiteX137" fmla="*/ 87 w 389179"/>
                  <a:gd name="connsiteY137" fmla="*/ 128908 h 205664"/>
                  <a:gd name="connsiteX138" fmla="*/ 87 w 389179"/>
                  <a:gd name="connsiteY138" fmla="*/ 128908 h 205664"/>
                  <a:gd name="connsiteX139" fmla="*/ 166897 w 389179"/>
                  <a:gd name="connsiteY139" fmla="*/ 128908 h 205664"/>
                  <a:gd name="connsiteX140" fmla="*/ 166897 w 389179"/>
                  <a:gd name="connsiteY140" fmla="*/ 137377 h 205664"/>
                  <a:gd name="connsiteX141" fmla="*/ 87 w 389179"/>
                  <a:gd name="connsiteY141" fmla="*/ 137377 h 205664"/>
                  <a:gd name="connsiteX142" fmla="*/ 87 w 389179"/>
                  <a:gd name="connsiteY142" fmla="*/ 128908 h 205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389179" h="205664">
                    <a:moveTo>
                      <a:pt x="87" y="111821"/>
                    </a:moveTo>
                    <a:lnTo>
                      <a:pt x="166897" y="111821"/>
                    </a:lnTo>
                    <a:lnTo>
                      <a:pt x="166897" y="120293"/>
                    </a:lnTo>
                    <a:lnTo>
                      <a:pt x="87" y="120293"/>
                    </a:lnTo>
                    <a:lnTo>
                      <a:pt x="87" y="111821"/>
                    </a:lnTo>
                    <a:close/>
                    <a:moveTo>
                      <a:pt x="222376" y="111821"/>
                    </a:moveTo>
                    <a:lnTo>
                      <a:pt x="222376" y="111821"/>
                    </a:lnTo>
                    <a:lnTo>
                      <a:pt x="389186" y="111821"/>
                    </a:lnTo>
                    <a:lnTo>
                      <a:pt x="389186" y="120293"/>
                    </a:lnTo>
                    <a:lnTo>
                      <a:pt x="222376" y="120293"/>
                    </a:lnTo>
                    <a:lnTo>
                      <a:pt x="222376" y="111821"/>
                    </a:lnTo>
                    <a:close/>
                    <a:moveTo>
                      <a:pt x="222376" y="87"/>
                    </a:moveTo>
                    <a:lnTo>
                      <a:pt x="222376" y="87"/>
                    </a:lnTo>
                    <a:lnTo>
                      <a:pt x="389186" y="87"/>
                    </a:lnTo>
                    <a:lnTo>
                      <a:pt x="389186" y="8557"/>
                    </a:lnTo>
                    <a:lnTo>
                      <a:pt x="222376" y="8557"/>
                    </a:lnTo>
                    <a:lnTo>
                      <a:pt x="222376" y="87"/>
                    </a:lnTo>
                    <a:close/>
                    <a:moveTo>
                      <a:pt x="222376" y="85514"/>
                    </a:moveTo>
                    <a:lnTo>
                      <a:pt x="222376" y="85514"/>
                    </a:lnTo>
                    <a:lnTo>
                      <a:pt x="295412" y="85514"/>
                    </a:lnTo>
                    <a:lnTo>
                      <a:pt x="295412" y="93984"/>
                    </a:lnTo>
                    <a:lnTo>
                      <a:pt x="222376" y="93984"/>
                    </a:lnTo>
                    <a:lnTo>
                      <a:pt x="222376" y="85514"/>
                    </a:lnTo>
                    <a:close/>
                    <a:moveTo>
                      <a:pt x="222376" y="68428"/>
                    </a:moveTo>
                    <a:lnTo>
                      <a:pt x="222376" y="68428"/>
                    </a:lnTo>
                    <a:lnTo>
                      <a:pt x="389186" y="68428"/>
                    </a:lnTo>
                    <a:lnTo>
                      <a:pt x="389186" y="76898"/>
                    </a:lnTo>
                    <a:lnTo>
                      <a:pt x="222376" y="76898"/>
                    </a:lnTo>
                    <a:lnTo>
                      <a:pt x="222376" y="68428"/>
                    </a:lnTo>
                    <a:close/>
                    <a:moveTo>
                      <a:pt x="222376" y="51342"/>
                    </a:moveTo>
                    <a:lnTo>
                      <a:pt x="222376" y="51342"/>
                    </a:lnTo>
                    <a:lnTo>
                      <a:pt x="389186" y="51342"/>
                    </a:lnTo>
                    <a:lnTo>
                      <a:pt x="389186" y="59813"/>
                    </a:lnTo>
                    <a:lnTo>
                      <a:pt x="222376" y="59813"/>
                    </a:lnTo>
                    <a:lnTo>
                      <a:pt x="222376" y="51342"/>
                    </a:lnTo>
                    <a:close/>
                    <a:moveTo>
                      <a:pt x="222376" y="34257"/>
                    </a:moveTo>
                    <a:lnTo>
                      <a:pt x="222376" y="34257"/>
                    </a:lnTo>
                    <a:lnTo>
                      <a:pt x="295412" y="34257"/>
                    </a:lnTo>
                    <a:lnTo>
                      <a:pt x="295412" y="42728"/>
                    </a:lnTo>
                    <a:lnTo>
                      <a:pt x="222376" y="42728"/>
                    </a:lnTo>
                    <a:lnTo>
                      <a:pt x="222376" y="34257"/>
                    </a:lnTo>
                    <a:close/>
                    <a:moveTo>
                      <a:pt x="222376" y="17171"/>
                    </a:moveTo>
                    <a:lnTo>
                      <a:pt x="222376" y="17171"/>
                    </a:lnTo>
                    <a:lnTo>
                      <a:pt x="389186" y="17171"/>
                    </a:lnTo>
                    <a:lnTo>
                      <a:pt x="389186" y="25643"/>
                    </a:lnTo>
                    <a:lnTo>
                      <a:pt x="222376" y="25643"/>
                    </a:lnTo>
                    <a:lnTo>
                      <a:pt x="222376" y="17171"/>
                    </a:lnTo>
                    <a:close/>
                    <a:moveTo>
                      <a:pt x="222376" y="197251"/>
                    </a:moveTo>
                    <a:lnTo>
                      <a:pt x="222376" y="197251"/>
                    </a:lnTo>
                    <a:lnTo>
                      <a:pt x="279785" y="197251"/>
                    </a:lnTo>
                    <a:lnTo>
                      <a:pt x="279785" y="205721"/>
                    </a:lnTo>
                    <a:lnTo>
                      <a:pt x="222376" y="205721"/>
                    </a:lnTo>
                    <a:lnTo>
                      <a:pt x="222376" y="197251"/>
                    </a:lnTo>
                    <a:close/>
                    <a:moveTo>
                      <a:pt x="222376" y="180165"/>
                    </a:moveTo>
                    <a:lnTo>
                      <a:pt x="222376" y="180165"/>
                    </a:lnTo>
                    <a:lnTo>
                      <a:pt x="389186" y="180165"/>
                    </a:lnTo>
                    <a:lnTo>
                      <a:pt x="389186" y="188636"/>
                    </a:lnTo>
                    <a:lnTo>
                      <a:pt x="222376" y="188636"/>
                    </a:lnTo>
                    <a:lnTo>
                      <a:pt x="222376" y="180165"/>
                    </a:lnTo>
                    <a:close/>
                    <a:moveTo>
                      <a:pt x="222376" y="163080"/>
                    </a:moveTo>
                    <a:lnTo>
                      <a:pt x="222376" y="163080"/>
                    </a:lnTo>
                    <a:lnTo>
                      <a:pt x="389186" y="163080"/>
                    </a:lnTo>
                    <a:lnTo>
                      <a:pt x="389186" y="171550"/>
                    </a:lnTo>
                    <a:lnTo>
                      <a:pt x="222376" y="171550"/>
                    </a:lnTo>
                    <a:lnTo>
                      <a:pt x="222376" y="163080"/>
                    </a:lnTo>
                    <a:close/>
                    <a:moveTo>
                      <a:pt x="222376" y="145994"/>
                    </a:moveTo>
                    <a:lnTo>
                      <a:pt x="222376" y="145994"/>
                    </a:lnTo>
                    <a:lnTo>
                      <a:pt x="389186" y="145994"/>
                    </a:lnTo>
                    <a:lnTo>
                      <a:pt x="389186" y="154465"/>
                    </a:lnTo>
                    <a:lnTo>
                      <a:pt x="222376" y="154465"/>
                    </a:lnTo>
                    <a:lnTo>
                      <a:pt x="222376" y="145994"/>
                    </a:lnTo>
                    <a:close/>
                    <a:moveTo>
                      <a:pt x="222376" y="128908"/>
                    </a:moveTo>
                    <a:lnTo>
                      <a:pt x="222376" y="128908"/>
                    </a:lnTo>
                    <a:lnTo>
                      <a:pt x="389186" y="128908"/>
                    </a:lnTo>
                    <a:lnTo>
                      <a:pt x="389186" y="137377"/>
                    </a:lnTo>
                    <a:lnTo>
                      <a:pt x="222376" y="137377"/>
                    </a:lnTo>
                    <a:lnTo>
                      <a:pt x="222376" y="128908"/>
                    </a:lnTo>
                    <a:close/>
                    <a:moveTo>
                      <a:pt x="87" y="87"/>
                    </a:moveTo>
                    <a:lnTo>
                      <a:pt x="87" y="87"/>
                    </a:lnTo>
                    <a:lnTo>
                      <a:pt x="166897" y="87"/>
                    </a:lnTo>
                    <a:lnTo>
                      <a:pt x="166897" y="8557"/>
                    </a:lnTo>
                    <a:lnTo>
                      <a:pt x="87" y="8557"/>
                    </a:lnTo>
                    <a:lnTo>
                      <a:pt x="87" y="87"/>
                    </a:lnTo>
                    <a:close/>
                    <a:moveTo>
                      <a:pt x="87" y="85514"/>
                    </a:moveTo>
                    <a:lnTo>
                      <a:pt x="87" y="85514"/>
                    </a:lnTo>
                    <a:lnTo>
                      <a:pt x="73127" y="85514"/>
                    </a:lnTo>
                    <a:lnTo>
                      <a:pt x="73127" y="93984"/>
                    </a:lnTo>
                    <a:lnTo>
                      <a:pt x="87" y="93984"/>
                    </a:lnTo>
                    <a:lnTo>
                      <a:pt x="87" y="85514"/>
                    </a:lnTo>
                    <a:close/>
                    <a:moveTo>
                      <a:pt x="87" y="68428"/>
                    </a:moveTo>
                    <a:lnTo>
                      <a:pt x="87" y="68428"/>
                    </a:lnTo>
                    <a:lnTo>
                      <a:pt x="166897" y="68428"/>
                    </a:lnTo>
                    <a:lnTo>
                      <a:pt x="166897" y="76898"/>
                    </a:lnTo>
                    <a:lnTo>
                      <a:pt x="87" y="76898"/>
                    </a:lnTo>
                    <a:lnTo>
                      <a:pt x="87" y="68428"/>
                    </a:lnTo>
                    <a:close/>
                    <a:moveTo>
                      <a:pt x="87" y="51342"/>
                    </a:moveTo>
                    <a:lnTo>
                      <a:pt x="87" y="51342"/>
                    </a:lnTo>
                    <a:lnTo>
                      <a:pt x="166897" y="51342"/>
                    </a:lnTo>
                    <a:lnTo>
                      <a:pt x="166897" y="59813"/>
                    </a:lnTo>
                    <a:lnTo>
                      <a:pt x="87" y="59813"/>
                    </a:lnTo>
                    <a:lnTo>
                      <a:pt x="87" y="51342"/>
                    </a:lnTo>
                    <a:close/>
                    <a:moveTo>
                      <a:pt x="87" y="34257"/>
                    </a:moveTo>
                    <a:lnTo>
                      <a:pt x="87" y="34257"/>
                    </a:lnTo>
                    <a:lnTo>
                      <a:pt x="166897" y="34257"/>
                    </a:lnTo>
                    <a:lnTo>
                      <a:pt x="166897" y="42728"/>
                    </a:lnTo>
                    <a:lnTo>
                      <a:pt x="87" y="42728"/>
                    </a:lnTo>
                    <a:lnTo>
                      <a:pt x="87" y="34257"/>
                    </a:lnTo>
                    <a:close/>
                    <a:moveTo>
                      <a:pt x="87" y="17171"/>
                    </a:moveTo>
                    <a:lnTo>
                      <a:pt x="87" y="17171"/>
                    </a:lnTo>
                    <a:lnTo>
                      <a:pt x="166897" y="17171"/>
                    </a:lnTo>
                    <a:lnTo>
                      <a:pt x="166897" y="25643"/>
                    </a:lnTo>
                    <a:lnTo>
                      <a:pt x="87" y="25643"/>
                    </a:lnTo>
                    <a:lnTo>
                      <a:pt x="87" y="17171"/>
                    </a:lnTo>
                    <a:close/>
                    <a:moveTo>
                      <a:pt x="87" y="197251"/>
                    </a:moveTo>
                    <a:lnTo>
                      <a:pt x="87" y="197251"/>
                    </a:lnTo>
                    <a:lnTo>
                      <a:pt x="57498" y="197251"/>
                    </a:lnTo>
                    <a:lnTo>
                      <a:pt x="57498" y="205721"/>
                    </a:lnTo>
                    <a:lnTo>
                      <a:pt x="87" y="205721"/>
                    </a:lnTo>
                    <a:lnTo>
                      <a:pt x="87" y="197251"/>
                    </a:lnTo>
                    <a:close/>
                    <a:moveTo>
                      <a:pt x="87" y="180165"/>
                    </a:moveTo>
                    <a:lnTo>
                      <a:pt x="87" y="180165"/>
                    </a:lnTo>
                    <a:lnTo>
                      <a:pt x="166897" y="180165"/>
                    </a:lnTo>
                    <a:lnTo>
                      <a:pt x="166897" y="188636"/>
                    </a:lnTo>
                    <a:lnTo>
                      <a:pt x="87" y="188636"/>
                    </a:lnTo>
                    <a:lnTo>
                      <a:pt x="87" y="180165"/>
                    </a:lnTo>
                    <a:close/>
                    <a:moveTo>
                      <a:pt x="87" y="163080"/>
                    </a:moveTo>
                    <a:lnTo>
                      <a:pt x="87" y="163080"/>
                    </a:lnTo>
                    <a:lnTo>
                      <a:pt x="166897" y="163080"/>
                    </a:lnTo>
                    <a:lnTo>
                      <a:pt x="166897" y="171550"/>
                    </a:lnTo>
                    <a:lnTo>
                      <a:pt x="87" y="171550"/>
                    </a:lnTo>
                    <a:lnTo>
                      <a:pt x="87" y="163080"/>
                    </a:lnTo>
                    <a:close/>
                    <a:moveTo>
                      <a:pt x="87" y="145994"/>
                    </a:moveTo>
                    <a:lnTo>
                      <a:pt x="87" y="145994"/>
                    </a:lnTo>
                    <a:lnTo>
                      <a:pt x="166897" y="145994"/>
                    </a:lnTo>
                    <a:lnTo>
                      <a:pt x="166897" y="154465"/>
                    </a:lnTo>
                    <a:lnTo>
                      <a:pt x="87" y="154465"/>
                    </a:lnTo>
                    <a:lnTo>
                      <a:pt x="87" y="145994"/>
                    </a:lnTo>
                    <a:close/>
                    <a:moveTo>
                      <a:pt x="87" y="128908"/>
                    </a:moveTo>
                    <a:lnTo>
                      <a:pt x="87" y="128908"/>
                    </a:lnTo>
                    <a:lnTo>
                      <a:pt x="166897" y="128908"/>
                    </a:lnTo>
                    <a:lnTo>
                      <a:pt x="166897" y="137377"/>
                    </a:lnTo>
                    <a:lnTo>
                      <a:pt x="87" y="137377"/>
                    </a:lnTo>
                    <a:lnTo>
                      <a:pt x="87" y="128908"/>
                    </a:lnTo>
                    <a:close/>
                  </a:path>
                </a:pathLst>
              </a:custGeom>
              <a:solidFill>
                <a:schemeClr val="tx2">
                  <a:lumMod val="10000"/>
                  <a:lumOff val="90000"/>
                </a:schemeClr>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grpSp>
      </p:grpSp>
      <p:grpSp>
        <p:nvGrpSpPr>
          <p:cNvPr id="27" name="Group 26">
            <a:extLst>
              <a:ext uri="{FF2B5EF4-FFF2-40B4-BE49-F238E27FC236}">
                <a16:creationId xmlns:a16="http://schemas.microsoft.com/office/drawing/2014/main" id="{C16A86A5-F3CF-4AB7-A753-1BBC9EBE9A77}"/>
              </a:ext>
            </a:extLst>
          </p:cNvPr>
          <p:cNvGrpSpPr/>
          <p:nvPr/>
        </p:nvGrpSpPr>
        <p:grpSpPr>
          <a:xfrm>
            <a:off x="3789459" y="2869159"/>
            <a:ext cx="514861" cy="138801"/>
            <a:chOff x="32932" y="2632371"/>
            <a:chExt cx="727607" cy="196156"/>
          </a:xfrm>
        </p:grpSpPr>
        <p:pic>
          <p:nvPicPr>
            <p:cNvPr id="669" name="Graphic 668" descr="Woman">
              <a:extLst>
                <a:ext uri="{FF2B5EF4-FFF2-40B4-BE49-F238E27FC236}">
                  <a16:creationId xmlns:a16="http://schemas.microsoft.com/office/drawing/2014/main" id="{28E0DC9B-0C8D-4956-AF0D-24CB161C81A7}"/>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1520" y="2632371"/>
              <a:ext cx="196156" cy="196156"/>
            </a:xfrm>
            <a:prstGeom prst="rect">
              <a:avLst/>
            </a:prstGeom>
          </p:spPr>
        </p:pic>
        <p:pic>
          <p:nvPicPr>
            <p:cNvPr id="670" name="Graphic 669" descr="Woman">
              <a:extLst>
                <a:ext uri="{FF2B5EF4-FFF2-40B4-BE49-F238E27FC236}">
                  <a16:creationId xmlns:a16="http://schemas.microsoft.com/office/drawing/2014/main" id="{C38AE782-95DB-452A-B278-07546C82DC05}"/>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8657" y="2632371"/>
              <a:ext cx="196156" cy="196156"/>
            </a:xfrm>
            <a:prstGeom prst="rect">
              <a:avLst/>
            </a:prstGeom>
          </p:spPr>
        </p:pic>
        <p:pic>
          <p:nvPicPr>
            <p:cNvPr id="671" name="Graphic 670" descr="Woman">
              <a:extLst>
                <a:ext uri="{FF2B5EF4-FFF2-40B4-BE49-F238E27FC236}">
                  <a16:creationId xmlns:a16="http://schemas.microsoft.com/office/drawing/2014/main" id="{1F5779B1-4948-403E-BCF9-92865A50A1C9}"/>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5794" y="2632371"/>
              <a:ext cx="196156" cy="196156"/>
            </a:xfrm>
            <a:prstGeom prst="rect">
              <a:avLst/>
            </a:prstGeom>
          </p:spPr>
        </p:pic>
        <p:pic>
          <p:nvPicPr>
            <p:cNvPr id="672" name="Graphic 671" descr="Woman">
              <a:extLst>
                <a:ext uri="{FF2B5EF4-FFF2-40B4-BE49-F238E27FC236}">
                  <a16:creationId xmlns:a16="http://schemas.microsoft.com/office/drawing/2014/main" id="{B9D67DD8-A1D7-4200-8EDD-076127946B73}"/>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2932" y="2632371"/>
              <a:ext cx="196156" cy="196156"/>
            </a:xfrm>
            <a:prstGeom prst="rect">
              <a:avLst/>
            </a:prstGeom>
          </p:spPr>
        </p:pic>
        <p:pic>
          <p:nvPicPr>
            <p:cNvPr id="673" name="Graphic 672" descr="Man">
              <a:extLst>
                <a:ext uri="{FF2B5EF4-FFF2-40B4-BE49-F238E27FC236}">
                  <a16:creationId xmlns:a16="http://schemas.microsoft.com/office/drawing/2014/main" id="{4F06BCED-F731-4EE3-AD64-D66EA7E9813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64383" y="2632371"/>
              <a:ext cx="196156" cy="196156"/>
            </a:xfrm>
            <a:prstGeom prst="rect">
              <a:avLst/>
            </a:prstGeom>
          </p:spPr>
        </p:pic>
      </p:grpSp>
      <p:sp>
        <p:nvSpPr>
          <p:cNvPr id="237" name="Freeform: Shape 236">
            <a:extLst>
              <a:ext uri="{FF2B5EF4-FFF2-40B4-BE49-F238E27FC236}">
                <a16:creationId xmlns:a16="http://schemas.microsoft.com/office/drawing/2014/main" id="{40549419-A448-4B85-9042-D5F2ADC98C18}"/>
              </a:ext>
            </a:extLst>
          </p:cNvPr>
          <p:cNvSpPr/>
          <p:nvPr/>
        </p:nvSpPr>
        <p:spPr>
          <a:xfrm>
            <a:off x="863227" y="2222577"/>
            <a:ext cx="3527864" cy="346000"/>
          </a:xfrm>
          <a:custGeom>
            <a:avLst/>
            <a:gdLst>
              <a:gd name="connsiteX0" fmla="*/ 0 w 5647615"/>
              <a:gd name="connsiteY0" fmla="*/ 0 h 540000"/>
              <a:gd name="connsiteX1" fmla="*/ 5647615 w 5647615"/>
              <a:gd name="connsiteY1" fmla="*/ 0 h 540000"/>
              <a:gd name="connsiteX2" fmla="*/ 5512615 w 5647615"/>
              <a:gd name="connsiteY2" fmla="*/ 540000 h 540000"/>
              <a:gd name="connsiteX3" fmla="*/ 0 w 5647615"/>
              <a:gd name="connsiteY3" fmla="*/ 540000 h 540000"/>
              <a:gd name="connsiteX4" fmla="*/ 270000 w 5647615"/>
              <a:gd name="connsiteY4" fmla="*/ 270000 h 540000"/>
              <a:gd name="connsiteX5" fmla="*/ 0 w 5647615"/>
              <a:gd name="connsiteY5" fmla="*/ 0 h 5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47615" h="540000">
                <a:moveTo>
                  <a:pt x="0" y="0"/>
                </a:moveTo>
                <a:lnTo>
                  <a:pt x="5647615" y="0"/>
                </a:lnTo>
                <a:lnTo>
                  <a:pt x="5512615" y="540000"/>
                </a:lnTo>
                <a:lnTo>
                  <a:pt x="0" y="540000"/>
                </a:lnTo>
                <a:cubicBezTo>
                  <a:pt x="149117" y="540000"/>
                  <a:pt x="270000" y="419117"/>
                  <a:pt x="270000" y="270000"/>
                </a:cubicBezTo>
                <a:cubicBezTo>
                  <a:pt x="270000" y="120883"/>
                  <a:pt x="149117" y="0"/>
                  <a:pt x="0"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Franklin Gothic Medium" panose="020B0603020102020204"/>
                <a:ea typeface="+mn-ea"/>
                <a:cs typeface="+mn-cs"/>
              </a:rPr>
              <a:t> </a:t>
            </a:r>
          </a:p>
        </p:txBody>
      </p:sp>
      <p:sp>
        <p:nvSpPr>
          <p:cNvPr id="238" name="Rectangle 237">
            <a:extLst>
              <a:ext uri="{FF2B5EF4-FFF2-40B4-BE49-F238E27FC236}">
                <a16:creationId xmlns:a16="http://schemas.microsoft.com/office/drawing/2014/main" id="{3B9AC852-EDC9-4AC8-8BF3-3186913E0625}"/>
              </a:ext>
            </a:extLst>
          </p:cNvPr>
          <p:cNvSpPr>
            <a:spLocks/>
          </p:cNvSpPr>
          <p:nvPr/>
        </p:nvSpPr>
        <p:spPr>
          <a:xfrm>
            <a:off x="1125371" y="2271635"/>
            <a:ext cx="2946349" cy="247885"/>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3"/>
              </a:spcAft>
              <a:buClrTx/>
              <a:buSzTx/>
              <a:buFontTx/>
              <a:buNone/>
              <a:tabLst>
                <a:tab pos="2088356" algn="l"/>
              </a:tabLst>
              <a:defRPr/>
            </a:pPr>
            <a:r>
              <a:rPr kumimoji="0" lang="en-GB" sz="1050" b="0" i="0" u="none" strike="noStrike" kern="1200" cap="none" spc="0" normalizeH="0" baseline="0" noProof="0" dirty="0">
                <a:ln>
                  <a:noFill/>
                </a:ln>
                <a:solidFill>
                  <a:prstClr val="black"/>
                </a:solidFill>
                <a:effectLst/>
                <a:uLnTx/>
                <a:uFillTx/>
                <a:latin typeface="Franklin Gothic Book" panose="020B0503020102020204"/>
                <a:ea typeface="+mn-ea"/>
                <a:cs typeface="+mn-cs"/>
              </a:rPr>
              <a:t>Publishers, journal editors, and NIH/NLM</a:t>
            </a:r>
          </a:p>
        </p:txBody>
      </p:sp>
      <p:grpSp>
        <p:nvGrpSpPr>
          <p:cNvPr id="681" name="Group 680">
            <a:extLst>
              <a:ext uri="{FF2B5EF4-FFF2-40B4-BE49-F238E27FC236}">
                <a16:creationId xmlns:a16="http://schemas.microsoft.com/office/drawing/2014/main" id="{CB929AF5-B201-4A97-9918-976360A267B4}"/>
              </a:ext>
            </a:extLst>
          </p:cNvPr>
          <p:cNvGrpSpPr/>
          <p:nvPr/>
        </p:nvGrpSpPr>
        <p:grpSpPr>
          <a:xfrm>
            <a:off x="635594" y="2172837"/>
            <a:ext cx="445480" cy="445480"/>
            <a:chOff x="12601034" y="3136966"/>
            <a:chExt cx="540000" cy="540000"/>
          </a:xfrm>
        </p:grpSpPr>
        <p:sp>
          <p:nvSpPr>
            <p:cNvPr id="692" name="Oval 691">
              <a:extLst>
                <a:ext uri="{FF2B5EF4-FFF2-40B4-BE49-F238E27FC236}">
                  <a16:creationId xmlns:a16="http://schemas.microsoft.com/office/drawing/2014/main" id="{A2C96497-D456-42E5-95F9-894F31AC138F}"/>
                </a:ext>
              </a:extLst>
            </p:cNvPr>
            <p:cNvSpPr/>
            <p:nvPr/>
          </p:nvSpPr>
          <p:spPr>
            <a:xfrm>
              <a:off x="12601034" y="3136966"/>
              <a:ext cx="540000" cy="540000"/>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Franklin Gothic Medium" panose="020B0603020102020204"/>
                  <a:ea typeface="+mn-ea"/>
                  <a:cs typeface="+mn-cs"/>
                </a:rPr>
                <a:t> </a:t>
              </a:r>
            </a:p>
          </p:txBody>
        </p:sp>
        <p:grpSp>
          <p:nvGrpSpPr>
            <p:cNvPr id="693" name="Graphic 496">
              <a:extLst>
                <a:ext uri="{FF2B5EF4-FFF2-40B4-BE49-F238E27FC236}">
                  <a16:creationId xmlns:a16="http://schemas.microsoft.com/office/drawing/2014/main" id="{2E9C3FCD-AD34-434C-AD50-BC5C23DF285C}"/>
                </a:ext>
              </a:extLst>
            </p:cNvPr>
            <p:cNvGrpSpPr/>
            <p:nvPr/>
          </p:nvGrpSpPr>
          <p:grpSpPr>
            <a:xfrm>
              <a:off x="12615806" y="3218469"/>
              <a:ext cx="509414" cy="403234"/>
              <a:chOff x="412232" y="5930013"/>
              <a:chExt cx="509414" cy="403234"/>
            </a:xfrm>
          </p:grpSpPr>
          <p:sp>
            <p:nvSpPr>
              <p:cNvPr id="694" name="Freeform: Shape 693">
                <a:extLst>
                  <a:ext uri="{FF2B5EF4-FFF2-40B4-BE49-F238E27FC236}">
                    <a16:creationId xmlns:a16="http://schemas.microsoft.com/office/drawing/2014/main" id="{B0AC6F95-C6B7-4B1E-9BD6-2460507ED42F}"/>
                  </a:ext>
                </a:extLst>
              </p:cNvPr>
              <p:cNvSpPr/>
              <p:nvPr/>
            </p:nvSpPr>
            <p:spPr>
              <a:xfrm>
                <a:off x="412232" y="6298442"/>
                <a:ext cx="509414" cy="34805"/>
              </a:xfrm>
              <a:custGeom>
                <a:avLst/>
                <a:gdLst>
                  <a:gd name="connsiteX0" fmla="*/ 87 w 509414"/>
                  <a:gd name="connsiteY0" fmla="*/ 87 h 34804"/>
                  <a:gd name="connsiteX1" fmla="*/ 510371 w 509414"/>
                  <a:gd name="connsiteY1" fmla="*/ 87 h 34804"/>
                  <a:gd name="connsiteX2" fmla="*/ 510371 w 509414"/>
                  <a:gd name="connsiteY2" fmla="*/ 17569 h 34804"/>
                  <a:gd name="connsiteX3" fmla="*/ 492889 w 509414"/>
                  <a:gd name="connsiteY3" fmla="*/ 35048 h 34804"/>
                  <a:gd name="connsiteX4" fmla="*/ 17568 w 509414"/>
                  <a:gd name="connsiteY4" fmla="*/ 35048 h 34804"/>
                  <a:gd name="connsiteX5" fmla="*/ 87 w 509414"/>
                  <a:gd name="connsiteY5" fmla="*/ 17569 h 34804"/>
                  <a:gd name="connsiteX6" fmla="*/ 87 w 509414"/>
                  <a:gd name="connsiteY6" fmla="*/ 87 h 34804"/>
                  <a:gd name="connsiteX7" fmla="*/ 87 w 509414"/>
                  <a:gd name="connsiteY7" fmla="*/ 87 h 34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9414" h="34804">
                    <a:moveTo>
                      <a:pt x="87" y="87"/>
                    </a:moveTo>
                    <a:lnTo>
                      <a:pt x="510371" y="87"/>
                    </a:lnTo>
                    <a:lnTo>
                      <a:pt x="510371" y="17569"/>
                    </a:lnTo>
                    <a:cubicBezTo>
                      <a:pt x="510371" y="27183"/>
                      <a:pt x="502506" y="35048"/>
                      <a:pt x="492889" y="35048"/>
                    </a:cubicBezTo>
                    <a:lnTo>
                      <a:pt x="17568" y="35048"/>
                    </a:lnTo>
                    <a:cubicBezTo>
                      <a:pt x="7954" y="35048"/>
                      <a:pt x="87" y="27183"/>
                      <a:pt x="87" y="17569"/>
                    </a:cubicBezTo>
                    <a:lnTo>
                      <a:pt x="87" y="87"/>
                    </a:lnTo>
                    <a:lnTo>
                      <a:pt x="87" y="87"/>
                    </a:lnTo>
                    <a:close/>
                  </a:path>
                </a:pathLst>
              </a:custGeom>
              <a:solidFill>
                <a:schemeClr val="accent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695" name="Freeform: Shape 694">
                <a:extLst>
                  <a:ext uri="{FF2B5EF4-FFF2-40B4-BE49-F238E27FC236}">
                    <a16:creationId xmlns:a16="http://schemas.microsoft.com/office/drawing/2014/main" id="{713C234A-8B6E-4A94-B3E2-57D14244223F}"/>
                  </a:ext>
                </a:extLst>
              </p:cNvPr>
              <p:cNvSpPr/>
              <p:nvPr/>
            </p:nvSpPr>
            <p:spPr>
              <a:xfrm>
                <a:off x="597460" y="6298442"/>
                <a:ext cx="139219" cy="9492"/>
              </a:xfrm>
              <a:custGeom>
                <a:avLst/>
                <a:gdLst>
                  <a:gd name="connsiteX0" fmla="*/ 88 w 139218"/>
                  <a:gd name="connsiteY0" fmla="*/ 87 h 9492"/>
                  <a:gd name="connsiteX1" fmla="*/ 139915 w 139218"/>
                  <a:gd name="connsiteY1" fmla="*/ 87 h 9492"/>
                  <a:gd name="connsiteX2" fmla="*/ 139915 w 139218"/>
                  <a:gd name="connsiteY2" fmla="*/ 5226 h 9492"/>
                  <a:gd name="connsiteX3" fmla="*/ 134774 w 139218"/>
                  <a:gd name="connsiteY3" fmla="*/ 10364 h 9492"/>
                  <a:gd name="connsiteX4" fmla="*/ 5224 w 139218"/>
                  <a:gd name="connsiteY4" fmla="*/ 10364 h 9492"/>
                  <a:gd name="connsiteX5" fmla="*/ 87 w 139218"/>
                  <a:gd name="connsiteY5" fmla="*/ 5226 h 9492"/>
                  <a:gd name="connsiteX6" fmla="*/ 87 w 139218"/>
                  <a:gd name="connsiteY6" fmla="*/ 87 h 9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218" h="9492">
                    <a:moveTo>
                      <a:pt x="88" y="87"/>
                    </a:moveTo>
                    <a:lnTo>
                      <a:pt x="139915" y="87"/>
                    </a:lnTo>
                    <a:lnTo>
                      <a:pt x="139915" y="5226"/>
                    </a:lnTo>
                    <a:cubicBezTo>
                      <a:pt x="139915" y="8054"/>
                      <a:pt x="137601" y="10364"/>
                      <a:pt x="134774" y="10364"/>
                    </a:cubicBezTo>
                    <a:lnTo>
                      <a:pt x="5224" y="10364"/>
                    </a:lnTo>
                    <a:cubicBezTo>
                      <a:pt x="2396" y="10364"/>
                      <a:pt x="87" y="8054"/>
                      <a:pt x="87" y="5226"/>
                    </a:cubicBezTo>
                    <a:lnTo>
                      <a:pt x="87" y="87"/>
                    </a:lnTo>
                    <a:close/>
                  </a:path>
                </a:pathLst>
              </a:custGeom>
              <a:solidFill>
                <a:schemeClr val="accent1">
                  <a:lumMod val="50000"/>
                </a:schemeClr>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696" name="Freeform: Shape 695">
                <a:extLst>
                  <a:ext uri="{FF2B5EF4-FFF2-40B4-BE49-F238E27FC236}">
                    <a16:creationId xmlns:a16="http://schemas.microsoft.com/office/drawing/2014/main" id="{365EBBE5-0CB4-4CD4-BD1F-189052100182}"/>
                  </a:ext>
                </a:extLst>
              </p:cNvPr>
              <p:cNvSpPr/>
              <p:nvPr/>
            </p:nvSpPr>
            <p:spPr>
              <a:xfrm>
                <a:off x="452307" y="6021864"/>
                <a:ext cx="429258" cy="270000"/>
              </a:xfrm>
              <a:custGeom>
                <a:avLst/>
                <a:gdLst>
                  <a:gd name="connsiteX0" fmla="*/ 9230 w 429257"/>
                  <a:gd name="connsiteY0" fmla="*/ 87 h 270000"/>
                  <a:gd name="connsiteX1" fmla="*/ 421080 w 429257"/>
                  <a:gd name="connsiteY1" fmla="*/ 87 h 270000"/>
                  <a:gd name="connsiteX2" fmla="*/ 430223 w 429257"/>
                  <a:gd name="connsiteY2" fmla="*/ 9230 h 270000"/>
                  <a:gd name="connsiteX3" fmla="*/ 430223 w 429257"/>
                  <a:gd name="connsiteY3" fmla="*/ 261567 h 270000"/>
                  <a:gd name="connsiteX4" fmla="*/ 421080 w 429257"/>
                  <a:gd name="connsiteY4" fmla="*/ 270710 h 270000"/>
                  <a:gd name="connsiteX5" fmla="*/ 9230 w 429257"/>
                  <a:gd name="connsiteY5" fmla="*/ 270710 h 270000"/>
                  <a:gd name="connsiteX6" fmla="*/ 87 w 429257"/>
                  <a:gd name="connsiteY6" fmla="*/ 261567 h 270000"/>
                  <a:gd name="connsiteX7" fmla="*/ 87 w 429257"/>
                  <a:gd name="connsiteY7" fmla="*/ 9230 h 270000"/>
                  <a:gd name="connsiteX8" fmla="*/ 9230 w 429257"/>
                  <a:gd name="connsiteY8" fmla="*/ 87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257" h="270000">
                    <a:moveTo>
                      <a:pt x="9230" y="87"/>
                    </a:moveTo>
                    <a:lnTo>
                      <a:pt x="421080" y="87"/>
                    </a:lnTo>
                    <a:cubicBezTo>
                      <a:pt x="426109" y="87"/>
                      <a:pt x="430223" y="4200"/>
                      <a:pt x="430223" y="9230"/>
                    </a:cubicBezTo>
                    <a:lnTo>
                      <a:pt x="430223" y="261567"/>
                    </a:lnTo>
                    <a:cubicBezTo>
                      <a:pt x="430223" y="266596"/>
                      <a:pt x="426110" y="270710"/>
                      <a:pt x="421080" y="270710"/>
                    </a:cubicBezTo>
                    <a:lnTo>
                      <a:pt x="9230" y="270710"/>
                    </a:lnTo>
                    <a:cubicBezTo>
                      <a:pt x="4201" y="270710"/>
                      <a:pt x="87" y="266597"/>
                      <a:pt x="87" y="261567"/>
                    </a:cubicBezTo>
                    <a:lnTo>
                      <a:pt x="87" y="9230"/>
                    </a:lnTo>
                    <a:cubicBezTo>
                      <a:pt x="88" y="4201"/>
                      <a:pt x="4201" y="87"/>
                      <a:pt x="9230" y="87"/>
                    </a:cubicBezTo>
                    <a:close/>
                  </a:path>
                </a:pathLst>
              </a:custGeom>
              <a:solidFill>
                <a:schemeClr val="accent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697" name="Freeform: Shape 696">
                <a:extLst>
                  <a:ext uri="{FF2B5EF4-FFF2-40B4-BE49-F238E27FC236}">
                    <a16:creationId xmlns:a16="http://schemas.microsoft.com/office/drawing/2014/main" id="{6F65159A-6CAD-4BD2-AC8D-CEC24CF90B49}"/>
                  </a:ext>
                </a:extLst>
              </p:cNvPr>
              <p:cNvSpPr/>
              <p:nvPr/>
            </p:nvSpPr>
            <p:spPr>
              <a:xfrm>
                <a:off x="471526" y="6040225"/>
                <a:ext cx="391289" cy="238359"/>
              </a:xfrm>
              <a:custGeom>
                <a:avLst/>
                <a:gdLst>
                  <a:gd name="connsiteX0" fmla="*/ 87 w 391289"/>
                  <a:gd name="connsiteY0" fmla="*/ 87 h 238359"/>
                  <a:gd name="connsiteX1" fmla="*/ 391877 w 391289"/>
                  <a:gd name="connsiteY1" fmla="*/ 87 h 238359"/>
                  <a:gd name="connsiteX2" fmla="*/ 391877 w 391289"/>
                  <a:gd name="connsiteY2" fmla="*/ 238856 h 238359"/>
                  <a:gd name="connsiteX3" fmla="*/ 87 w 391289"/>
                  <a:gd name="connsiteY3" fmla="*/ 238856 h 238359"/>
                  <a:gd name="connsiteX4" fmla="*/ 87 w 391289"/>
                  <a:gd name="connsiteY4" fmla="*/ 87 h 238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1289" h="238359">
                    <a:moveTo>
                      <a:pt x="87" y="87"/>
                    </a:moveTo>
                    <a:lnTo>
                      <a:pt x="391877" y="87"/>
                    </a:lnTo>
                    <a:lnTo>
                      <a:pt x="391877" y="238856"/>
                    </a:lnTo>
                    <a:lnTo>
                      <a:pt x="87" y="238856"/>
                    </a:lnTo>
                    <a:lnTo>
                      <a:pt x="87" y="87"/>
                    </a:lnTo>
                    <a:close/>
                  </a:path>
                </a:pathLst>
              </a:custGeom>
              <a:solidFill>
                <a:srgbClr val="FFFFFF"/>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698" name="Freeform: Shape 697">
                <a:extLst>
                  <a:ext uri="{FF2B5EF4-FFF2-40B4-BE49-F238E27FC236}">
                    <a16:creationId xmlns:a16="http://schemas.microsoft.com/office/drawing/2014/main" id="{AA96E33E-24C2-4266-99B3-88437C656E22}"/>
                  </a:ext>
                </a:extLst>
              </p:cNvPr>
              <p:cNvSpPr/>
              <p:nvPr/>
            </p:nvSpPr>
            <p:spPr>
              <a:xfrm>
                <a:off x="507082" y="6292487"/>
                <a:ext cx="320625" cy="5273"/>
              </a:xfrm>
              <a:custGeom>
                <a:avLst/>
                <a:gdLst>
                  <a:gd name="connsiteX0" fmla="*/ 87 w 320625"/>
                  <a:gd name="connsiteY0" fmla="*/ 87 h 5273"/>
                  <a:gd name="connsiteX1" fmla="*/ 28573 w 320625"/>
                  <a:gd name="connsiteY1" fmla="*/ 87 h 5273"/>
                  <a:gd name="connsiteX2" fmla="*/ 28573 w 320625"/>
                  <a:gd name="connsiteY2" fmla="*/ 6041 h 5273"/>
                  <a:gd name="connsiteX3" fmla="*/ 87 w 320625"/>
                  <a:gd name="connsiteY3" fmla="*/ 6041 h 5273"/>
                  <a:gd name="connsiteX4" fmla="*/ 87 w 320625"/>
                  <a:gd name="connsiteY4" fmla="*/ 87 h 5273"/>
                  <a:gd name="connsiteX5" fmla="*/ 292183 w 320625"/>
                  <a:gd name="connsiteY5" fmla="*/ 87 h 5273"/>
                  <a:gd name="connsiteX6" fmla="*/ 292183 w 320625"/>
                  <a:gd name="connsiteY6" fmla="*/ 87 h 5273"/>
                  <a:gd name="connsiteX7" fmla="*/ 320669 w 320625"/>
                  <a:gd name="connsiteY7" fmla="*/ 87 h 5273"/>
                  <a:gd name="connsiteX8" fmla="*/ 320669 w 320625"/>
                  <a:gd name="connsiteY8" fmla="*/ 6041 h 5273"/>
                  <a:gd name="connsiteX9" fmla="*/ 292183 w 320625"/>
                  <a:gd name="connsiteY9" fmla="*/ 6041 h 5273"/>
                  <a:gd name="connsiteX10" fmla="*/ 292183 w 320625"/>
                  <a:gd name="connsiteY10" fmla="*/ 87 h 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625" h="5273">
                    <a:moveTo>
                      <a:pt x="87" y="87"/>
                    </a:moveTo>
                    <a:lnTo>
                      <a:pt x="28573" y="87"/>
                    </a:lnTo>
                    <a:lnTo>
                      <a:pt x="28573" y="6041"/>
                    </a:lnTo>
                    <a:lnTo>
                      <a:pt x="87" y="6041"/>
                    </a:lnTo>
                    <a:lnTo>
                      <a:pt x="87" y="87"/>
                    </a:lnTo>
                    <a:close/>
                    <a:moveTo>
                      <a:pt x="292183" y="87"/>
                    </a:moveTo>
                    <a:lnTo>
                      <a:pt x="292183" y="87"/>
                    </a:lnTo>
                    <a:lnTo>
                      <a:pt x="320669" y="87"/>
                    </a:lnTo>
                    <a:lnTo>
                      <a:pt x="320669" y="6041"/>
                    </a:lnTo>
                    <a:lnTo>
                      <a:pt x="292183" y="6041"/>
                    </a:lnTo>
                    <a:lnTo>
                      <a:pt x="292183" y="87"/>
                    </a:lnTo>
                    <a:close/>
                  </a:path>
                </a:pathLst>
              </a:custGeom>
              <a:solidFill>
                <a:schemeClr val="accent1">
                  <a:lumMod val="50000"/>
                </a:schemeClr>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699" name="Freeform: Shape 698">
                <a:extLst>
                  <a:ext uri="{FF2B5EF4-FFF2-40B4-BE49-F238E27FC236}">
                    <a16:creationId xmlns:a16="http://schemas.microsoft.com/office/drawing/2014/main" id="{C2E17367-FA53-427B-9758-16C871593D4A}"/>
                  </a:ext>
                </a:extLst>
              </p:cNvPr>
              <p:cNvSpPr/>
              <p:nvPr/>
            </p:nvSpPr>
            <p:spPr>
              <a:xfrm>
                <a:off x="483024" y="6047699"/>
                <a:ext cx="122344" cy="122344"/>
              </a:xfrm>
              <a:custGeom>
                <a:avLst/>
                <a:gdLst>
                  <a:gd name="connsiteX0" fmla="*/ 61480 w 122343"/>
                  <a:gd name="connsiteY0" fmla="*/ 87 h 122343"/>
                  <a:gd name="connsiteX1" fmla="*/ 104892 w 122343"/>
                  <a:gd name="connsiteY1" fmla="*/ 18069 h 122343"/>
                  <a:gd name="connsiteX2" fmla="*/ 122871 w 122343"/>
                  <a:gd name="connsiteY2" fmla="*/ 61480 h 122343"/>
                  <a:gd name="connsiteX3" fmla="*/ 104892 w 122343"/>
                  <a:gd name="connsiteY3" fmla="*/ 104892 h 122343"/>
                  <a:gd name="connsiteX4" fmla="*/ 61480 w 122343"/>
                  <a:gd name="connsiteY4" fmla="*/ 122871 h 122343"/>
                  <a:gd name="connsiteX5" fmla="*/ 18069 w 122343"/>
                  <a:gd name="connsiteY5" fmla="*/ 104892 h 122343"/>
                  <a:gd name="connsiteX6" fmla="*/ 87 w 122343"/>
                  <a:gd name="connsiteY6" fmla="*/ 61480 h 122343"/>
                  <a:gd name="connsiteX7" fmla="*/ 18069 w 122343"/>
                  <a:gd name="connsiteY7" fmla="*/ 18069 h 122343"/>
                  <a:gd name="connsiteX8" fmla="*/ 61480 w 122343"/>
                  <a:gd name="connsiteY8" fmla="*/ 87 h 122343"/>
                  <a:gd name="connsiteX9" fmla="*/ 105458 w 122343"/>
                  <a:gd name="connsiteY9" fmla="*/ 95401 h 122343"/>
                  <a:gd name="connsiteX10" fmla="*/ 105458 w 122343"/>
                  <a:gd name="connsiteY10" fmla="*/ 95401 h 122343"/>
                  <a:gd name="connsiteX11" fmla="*/ 90976 w 122343"/>
                  <a:gd name="connsiteY11" fmla="*/ 90992 h 122343"/>
                  <a:gd name="connsiteX12" fmla="*/ 89342 w 122343"/>
                  <a:gd name="connsiteY12" fmla="*/ 94246 h 122343"/>
                  <a:gd name="connsiteX13" fmla="*/ 69899 w 122343"/>
                  <a:gd name="connsiteY13" fmla="*/ 116384 h 122343"/>
                  <a:gd name="connsiteX14" fmla="*/ 100752 w 122343"/>
                  <a:gd name="connsiteY14" fmla="*/ 100751 h 122343"/>
                  <a:gd name="connsiteX15" fmla="*/ 105458 w 122343"/>
                  <a:gd name="connsiteY15" fmla="*/ 95401 h 122343"/>
                  <a:gd name="connsiteX16" fmla="*/ 105458 w 122343"/>
                  <a:gd name="connsiteY16" fmla="*/ 95401 h 122343"/>
                  <a:gd name="connsiteX17" fmla="*/ 53060 w 122343"/>
                  <a:gd name="connsiteY17" fmla="*/ 116384 h 122343"/>
                  <a:gd name="connsiteX18" fmla="*/ 53060 w 122343"/>
                  <a:gd name="connsiteY18" fmla="*/ 116384 h 122343"/>
                  <a:gd name="connsiteX19" fmla="*/ 33618 w 122343"/>
                  <a:gd name="connsiteY19" fmla="*/ 94247 h 122343"/>
                  <a:gd name="connsiteX20" fmla="*/ 31993 w 122343"/>
                  <a:gd name="connsiteY20" fmla="*/ 91013 h 122343"/>
                  <a:gd name="connsiteX21" fmla="*/ 17504 w 122343"/>
                  <a:gd name="connsiteY21" fmla="*/ 95406 h 122343"/>
                  <a:gd name="connsiteX22" fmla="*/ 22206 w 122343"/>
                  <a:gd name="connsiteY22" fmla="*/ 100752 h 122343"/>
                  <a:gd name="connsiteX23" fmla="*/ 53060 w 122343"/>
                  <a:gd name="connsiteY23" fmla="*/ 116384 h 122343"/>
                  <a:gd name="connsiteX24" fmla="*/ 53060 w 122343"/>
                  <a:gd name="connsiteY24" fmla="*/ 116384 h 122343"/>
                  <a:gd name="connsiteX25" fmla="*/ 14147 w 122343"/>
                  <a:gd name="connsiteY25" fmla="*/ 90549 h 122343"/>
                  <a:gd name="connsiteX26" fmla="*/ 14147 w 122343"/>
                  <a:gd name="connsiteY26" fmla="*/ 90549 h 122343"/>
                  <a:gd name="connsiteX27" fmla="*/ 29711 w 122343"/>
                  <a:gd name="connsiteY27" fmla="*/ 85544 h 122343"/>
                  <a:gd name="connsiteX28" fmla="*/ 25513 w 122343"/>
                  <a:gd name="connsiteY28" fmla="*/ 64427 h 122343"/>
                  <a:gd name="connsiteX29" fmla="*/ 6017 w 122343"/>
                  <a:gd name="connsiteY29" fmla="*/ 64427 h 122343"/>
                  <a:gd name="connsiteX30" fmla="*/ 14147 w 122343"/>
                  <a:gd name="connsiteY30" fmla="*/ 90549 h 122343"/>
                  <a:gd name="connsiteX31" fmla="*/ 14147 w 122343"/>
                  <a:gd name="connsiteY31" fmla="*/ 90549 h 122343"/>
                  <a:gd name="connsiteX32" fmla="*/ 6016 w 122343"/>
                  <a:gd name="connsiteY32" fmla="*/ 58572 h 122343"/>
                  <a:gd name="connsiteX33" fmla="*/ 6016 w 122343"/>
                  <a:gd name="connsiteY33" fmla="*/ 58572 h 122343"/>
                  <a:gd name="connsiteX34" fmla="*/ 25503 w 122343"/>
                  <a:gd name="connsiteY34" fmla="*/ 58572 h 122343"/>
                  <a:gd name="connsiteX35" fmla="*/ 30330 w 122343"/>
                  <a:gd name="connsiteY35" fmla="*/ 35606 h 122343"/>
                  <a:gd name="connsiteX36" fmla="*/ 15092 w 122343"/>
                  <a:gd name="connsiteY36" fmla="*/ 30927 h 122343"/>
                  <a:gd name="connsiteX37" fmla="*/ 6016 w 122343"/>
                  <a:gd name="connsiteY37" fmla="*/ 58572 h 122343"/>
                  <a:gd name="connsiteX38" fmla="*/ 6016 w 122343"/>
                  <a:gd name="connsiteY38" fmla="*/ 58572 h 122343"/>
                  <a:gd name="connsiteX39" fmla="*/ 18640 w 122343"/>
                  <a:gd name="connsiteY39" fmla="*/ 26129 h 122343"/>
                  <a:gd name="connsiteX40" fmla="*/ 18640 w 122343"/>
                  <a:gd name="connsiteY40" fmla="*/ 26129 h 122343"/>
                  <a:gd name="connsiteX41" fmla="*/ 32774 w 122343"/>
                  <a:gd name="connsiteY41" fmla="*/ 30162 h 122343"/>
                  <a:gd name="connsiteX42" fmla="*/ 33736 w 122343"/>
                  <a:gd name="connsiteY42" fmla="*/ 28327 h 122343"/>
                  <a:gd name="connsiteX43" fmla="*/ 52972 w 122343"/>
                  <a:gd name="connsiteY43" fmla="*/ 6587 h 122343"/>
                  <a:gd name="connsiteX44" fmla="*/ 22204 w 122343"/>
                  <a:gd name="connsiteY44" fmla="*/ 22205 h 122343"/>
                  <a:gd name="connsiteX45" fmla="*/ 18640 w 122343"/>
                  <a:gd name="connsiteY45" fmla="*/ 26129 h 122343"/>
                  <a:gd name="connsiteX46" fmla="*/ 69986 w 122343"/>
                  <a:gd name="connsiteY46" fmla="*/ 6588 h 122343"/>
                  <a:gd name="connsiteX47" fmla="*/ 69986 w 122343"/>
                  <a:gd name="connsiteY47" fmla="*/ 6588 h 122343"/>
                  <a:gd name="connsiteX48" fmla="*/ 89223 w 122343"/>
                  <a:gd name="connsiteY48" fmla="*/ 28328 h 122343"/>
                  <a:gd name="connsiteX49" fmla="*/ 90195 w 122343"/>
                  <a:gd name="connsiteY49" fmla="*/ 30183 h 122343"/>
                  <a:gd name="connsiteX50" fmla="*/ 104327 w 122343"/>
                  <a:gd name="connsiteY50" fmla="*/ 26136 h 122343"/>
                  <a:gd name="connsiteX51" fmla="*/ 100752 w 122343"/>
                  <a:gd name="connsiteY51" fmla="*/ 22206 h 122343"/>
                  <a:gd name="connsiteX52" fmla="*/ 69986 w 122343"/>
                  <a:gd name="connsiteY52" fmla="*/ 6588 h 122343"/>
                  <a:gd name="connsiteX53" fmla="*/ 69986 w 122343"/>
                  <a:gd name="connsiteY53" fmla="*/ 6588 h 122343"/>
                  <a:gd name="connsiteX54" fmla="*/ 107878 w 122343"/>
                  <a:gd name="connsiteY54" fmla="*/ 30940 h 122343"/>
                  <a:gd name="connsiteX55" fmla="*/ 107878 w 122343"/>
                  <a:gd name="connsiteY55" fmla="*/ 30940 h 122343"/>
                  <a:gd name="connsiteX56" fmla="*/ 92640 w 122343"/>
                  <a:gd name="connsiteY56" fmla="*/ 35634 h 122343"/>
                  <a:gd name="connsiteX57" fmla="*/ 97456 w 122343"/>
                  <a:gd name="connsiteY57" fmla="*/ 58572 h 122343"/>
                  <a:gd name="connsiteX58" fmla="*/ 116945 w 122343"/>
                  <a:gd name="connsiteY58" fmla="*/ 58572 h 122343"/>
                  <a:gd name="connsiteX59" fmla="*/ 107878 w 122343"/>
                  <a:gd name="connsiteY59" fmla="*/ 30940 h 122343"/>
                  <a:gd name="connsiteX60" fmla="*/ 107878 w 122343"/>
                  <a:gd name="connsiteY60" fmla="*/ 30940 h 122343"/>
                  <a:gd name="connsiteX61" fmla="*/ 116943 w 122343"/>
                  <a:gd name="connsiteY61" fmla="*/ 64427 h 122343"/>
                  <a:gd name="connsiteX62" fmla="*/ 116943 w 122343"/>
                  <a:gd name="connsiteY62" fmla="*/ 64427 h 122343"/>
                  <a:gd name="connsiteX63" fmla="*/ 97446 w 122343"/>
                  <a:gd name="connsiteY63" fmla="*/ 64427 h 122343"/>
                  <a:gd name="connsiteX64" fmla="*/ 93258 w 122343"/>
                  <a:gd name="connsiteY64" fmla="*/ 85518 h 122343"/>
                  <a:gd name="connsiteX65" fmla="*/ 108820 w 122343"/>
                  <a:gd name="connsiteY65" fmla="*/ 90540 h 122343"/>
                  <a:gd name="connsiteX66" fmla="*/ 116943 w 122343"/>
                  <a:gd name="connsiteY66" fmla="*/ 64427 h 122343"/>
                  <a:gd name="connsiteX67" fmla="*/ 116943 w 122343"/>
                  <a:gd name="connsiteY67" fmla="*/ 64427 h 122343"/>
                  <a:gd name="connsiteX68" fmla="*/ 64407 w 122343"/>
                  <a:gd name="connsiteY68" fmla="*/ 9853 h 122343"/>
                  <a:gd name="connsiteX69" fmla="*/ 64407 w 122343"/>
                  <a:gd name="connsiteY69" fmla="*/ 9853 h 122343"/>
                  <a:gd name="connsiteX70" fmla="*/ 64407 w 122343"/>
                  <a:gd name="connsiteY70" fmla="*/ 32582 h 122343"/>
                  <a:gd name="connsiteX71" fmla="*/ 84127 w 122343"/>
                  <a:gd name="connsiteY71" fmla="*/ 31162 h 122343"/>
                  <a:gd name="connsiteX72" fmla="*/ 84102 w 122343"/>
                  <a:gd name="connsiteY72" fmla="*/ 31118 h 122343"/>
                  <a:gd name="connsiteX73" fmla="*/ 64407 w 122343"/>
                  <a:gd name="connsiteY73" fmla="*/ 9853 h 122343"/>
                  <a:gd name="connsiteX74" fmla="*/ 64407 w 122343"/>
                  <a:gd name="connsiteY74" fmla="*/ 38437 h 122343"/>
                  <a:gd name="connsiteX75" fmla="*/ 64407 w 122343"/>
                  <a:gd name="connsiteY75" fmla="*/ 38437 h 122343"/>
                  <a:gd name="connsiteX76" fmla="*/ 64407 w 122343"/>
                  <a:gd name="connsiteY76" fmla="*/ 58572 h 122343"/>
                  <a:gd name="connsiteX77" fmla="*/ 91622 w 122343"/>
                  <a:gd name="connsiteY77" fmla="*/ 58572 h 122343"/>
                  <a:gd name="connsiteX78" fmla="*/ 86766 w 122343"/>
                  <a:gd name="connsiteY78" fmla="*/ 36669 h 122343"/>
                  <a:gd name="connsiteX79" fmla="*/ 64407 w 122343"/>
                  <a:gd name="connsiteY79" fmla="*/ 38437 h 122343"/>
                  <a:gd name="connsiteX80" fmla="*/ 64407 w 122343"/>
                  <a:gd name="connsiteY80" fmla="*/ 64427 h 122343"/>
                  <a:gd name="connsiteX81" fmla="*/ 64407 w 122343"/>
                  <a:gd name="connsiteY81" fmla="*/ 64427 h 122343"/>
                  <a:gd name="connsiteX82" fmla="*/ 64407 w 122343"/>
                  <a:gd name="connsiteY82" fmla="*/ 82586 h 122343"/>
                  <a:gd name="connsiteX83" fmla="*/ 87420 w 122343"/>
                  <a:gd name="connsiteY83" fmla="*/ 84456 h 122343"/>
                  <a:gd name="connsiteX84" fmla="*/ 91608 w 122343"/>
                  <a:gd name="connsiteY84" fmla="*/ 64427 h 122343"/>
                  <a:gd name="connsiteX85" fmla="*/ 64407 w 122343"/>
                  <a:gd name="connsiteY85" fmla="*/ 64427 h 122343"/>
                  <a:gd name="connsiteX86" fmla="*/ 64407 w 122343"/>
                  <a:gd name="connsiteY86" fmla="*/ 88441 h 122343"/>
                  <a:gd name="connsiteX87" fmla="*/ 64407 w 122343"/>
                  <a:gd name="connsiteY87" fmla="*/ 88441 h 122343"/>
                  <a:gd name="connsiteX88" fmla="*/ 64407 w 122343"/>
                  <a:gd name="connsiteY88" fmla="*/ 113076 h 122343"/>
                  <a:gd name="connsiteX89" fmla="*/ 84198 w 122343"/>
                  <a:gd name="connsiteY89" fmla="*/ 91479 h 122343"/>
                  <a:gd name="connsiteX90" fmla="*/ 84977 w 122343"/>
                  <a:gd name="connsiteY90" fmla="*/ 89980 h 122343"/>
                  <a:gd name="connsiteX91" fmla="*/ 64407 w 122343"/>
                  <a:gd name="connsiteY91" fmla="*/ 88441 h 122343"/>
                  <a:gd name="connsiteX92" fmla="*/ 58553 w 122343"/>
                  <a:gd name="connsiteY92" fmla="*/ 113076 h 122343"/>
                  <a:gd name="connsiteX93" fmla="*/ 58553 w 122343"/>
                  <a:gd name="connsiteY93" fmla="*/ 113076 h 122343"/>
                  <a:gd name="connsiteX94" fmla="*/ 58553 w 122343"/>
                  <a:gd name="connsiteY94" fmla="*/ 88443 h 122343"/>
                  <a:gd name="connsiteX95" fmla="*/ 37993 w 122343"/>
                  <a:gd name="connsiteY95" fmla="*/ 90000 h 122343"/>
                  <a:gd name="connsiteX96" fmla="*/ 38761 w 122343"/>
                  <a:gd name="connsiteY96" fmla="*/ 91479 h 122343"/>
                  <a:gd name="connsiteX97" fmla="*/ 58553 w 122343"/>
                  <a:gd name="connsiteY97" fmla="*/ 113076 h 122343"/>
                  <a:gd name="connsiteX98" fmla="*/ 58553 w 122343"/>
                  <a:gd name="connsiteY98" fmla="*/ 82591 h 122343"/>
                  <a:gd name="connsiteX99" fmla="*/ 58553 w 122343"/>
                  <a:gd name="connsiteY99" fmla="*/ 82591 h 122343"/>
                  <a:gd name="connsiteX100" fmla="*/ 58553 w 122343"/>
                  <a:gd name="connsiteY100" fmla="*/ 64426 h 122343"/>
                  <a:gd name="connsiteX101" fmla="*/ 31352 w 122343"/>
                  <a:gd name="connsiteY101" fmla="*/ 64426 h 122343"/>
                  <a:gd name="connsiteX102" fmla="*/ 35550 w 122343"/>
                  <a:gd name="connsiteY102" fmla="*/ 84478 h 122343"/>
                  <a:gd name="connsiteX103" fmla="*/ 58553 w 122343"/>
                  <a:gd name="connsiteY103" fmla="*/ 82591 h 122343"/>
                  <a:gd name="connsiteX104" fmla="*/ 58553 w 122343"/>
                  <a:gd name="connsiteY104" fmla="*/ 58572 h 122343"/>
                  <a:gd name="connsiteX105" fmla="*/ 58553 w 122343"/>
                  <a:gd name="connsiteY105" fmla="*/ 58572 h 122343"/>
                  <a:gd name="connsiteX106" fmla="*/ 58553 w 122343"/>
                  <a:gd name="connsiteY106" fmla="*/ 38432 h 122343"/>
                  <a:gd name="connsiteX107" fmla="*/ 36203 w 122343"/>
                  <a:gd name="connsiteY107" fmla="*/ 36645 h 122343"/>
                  <a:gd name="connsiteX108" fmla="*/ 31339 w 122343"/>
                  <a:gd name="connsiteY108" fmla="*/ 58572 h 122343"/>
                  <a:gd name="connsiteX109" fmla="*/ 58553 w 122343"/>
                  <a:gd name="connsiteY109" fmla="*/ 58572 h 122343"/>
                  <a:gd name="connsiteX110" fmla="*/ 58553 w 122343"/>
                  <a:gd name="connsiteY110" fmla="*/ 32580 h 122343"/>
                  <a:gd name="connsiteX111" fmla="*/ 58553 w 122343"/>
                  <a:gd name="connsiteY111" fmla="*/ 32580 h 122343"/>
                  <a:gd name="connsiteX112" fmla="*/ 58553 w 122343"/>
                  <a:gd name="connsiteY112" fmla="*/ 9853 h 122343"/>
                  <a:gd name="connsiteX113" fmla="*/ 38858 w 122343"/>
                  <a:gd name="connsiteY113" fmla="*/ 31116 h 122343"/>
                  <a:gd name="connsiteX114" fmla="*/ 38843 w 122343"/>
                  <a:gd name="connsiteY114" fmla="*/ 31144 h 122343"/>
                  <a:gd name="connsiteX115" fmla="*/ 58553 w 122343"/>
                  <a:gd name="connsiteY115" fmla="*/ 32580 h 12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122343" h="122343">
                    <a:moveTo>
                      <a:pt x="61480" y="87"/>
                    </a:moveTo>
                    <a:cubicBezTo>
                      <a:pt x="78434" y="87"/>
                      <a:pt x="93781" y="6958"/>
                      <a:pt x="104892" y="18069"/>
                    </a:cubicBezTo>
                    <a:cubicBezTo>
                      <a:pt x="116000" y="29177"/>
                      <a:pt x="122871" y="44526"/>
                      <a:pt x="122871" y="61480"/>
                    </a:cubicBezTo>
                    <a:cubicBezTo>
                      <a:pt x="122871" y="78433"/>
                      <a:pt x="116000" y="93783"/>
                      <a:pt x="104892" y="104892"/>
                    </a:cubicBezTo>
                    <a:cubicBezTo>
                      <a:pt x="93781" y="116000"/>
                      <a:pt x="78434" y="122871"/>
                      <a:pt x="61480" y="122871"/>
                    </a:cubicBezTo>
                    <a:cubicBezTo>
                      <a:pt x="44526" y="122871"/>
                      <a:pt x="29179" y="116000"/>
                      <a:pt x="18069" y="104892"/>
                    </a:cubicBezTo>
                    <a:cubicBezTo>
                      <a:pt x="6958" y="93783"/>
                      <a:pt x="87" y="78433"/>
                      <a:pt x="87" y="61480"/>
                    </a:cubicBezTo>
                    <a:cubicBezTo>
                      <a:pt x="87" y="44526"/>
                      <a:pt x="6958" y="29177"/>
                      <a:pt x="18069" y="18069"/>
                    </a:cubicBezTo>
                    <a:cubicBezTo>
                      <a:pt x="29178" y="6958"/>
                      <a:pt x="44526" y="87"/>
                      <a:pt x="61480" y="87"/>
                    </a:cubicBezTo>
                    <a:close/>
                    <a:moveTo>
                      <a:pt x="105458" y="95401"/>
                    </a:moveTo>
                    <a:lnTo>
                      <a:pt x="105458" y="95401"/>
                    </a:lnTo>
                    <a:cubicBezTo>
                      <a:pt x="101586" y="93572"/>
                      <a:pt x="96618" y="92104"/>
                      <a:pt x="90976" y="90992"/>
                    </a:cubicBezTo>
                    <a:cubicBezTo>
                      <a:pt x="90463" y="92090"/>
                      <a:pt x="89916" y="93174"/>
                      <a:pt x="89342" y="94246"/>
                    </a:cubicBezTo>
                    <a:cubicBezTo>
                      <a:pt x="84774" y="102745"/>
                      <a:pt x="78292" y="110369"/>
                      <a:pt x="69899" y="116384"/>
                    </a:cubicBezTo>
                    <a:cubicBezTo>
                      <a:pt x="81866" y="114565"/>
                      <a:pt x="92578" y="108926"/>
                      <a:pt x="100752" y="100751"/>
                    </a:cubicBezTo>
                    <a:cubicBezTo>
                      <a:pt x="102433" y="99073"/>
                      <a:pt x="104005" y="97285"/>
                      <a:pt x="105458" y="95401"/>
                    </a:cubicBezTo>
                    <a:lnTo>
                      <a:pt x="105458" y="95401"/>
                    </a:lnTo>
                    <a:close/>
                    <a:moveTo>
                      <a:pt x="53060" y="116384"/>
                    </a:moveTo>
                    <a:lnTo>
                      <a:pt x="53060" y="116384"/>
                    </a:lnTo>
                    <a:cubicBezTo>
                      <a:pt x="44668" y="110369"/>
                      <a:pt x="38186" y="102745"/>
                      <a:pt x="33618" y="94247"/>
                    </a:cubicBezTo>
                    <a:cubicBezTo>
                      <a:pt x="33047" y="93182"/>
                      <a:pt x="32506" y="92104"/>
                      <a:pt x="31993" y="91013"/>
                    </a:cubicBezTo>
                    <a:cubicBezTo>
                      <a:pt x="26361" y="92121"/>
                      <a:pt x="21392" y="93587"/>
                      <a:pt x="17504" y="95406"/>
                    </a:cubicBezTo>
                    <a:cubicBezTo>
                      <a:pt x="18957" y="97287"/>
                      <a:pt x="20528" y="99073"/>
                      <a:pt x="22206" y="100752"/>
                    </a:cubicBezTo>
                    <a:cubicBezTo>
                      <a:pt x="30381" y="108925"/>
                      <a:pt x="41093" y="114564"/>
                      <a:pt x="53060" y="116384"/>
                    </a:cubicBezTo>
                    <a:lnTo>
                      <a:pt x="53060" y="116384"/>
                    </a:lnTo>
                    <a:close/>
                    <a:moveTo>
                      <a:pt x="14147" y="90549"/>
                    </a:moveTo>
                    <a:lnTo>
                      <a:pt x="14147" y="90549"/>
                    </a:lnTo>
                    <a:cubicBezTo>
                      <a:pt x="18325" y="88479"/>
                      <a:pt x="23666" y="86811"/>
                      <a:pt x="29711" y="85544"/>
                    </a:cubicBezTo>
                    <a:cubicBezTo>
                      <a:pt x="27222" y="78758"/>
                      <a:pt x="25823" y="71611"/>
                      <a:pt x="25513" y="64427"/>
                    </a:cubicBezTo>
                    <a:lnTo>
                      <a:pt x="6017" y="64427"/>
                    </a:lnTo>
                    <a:cubicBezTo>
                      <a:pt x="6516" y="73971"/>
                      <a:pt x="9425" y="82878"/>
                      <a:pt x="14147" y="90549"/>
                    </a:cubicBezTo>
                    <a:lnTo>
                      <a:pt x="14147" y="90549"/>
                    </a:lnTo>
                    <a:close/>
                    <a:moveTo>
                      <a:pt x="6016" y="58572"/>
                    </a:moveTo>
                    <a:lnTo>
                      <a:pt x="6016" y="58572"/>
                    </a:lnTo>
                    <a:lnTo>
                      <a:pt x="25503" y="58572"/>
                    </a:lnTo>
                    <a:cubicBezTo>
                      <a:pt x="25811" y="50728"/>
                      <a:pt x="27421" y="42933"/>
                      <a:pt x="30330" y="35606"/>
                    </a:cubicBezTo>
                    <a:cubicBezTo>
                      <a:pt x="24481" y="34418"/>
                      <a:pt x="19265" y="32858"/>
                      <a:pt x="15092" y="30927"/>
                    </a:cubicBezTo>
                    <a:cubicBezTo>
                      <a:pt x="9807" y="38935"/>
                      <a:pt x="6540" y="48392"/>
                      <a:pt x="6016" y="58572"/>
                    </a:cubicBezTo>
                    <a:lnTo>
                      <a:pt x="6016" y="58572"/>
                    </a:lnTo>
                    <a:close/>
                    <a:moveTo>
                      <a:pt x="18640" y="26129"/>
                    </a:moveTo>
                    <a:lnTo>
                      <a:pt x="18640" y="26129"/>
                    </a:lnTo>
                    <a:cubicBezTo>
                      <a:pt x="22529" y="27793"/>
                      <a:pt x="27362" y="29138"/>
                      <a:pt x="32774" y="30162"/>
                    </a:cubicBezTo>
                    <a:cubicBezTo>
                      <a:pt x="33086" y="29545"/>
                      <a:pt x="33406" y="28933"/>
                      <a:pt x="33736" y="28327"/>
                    </a:cubicBezTo>
                    <a:cubicBezTo>
                      <a:pt x="38284" y="19969"/>
                      <a:pt x="44698" y="12484"/>
                      <a:pt x="52972" y="6587"/>
                    </a:cubicBezTo>
                    <a:cubicBezTo>
                      <a:pt x="41040" y="8421"/>
                      <a:pt x="30361" y="14050"/>
                      <a:pt x="22204" y="22205"/>
                    </a:cubicBezTo>
                    <a:cubicBezTo>
                      <a:pt x="20956" y="23455"/>
                      <a:pt x="19766" y="24764"/>
                      <a:pt x="18640" y="26129"/>
                    </a:cubicBezTo>
                    <a:close/>
                    <a:moveTo>
                      <a:pt x="69986" y="6588"/>
                    </a:moveTo>
                    <a:lnTo>
                      <a:pt x="69986" y="6588"/>
                    </a:lnTo>
                    <a:cubicBezTo>
                      <a:pt x="78262" y="12485"/>
                      <a:pt x="84676" y="19971"/>
                      <a:pt x="89223" y="28328"/>
                    </a:cubicBezTo>
                    <a:cubicBezTo>
                      <a:pt x="89557" y="28942"/>
                      <a:pt x="89879" y="29560"/>
                      <a:pt x="90195" y="30183"/>
                    </a:cubicBezTo>
                    <a:cubicBezTo>
                      <a:pt x="95617" y="29160"/>
                      <a:pt x="100451" y="27810"/>
                      <a:pt x="104327" y="26136"/>
                    </a:cubicBezTo>
                    <a:cubicBezTo>
                      <a:pt x="103196" y="24770"/>
                      <a:pt x="102005" y="23459"/>
                      <a:pt x="100752" y="22206"/>
                    </a:cubicBezTo>
                    <a:cubicBezTo>
                      <a:pt x="92598" y="14051"/>
                      <a:pt x="81919" y="8422"/>
                      <a:pt x="69986" y="6588"/>
                    </a:cubicBezTo>
                    <a:lnTo>
                      <a:pt x="69986" y="6588"/>
                    </a:lnTo>
                    <a:close/>
                    <a:moveTo>
                      <a:pt x="107878" y="30940"/>
                    </a:moveTo>
                    <a:lnTo>
                      <a:pt x="107878" y="30940"/>
                    </a:lnTo>
                    <a:cubicBezTo>
                      <a:pt x="103720" y="32881"/>
                      <a:pt x="98503" y="34445"/>
                      <a:pt x="92640" y="35634"/>
                    </a:cubicBezTo>
                    <a:cubicBezTo>
                      <a:pt x="95542" y="42955"/>
                      <a:pt x="97148" y="50738"/>
                      <a:pt x="97456" y="58572"/>
                    </a:cubicBezTo>
                    <a:lnTo>
                      <a:pt x="116945" y="58572"/>
                    </a:lnTo>
                    <a:cubicBezTo>
                      <a:pt x="116419" y="48398"/>
                      <a:pt x="113155" y="38944"/>
                      <a:pt x="107878" y="30940"/>
                    </a:cubicBezTo>
                    <a:lnTo>
                      <a:pt x="107878" y="30940"/>
                    </a:lnTo>
                    <a:close/>
                    <a:moveTo>
                      <a:pt x="116943" y="64427"/>
                    </a:moveTo>
                    <a:lnTo>
                      <a:pt x="116943" y="64427"/>
                    </a:lnTo>
                    <a:lnTo>
                      <a:pt x="97446" y="64427"/>
                    </a:lnTo>
                    <a:cubicBezTo>
                      <a:pt x="97138" y="71603"/>
                      <a:pt x="95741" y="78739"/>
                      <a:pt x="93258" y="85518"/>
                    </a:cubicBezTo>
                    <a:cubicBezTo>
                      <a:pt x="99317" y="86784"/>
                      <a:pt x="104662" y="88459"/>
                      <a:pt x="108820" y="90540"/>
                    </a:cubicBezTo>
                    <a:cubicBezTo>
                      <a:pt x="113537" y="82870"/>
                      <a:pt x="116443" y="73966"/>
                      <a:pt x="116943" y="64427"/>
                    </a:cubicBezTo>
                    <a:lnTo>
                      <a:pt x="116943" y="64427"/>
                    </a:lnTo>
                    <a:close/>
                    <a:moveTo>
                      <a:pt x="64407" y="9853"/>
                    </a:moveTo>
                    <a:lnTo>
                      <a:pt x="64407" y="9853"/>
                    </a:lnTo>
                    <a:lnTo>
                      <a:pt x="64407" y="32582"/>
                    </a:lnTo>
                    <a:cubicBezTo>
                      <a:pt x="71208" y="32481"/>
                      <a:pt x="77931" y="32007"/>
                      <a:pt x="84127" y="31162"/>
                    </a:cubicBezTo>
                    <a:lnTo>
                      <a:pt x="84102" y="31118"/>
                    </a:lnTo>
                    <a:cubicBezTo>
                      <a:pt x="79576" y="22800"/>
                      <a:pt x="73010" y="15431"/>
                      <a:pt x="64407" y="9853"/>
                    </a:cubicBezTo>
                    <a:close/>
                    <a:moveTo>
                      <a:pt x="64407" y="38437"/>
                    </a:moveTo>
                    <a:lnTo>
                      <a:pt x="64407" y="38437"/>
                    </a:lnTo>
                    <a:lnTo>
                      <a:pt x="64407" y="58572"/>
                    </a:lnTo>
                    <a:lnTo>
                      <a:pt x="91622" y="58572"/>
                    </a:lnTo>
                    <a:cubicBezTo>
                      <a:pt x="91300" y="51069"/>
                      <a:pt x="89682" y="43624"/>
                      <a:pt x="86766" y="36669"/>
                    </a:cubicBezTo>
                    <a:cubicBezTo>
                      <a:pt x="79762" y="37730"/>
                      <a:pt x="72113" y="38320"/>
                      <a:pt x="64407" y="38437"/>
                    </a:cubicBezTo>
                    <a:close/>
                    <a:moveTo>
                      <a:pt x="64407" y="64427"/>
                    </a:moveTo>
                    <a:lnTo>
                      <a:pt x="64407" y="64427"/>
                    </a:lnTo>
                    <a:lnTo>
                      <a:pt x="64407" y="82586"/>
                    </a:lnTo>
                    <a:cubicBezTo>
                      <a:pt x="72355" y="82707"/>
                      <a:pt x="80241" y="83330"/>
                      <a:pt x="87420" y="84456"/>
                    </a:cubicBezTo>
                    <a:cubicBezTo>
                      <a:pt x="89891" y="78040"/>
                      <a:pt x="91287" y="71256"/>
                      <a:pt x="91608" y="64427"/>
                    </a:cubicBezTo>
                    <a:lnTo>
                      <a:pt x="64407" y="64427"/>
                    </a:lnTo>
                    <a:close/>
                    <a:moveTo>
                      <a:pt x="64407" y="88441"/>
                    </a:moveTo>
                    <a:lnTo>
                      <a:pt x="64407" y="88441"/>
                    </a:lnTo>
                    <a:lnTo>
                      <a:pt x="64407" y="113076"/>
                    </a:lnTo>
                    <a:cubicBezTo>
                      <a:pt x="73066" y="107402"/>
                      <a:pt x="79664" y="99912"/>
                      <a:pt x="84198" y="91479"/>
                    </a:cubicBezTo>
                    <a:cubicBezTo>
                      <a:pt x="84465" y="90984"/>
                      <a:pt x="84724" y="90483"/>
                      <a:pt x="84977" y="89980"/>
                    </a:cubicBezTo>
                    <a:cubicBezTo>
                      <a:pt x="78547" y="89060"/>
                      <a:pt x="71519" y="88548"/>
                      <a:pt x="64407" y="88441"/>
                    </a:cubicBezTo>
                    <a:close/>
                    <a:moveTo>
                      <a:pt x="58553" y="113076"/>
                    </a:moveTo>
                    <a:lnTo>
                      <a:pt x="58553" y="113076"/>
                    </a:lnTo>
                    <a:lnTo>
                      <a:pt x="58553" y="88443"/>
                    </a:lnTo>
                    <a:cubicBezTo>
                      <a:pt x="51448" y="88558"/>
                      <a:pt x="44427" y="89076"/>
                      <a:pt x="37993" y="90000"/>
                    </a:cubicBezTo>
                    <a:cubicBezTo>
                      <a:pt x="38242" y="90495"/>
                      <a:pt x="38499" y="90989"/>
                      <a:pt x="38761" y="91479"/>
                    </a:cubicBezTo>
                    <a:cubicBezTo>
                      <a:pt x="43295" y="99914"/>
                      <a:pt x="49894" y="107402"/>
                      <a:pt x="58553" y="113076"/>
                    </a:cubicBezTo>
                    <a:close/>
                    <a:moveTo>
                      <a:pt x="58553" y="82591"/>
                    </a:moveTo>
                    <a:lnTo>
                      <a:pt x="58553" y="82591"/>
                    </a:lnTo>
                    <a:lnTo>
                      <a:pt x="58553" y="64426"/>
                    </a:lnTo>
                    <a:lnTo>
                      <a:pt x="31352" y="64426"/>
                    </a:lnTo>
                    <a:cubicBezTo>
                      <a:pt x="31672" y="71262"/>
                      <a:pt x="33074" y="78057"/>
                      <a:pt x="35550" y="84478"/>
                    </a:cubicBezTo>
                    <a:cubicBezTo>
                      <a:pt x="42734" y="83347"/>
                      <a:pt x="50617" y="82719"/>
                      <a:pt x="58553" y="82591"/>
                    </a:cubicBezTo>
                    <a:close/>
                    <a:moveTo>
                      <a:pt x="58553" y="58572"/>
                    </a:moveTo>
                    <a:lnTo>
                      <a:pt x="58553" y="58572"/>
                    </a:lnTo>
                    <a:lnTo>
                      <a:pt x="58553" y="38432"/>
                    </a:lnTo>
                    <a:cubicBezTo>
                      <a:pt x="50856" y="38309"/>
                      <a:pt x="43211" y="37715"/>
                      <a:pt x="36203" y="36645"/>
                    </a:cubicBezTo>
                    <a:cubicBezTo>
                      <a:pt x="33279" y="43605"/>
                      <a:pt x="31660" y="51061"/>
                      <a:pt x="31339" y="58572"/>
                    </a:cubicBezTo>
                    <a:lnTo>
                      <a:pt x="58553" y="58572"/>
                    </a:lnTo>
                    <a:close/>
                    <a:moveTo>
                      <a:pt x="58553" y="32580"/>
                    </a:moveTo>
                    <a:lnTo>
                      <a:pt x="58553" y="32580"/>
                    </a:lnTo>
                    <a:lnTo>
                      <a:pt x="58553" y="9853"/>
                    </a:lnTo>
                    <a:cubicBezTo>
                      <a:pt x="49949" y="15431"/>
                      <a:pt x="43384" y="22800"/>
                      <a:pt x="38858" y="31116"/>
                    </a:cubicBezTo>
                    <a:lnTo>
                      <a:pt x="38843" y="31144"/>
                    </a:lnTo>
                    <a:cubicBezTo>
                      <a:pt x="45043" y="31992"/>
                      <a:pt x="51759" y="32470"/>
                      <a:pt x="58553" y="32580"/>
                    </a:cubicBezTo>
                    <a:close/>
                  </a:path>
                </a:pathLst>
              </a:custGeom>
              <a:solidFill>
                <a:schemeClr val="accent4"/>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00" name="Freeform: Shape 699">
                <a:extLst>
                  <a:ext uri="{FF2B5EF4-FFF2-40B4-BE49-F238E27FC236}">
                    <a16:creationId xmlns:a16="http://schemas.microsoft.com/office/drawing/2014/main" id="{FDC694E2-01B4-4214-822D-B04534512692}"/>
                  </a:ext>
                </a:extLst>
              </p:cNvPr>
              <p:cNvSpPr/>
              <p:nvPr/>
            </p:nvSpPr>
            <p:spPr>
              <a:xfrm>
                <a:off x="475761" y="6168333"/>
                <a:ext cx="191953" cy="46406"/>
              </a:xfrm>
              <a:custGeom>
                <a:avLst/>
                <a:gdLst>
                  <a:gd name="connsiteX0" fmla="*/ 20282 w 191953"/>
                  <a:gd name="connsiteY0" fmla="*/ 87 h 46406"/>
                  <a:gd name="connsiteX1" fmla="*/ 192644 w 191953"/>
                  <a:gd name="connsiteY1" fmla="*/ 87 h 46406"/>
                  <a:gd name="connsiteX2" fmla="*/ 192644 w 191953"/>
                  <a:gd name="connsiteY2" fmla="*/ 6548 h 46406"/>
                  <a:gd name="connsiteX3" fmla="*/ 192644 w 191953"/>
                  <a:gd name="connsiteY3" fmla="*/ 40618 h 46406"/>
                  <a:gd name="connsiteX4" fmla="*/ 192644 w 191953"/>
                  <a:gd name="connsiteY4" fmla="*/ 47083 h 46406"/>
                  <a:gd name="connsiteX5" fmla="*/ 20282 w 191953"/>
                  <a:gd name="connsiteY5" fmla="*/ 47083 h 46406"/>
                  <a:gd name="connsiteX6" fmla="*/ 20282 w 191953"/>
                  <a:gd name="connsiteY6" fmla="*/ 87 h 46406"/>
                  <a:gd name="connsiteX7" fmla="*/ 20282 w 191953"/>
                  <a:gd name="connsiteY7" fmla="*/ 87 h 4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953" h="46406">
                    <a:moveTo>
                      <a:pt x="20282" y="87"/>
                    </a:moveTo>
                    <a:lnTo>
                      <a:pt x="192644" y="87"/>
                    </a:lnTo>
                    <a:lnTo>
                      <a:pt x="192644" y="6548"/>
                    </a:lnTo>
                    <a:cubicBezTo>
                      <a:pt x="184484" y="18115"/>
                      <a:pt x="185830" y="30979"/>
                      <a:pt x="192644" y="40618"/>
                    </a:cubicBezTo>
                    <a:lnTo>
                      <a:pt x="192644" y="47083"/>
                    </a:lnTo>
                    <a:lnTo>
                      <a:pt x="20282" y="47083"/>
                    </a:lnTo>
                    <a:cubicBezTo>
                      <a:pt x="-6645" y="47083"/>
                      <a:pt x="-6645" y="88"/>
                      <a:pt x="20282" y="87"/>
                    </a:cubicBezTo>
                    <a:lnTo>
                      <a:pt x="20282" y="87"/>
                    </a:lnTo>
                    <a:close/>
                  </a:path>
                </a:pathLst>
              </a:custGeom>
              <a:solidFill>
                <a:schemeClr val="accent2"/>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01" name="Freeform: Shape 700">
                <a:extLst>
                  <a:ext uri="{FF2B5EF4-FFF2-40B4-BE49-F238E27FC236}">
                    <a16:creationId xmlns:a16="http://schemas.microsoft.com/office/drawing/2014/main" id="{0D2F3D16-1F40-466E-A484-6B16982FD342}"/>
                  </a:ext>
                </a:extLst>
              </p:cNvPr>
              <p:cNvSpPr/>
              <p:nvPr/>
            </p:nvSpPr>
            <p:spPr>
              <a:xfrm>
                <a:off x="481202" y="6174794"/>
                <a:ext cx="186680" cy="33750"/>
              </a:xfrm>
              <a:custGeom>
                <a:avLst/>
                <a:gdLst>
                  <a:gd name="connsiteX0" fmla="*/ 187203 w 186679"/>
                  <a:gd name="connsiteY0" fmla="*/ 34157 h 33750"/>
                  <a:gd name="connsiteX1" fmla="*/ 187203 w 186679"/>
                  <a:gd name="connsiteY1" fmla="*/ 87 h 33750"/>
                  <a:gd name="connsiteX2" fmla="*/ 14839 w 186679"/>
                  <a:gd name="connsiteY2" fmla="*/ 87 h 33750"/>
                  <a:gd name="connsiteX3" fmla="*/ 87 w 186679"/>
                  <a:gd name="connsiteY3" fmla="*/ 17124 h 33750"/>
                  <a:gd name="connsiteX4" fmla="*/ 14839 w 186679"/>
                  <a:gd name="connsiteY4" fmla="*/ 34157 h 33750"/>
                  <a:gd name="connsiteX5" fmla="*/ 187203 w 186679"/>
                  <a:gd name="connsiteY5" fmla="*/ 34157 h 3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679" h="33750">
                    <a:moveTo>
                      <a:pt x="187203" y="34157"/>
                    </a:moveTo>
                    <a:cubicBezTo>
                      <a:pt x="180246" y="22801"/>
                      <a:pt x="179720" y="11444"/>
                      <a:pt x="187203" y="87"/>
                    </a:cubicBezTo>
                    <a:lnTo>
                      <a:pt x="14839" y="87"/>
                    </a:lnTo>
                    <a:cubicBezTo>
                      <a:pt x="6735" y="87"/>
                      <a:pt x="87" y="7767"/>
                      <a:pt x="87" y="17124"/>
                    </a:cubicBezTo>
                    <a:cubicBezTo>
                      <a:pt x="87" y="26481"/>
                      <a:pt x="6735" y="34157"/>
                      <a:pt x="14839" y="34157"/>
                    </a:cubicBezTo>
                    <a:lnTo>
                      <a:pt x="187203" y="34157"/>
                    </a:lnTo>
                    <a:close/>
                  </a:path>
                </a:pathLst>
              </a:custGeom>
              <a:solidFill>
                <a:schemeClr val="bg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02" name="Freeform: Shape 701">
                <a:extLst>
                  <a:ext uri="{FF2B5EF4-FFF2-40B4-BE49-F238E27FC236}">
                    <a16:creationId xmlns:a16="http://schemas.microsoft.com/office/drawing/2014/main" id="{0A04F48E-9DA4-43AD-9E24-E4A850C90133}"/>
                  </a:ext>
                </a:extLst>
              </p:cNvPr>
              <p:cNvSpPr/>
              <p:nvPr/>
            </p:nvSpPr>
            <p:spPr>
              <a:xfrm>
                <a:off x="480362" y="6174090"/>
                <a:ext cx="188789" cy="34805"/>
              </a:xfrm>
              <a:custGeom>
                <a:avLst/>
                <a:gdLst>
                  <a:gd name="connsiteX0" fmla="*/ 186391 w 188789"/>
                  <a:gd name="connsiteY0" fmla="*/ 3535 h 34804"/>
                  <a:gd name="connsiteX1" fmla="*/ 188042 w 188789"/>
                  <a:gd name="connsiteY1" fmla="*/ 791 h 34804"/>
                  <a:gd name="connsiteX2" fmla="*/ 15679 w 188789"/>
                  <a:gd name="connsiteY2" fmla="*/ 791 h 34804"/>
                  <a:gd name="connsiteX3" fmla="*/ 11198 w 188789"/>
                  <a:gd name="connsiteY3" fmla="*/ 34044 h 34804"/>
                  <a:gd name="connsiteX4" fmla="*/ 15999 w 188789"/>
                  <a:gd name="connsiteY4" fmla="*/ 3534 h 34804"/>
                  <a:gd name="connsiteX5" fmla="*/ 186391 w 188789"/>
                  <a:gd name="connsiteY5" fmla="*/ 3534 h 34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8789" h="34804">
                    <a:moveTo>
                      <a:pt x="186391" y="3535"/>
                    </a:moveTo>
                    <a:cubicBezTo>
                      <a:pt x="186888" y="2623"/>
                      <a:pt x="187440" y="1706"/>
                      <a:pt x="188042" y="791"/>
                    </a:cubicBezTo>
                    <a:lnTo>
                      <a:pt x="15679" y="791"/>
                    </a:lnTo>
                    <a:cubicBezTo>
                      <a:pt x="-804" y="791"/>
                      <a:pt x="-5428" y="27063"/>
                      <a:pt x="11198" y="34044"/>
                    </a:cubicBezTo>
                    <a:cubicBezTo>
                      <a:pt x="-154" y="27899"/>
                      <a:pt x="4084" y="6955"/>
                      <a:pt x="15999" y="3534"/>
                    </a:cubicBezTo>
                    <a:lnTo>
                      <a:pt x="186391" y="3534"/>
                    </a:lnTo>
                    <a:close/>
                  </a:path>
                </a:pathLst>
              </a:custGeom>
              <a:solidFill>
                <a:schemeClr val="tx2">
                  <a:lumMod val="10000"/>
                  <a:lumOff val="90000"/>
                </a:schemeClr>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03" name="Freeform: Shape 702">
                <a:extLst>
                  <a:ext uri="{FF2B5EF4-FFF2-40B4-BE49-F238E27FC236}">
                    <a16:creationId xmlns:a16="http://schemas.microsoft.com/office/drawing/2014/main" id="{7D97E54D-9179-4C83-BAF3-2BD8B039AEB2}"/>
                  </a:ext>
                </a:extLst>
              </p:cNvPr>
              <p:cNvSpPr/>
              <p:nvPr/>
            </p:nvSpPr>
            <p:spPr>
              <a:xfrm>
                <a:off x="480498" y="6178793"/>
                <a:ext cx="186680" cy="28477"/>
              </a:xfrm>
              <a:custGeom>
                <a:avLst/>
                <a:gdLst>
                  <a:gd name="connsiteX0" fmla="*/ 184552 w 186679"/>
                  <a:gd name="connsiteY0" fmla="*/ 2078 h 28476"/>
                  <a:gd name="connsiteX1" fmla="*/ 4346 w 186679"/>
                  <a:gd name="connsiteY1" fmla="*/ 2078 h 28476"/>
                  <a:gd name="connsiteX2" fmla="*/ 5402 w 186679"/>
                  <a:gd name="connsiteY2" fmla="*/ 791 h 28476"/>
                  <a:gd name="connsiteX3" fmla="*/ 185136 w 186679"/>
                  <a:gd name="connsiteY3" fmla="*/ 791 h 28476"/>
                  <a:gd name="connsiteX4" fmla="*/ 184552 w 186679"/>
                  <a:gd name="connsiteY4" fmla="*/ 2078 h 28476"/>
                  <a:gd name="connsiteX5" fmla="*/ 184552 w 186679"/>
                  <a:gd name="connsiteY5" fmla="*/ 2078 h 28476"/>
                  <a:gd name="connsiteX6" fmla="*/ 2839 w 186679"/>
                  <a:gd name="connsiteY6" fmla="*/ 4501 h 28476"/>
                  <a:gd name="connsiteX7" fmla="*/ 2839 w 186679"/>
                  <a:gd name="connsiteY7" fmla="*/ 4501 h 28476"/>
                  <a:gd name="connsiteX8" fmla="*/ 2241 w 186679"/>
                  <a:gd name="connsiteY8" fmla="*/ 5787 h 28476"/>
                  <a:gd name="connsiteX9" fmla="*/ 183263 w 186679"/>
                  <a:gd name="connsiteY9" fmla="*/ 5787 h 28476"/>
                  <a:gd name="connsiteX10" fmla="*/ 183644 w 186679"/>
                  <a:gd name="connsiteY10" fmla="*/ 4501 h 28476"/>
                  <a:gd name="connsiteX11" fmla="*/ 2839 w 186679"/>
                  <a:gd name="connsiteY11" fmla="*/ 4501 h 28476"/>
                  <a:gd name="connsiteX12" fmla="*/ 1422 w 186679"/>
                  <a:gd name="connsiteY12" fmla="*/ 8213 h 28476"/>
                  <a:gd name="connsiteX13" fmla="*/ 1422 w 186679"/>
                  <a:gd name="connsiteY13" fmla="*/ 8213 h 28476"/>
                  <a:gd name="connsiteX14" fmla="*/ 1130 w 186679"/>
                  <a:gd name="connsiteY14" fmla="*/ 9500 h 28476"/>
                  <a:gd name="connsiteX15" fmla="*/ 182514 w 186679"/>
                  <a:gd name="connsiteY15" fmla="*/ 9500 h 28476"/>
                  <a:gd name="connsiteX16" fmla="*/ 182714 w 186679"/>
                  <a:gd name="connsiteY16" fmla="*/ 8213 h 28476"/>
                  <a:gd name="connsiteX17" fmla="*/ 1422 w 186679"/>
                  <a:gd name="connsiteY17" fmla="*/ 8213 h 28476"/>
                  <a:gd name="connsiteX18" fmla="*/ 828 w 186679"/>
                  <a:gd name="connsiteY18" fmla="*/ 11924 h 28476"/>
                  <a:gd name="connsiteX19" fmla="*/ 828 w 186679"/>
                  <a:gd name="connsiteY19" fmla="*/ 11924 h 28476"/>
                  <a:gd name="connsiteX20" fmla="*/ 791 w 186679"/>
                  <a:gd name="connsiteY20" fmla="*/ 13125 h 28476"/>
                  <a:gd name="connsiteX21" fmla="*/ 792 w 186679"/>
                  <a:gd name="connsiteY21" fmla="*/ 13212 h 28476"/>
                  <a:gd name="connsiteX22" fmla="*/ 182283 w 186679"/>
                  <a:gd name="connsiteY22" fmla="*/ 13212 h 28476"/>
                  <a:gd name="connsiteX23" fmla="*/ 182306 w 186679"/>
                  <a:gd name="connsiteY23" fmla="*/ 11925 h 28476"/>
                  <a:gd name="connsiteX24" fmla="*/ 828 w 186679"/>
                  <a:gd name="connsiteY24" fmla="*/ 11924 h 28476"/>
                  <a:gd name="connsiteX25" fmla="*/ 828 w 186679"/>
                  <a:gd name="connsiteY25" fmla="*/ 11924 h 28476"/>
                  <a:gd name="connsiteX26" fmla="*/ 950 w 186679"/>
                  <a:gd name="connsiteY26" fmla="*/ 15635 h 28476"/>
                  <a:gd name="connsiteX27" fmla="*/ 950 w 186679"/>
                  <a:gd name="connsiteY27" fmla="*/ 15635 h 28476"/>
                  <a:gd name="connsiteX28" fmla="*/ 1161 w 186679"/>
                  <a:gd name="connsiteY28" fmla="*/ 16921 h 28476"/>
                  <a:gd name="connsiteX29" fmla="*/ 182554 w 186679"/>
                  <a:gd name="connsiteY29" fmla="*/ 16921 h 28476"/>
                  <a:gd name="connsiteX30" fmla="*/ 182402 w 186679"/>
                  <a:gd name="connsiteY30" fmla="*/ 15635 h 28476"/>
                  <a:gd name="connsiteX31" fmla="*/ 950 w 186679"/>
                  <a:gd name="connsiteY31" fmla="*/ 15635 h 28476"/>
                  <a:gd name="connsiteX32" fmla="*/ 1816 w 186679"/>
                  <a:gd name="connsiteY32" fmla="*/ 19348 h 28476"/>
                  <a:gd name="connsiteX33" fmla="*/ 1816 w 186679"/>
                  <a:gd name="connsiteY33" fmla="*/ 19348 h 28476"/>
                  <a:gd name="connsiteX34" fmla="*/ 2316 w 186679"/>
                  <a:gd name="connsiteY34" fmla="*/ 20634 h 28476"/>
                  <a:gd name="connsiteX35" fmla="*/ 183334 w 186679"/>
                  <a:gd name="connsiteY35" fmla="*/ 20634 h 28476"/>
                  <a:gd name="connsiteX36" fmla="*/ 183005 w 186679"/>
                  <a:gd name="connsiteY36" fmla="*/ 19348 h 28476"/>
                  <a:gd name="connsiteX37" fmla="*/ 1816 w 186679"/>
                  <a:gd name="connsiteY37" fmla="*/ 19348 h 28476"/>
                  <a:gd name="connsiteX38" fmla="*/ 3583 w 186679"/>
                  <a:gd name="connsiteY38" fmla="*/ 23059 h 28476"/>
                  <a:gd name="connsiteX39" fmla="*/ 3583 w 186679"/>
                  <a:gd name="connsiteY39" fmla="*/ 23059 h 28476"/>
                  <a:gd name="connsiteX40" fmla="*/ 4474 w 186679"/>
                  <a:gd name="connsiteY40" fmla="*/ 24345 h 28476"/>
                  <a:gd name="connsiteX41" fmla="*/ 184643 w 186679"/>
                  <a:gd name="connsiteY41" fmla="*/ 24345 h 28476"/>
                  <a:gd name="connsiteX42" fmla="*/ 184126 w 186679"/>
                  <a:gd name="connsiteY42" fmla="*/ 23059 h 28476"/>
                  <a:gd name="connsiteX43" fmla="*/ 3583 w 186679"/>
                  <a:gd name="connsiteY43" fmla="*/ 23059 h 28476"/>
                  <a:gd name="connsiteX44" fmla="*/ 6746 w 186679"/>
                  <a:gd name="connsiteY44" fmla="*/ 26769 h 28476"/>
                  <a:gd name="connsiteX45" fmla="*/ 6746 w 186679"/>
                  <a:gd name="connsiteY45" fmla="*/ 26769 h 28476"/>
                  <a:gd name="connsiteX46" fmla="*/ 8474 w 186679"/>
                  <a:gd name="connsiteY46" fmla="*/ 28056 h 28476"/>
                  <a:gd name="connsiteX47" fmla="*/ 186543 w 186679"/>
                  <a:gd name="connsiteY47" fmla="*/ 28056 h 28476"/>
                  <a:gd name="connsiteX48" fmla="*/ 185813 w 186679"/>
                  <a:gd name="connsiteY48" fmla="*/ 26769 h 28476"/>
                  <a:gd name="connsiteX49" fmla="*/ 6746 w 186679"/>
                  <a:gd name="connsiteY49" fmla="*/ 26769 h 28476"/>
                  <a:gd name="connsiteX50" fmla="*/ 6746 w 186679"/>
                  <a:gd name="connsiteY50" fmla="*/ 26769 h 28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86679" h="28476">
                    <a:moveTo>
                      <a:pt x="184552" y="2078"/>
                    </a:moveTo>
                    <a:lnTo>
                      <a:pt x="4346" y="2078"/>
                    </a:lnTo>
                    <a:cubicBezTo>
                      <a:pt x="4679" y="1627"/>
                      <a:pt x="5033" y="1199"/>
                      <a:pt x="5402" y="791"/>
                    </a:cubicBezTo>
                    <a:lnTo>
                      <a:pt x="185136" y="791"/>
                    </a:lnTo>
                    <a:cubicBezTo>
                      <a:pt x="184929" y="1218"/>
                      <a:pt x="184734" y="1647"/>
                      <a:pt x="184552" y="2078"/>
                    </a:cubicBezTo>
                    <a:lnTo>
                      <a:pt x="184552" y="2078"/>
                    </a:lnTo>
                    <a:close/>
                    <a:moveTo>
                      <a:pt x="2839" y="4501"/>
                    </a:moveTo>
                    <a:lnTo>
                      <a:pt x="2839" y="4501"/>
                    </a:lnTo>
                    <a:cubicBezTo>
                      <a:pt x="2625" y="4920"/>
                      <a:pt x="2424" y="5348"/>
                      <a:pt x="2241" y="5787"/>
                    </a:cubicBezTo>
                    <a:lnTo>
                      <a:pt x="183263" y="5787"/>
                    </a:lnTo>
                    <a:cubicBezTo>
                      <a:pt x="183379" y="5358"/>
                      <a:pt x="183506" y="4930"/>
                      <a:pt x="183644" y="4501"/>
                    </a:cubicBezTo>
                    <a:lnTo>
                      <a:pt x="2839" y="4501"/>
                    </a:lnTo>
                    <a:close/>
                    <a:moveTo>
                      <a:pt x="1422" y="8213"/>
                    </a:moveTo>
                    <a:lnTo>
                      <a:pt x="1422" y="8213"/>
                    </a:lnTo>
                    <a:cubicBezTo>
                      <a:pt x="1310" y="8636"/>
                      <a:pt x="1213" y="9064"/>
                      <a:pt x="1130" y="9500"/>
                    </a:cubicBezTo>
                    <a:lnTo>
                      <a:pt x="182514" y="9500"/>
                    </a:lnTo>
                    <a:cubicBezTo>
                      <a:pt x="182571" y="9070"/>
                      <a:pt x="182636" y="8642"/>
                      <a:pt x="182714" y="8213"/>
                    </a:cubicBezTo>
                    <a:lnTo>
                      <a:pt x="1422" y="8213"/>
                    </a:lnTo>
                    <a:close/>
                    <a:moveTo>
                      <a:pt x="828" y="11924"/>
                    </a:moveTo>
                    <a:lnTo>
                      <a:pt x="828" y="11924"/>
                    </a:lnTo>
                    <a:cubicBezTo>
                      <a:pt x="802" y="12322"/>
                      <a:pt x="791" y="12723"/>
                      <a:pt x="791" y="13125"/>
                    </a:cubicBezTo>
                    <a:lnTo>
                      <a:pt x="792" y="13212"/>
                    </a:lnTo>
                    <a:lnTo>
                      <a:pt x="182283" y="13212"/>
                    </a:lnTo>
                    <a:cubicBezTo>
                      <a:pt x="182282" y="12785"/>
                      <a:pt x="182289" y="12356"/>
                      <a:pt x="182306" y="11925"/>
                    </a:cubicBezTo>
                    <a:lnTo>
                      <a:pt x="828" y="11924"/>
                    </a:lnTo>
                    <a:lnTo>
                      <a:pt x="828" y="11924"/>
                    </a:lnTo>
                    <a:close/>
                    <a:moveTo>
                      <a:pt x="950" y="15635"/>
                    </a:moveTo>
                    <a:lnTo>
                      <a:pt x="950" y="15635"/>
                    </a:lnTo>
                    <a:cubicBezTo>
                      <a:pt x="1007" y="16070"/>
                      <a:pt x="1077" y="16498"/>
                      <a:pt x="1161" y="16921"/>
                    </a:cubicBezTo>
                    <a:lnTo>
                      <a:pt x="182554" y="16921"/>
                    </a:lnTo>
                    <a:cubicBezTo>
                      <a:pt x="182493" y="16496"/>
                      <a:pt x="182443" y="16065"/>
                      <a:pt x="182402" y="15635"/>
                    </a:cubicBezTo>
                    <a:lnTo>
                      <a:pt x="950" y="15635"/>
                    </a:lnTo>
                    <a:close/>
                    <a:moveTo>
                      <a:pt x="1816" y="19348"/>
                    </a:moveTo>
                    <a:lnTo>
                      <a:pt x="1816" y="19348"/>
                    </a:lnTo>
                    <a:cubicBezTo>
                      <a:pt x="1967" y="19785"/>
                      <a:pt x="2136" y="20212"/>
                      <a:pt x="2316" y="20634"/>
                    </a:cubicBezTo>
                    <a:lnTo>
                      <a:pt x="183334" y="20634"/>
                    </a:lnTo>
                    <a:cubicBezTo>
                      <a:pt x="183214" y="20207"/>
                      <a:pt x="183105" y="19779"/>
                      <a:pt x="183005" y="19348"/>
                    </a:cubicBezTo>
                    <a:lnTo>
                      <a:pt x="1816" y="19348"/>
                    </a:lnTo>
                    <a:close/>
                    <a:moveTo>
                      <a:pt x="3583" y="23059"/>
                    </a:moveTo>
                    <a:lnTo>
                      <a:pt x="3583" y="23059"/>
                    </a:lnTo>
                    <a:cubicBezTo>
                      <a:pt x="3863" y="23504"/>
                      <a:pt x="4160" y="23934"/>
                      <a:pt x="4474" y="24345"/>
                    </a:cubicBezTo>
                    <a:lnTo>
                      <a:pt x="184643" y="24345"/>
                    </a:lnTo>
                    <a:cubicBezTo>
                      <a:pt x="184462" y="23919"/>
                      <a:pt x="184289" y="23490"/>
                      <a:pt x="184126" y="23059"/>
                    </a:cubicBezTo>
                    <a:lnTo>
                      <a:pt x="3583" y="23059"/>
                    </a:lnTo>
                    <a:close/>
                    <a:moveTo>
                      <a:pt x="6746" y="26769"/>
                    </a:moveTo>
                    <a:lnTo>
                      <a:pt x="6746" y="26769"/>
                    </a:lnTo>
                    <a:cubicBezTo>
                      <a:pt x="7294" y="27243"/>
                      <a:pt x="7872" y="27673"/>
                      <a:pt x="8474" y="28056"/>
                    </a:cubicBezTo>
                    <a:lnTo>
                      <a:pt x="186543" y="28056"/>
                    </a:lnTo>
                    <a:cubicBezTo>
                      <a:pt x="186289" y="27633"/>
                      <a:pt x="186047" y="27205"/>
                      <a:pt x="185813" y="26769"/>
                    </a:cubicBezTo>
                    <a:lnTo>
                      <a:pt x="6746" y="26769"/>
                    </a:lnTo>
                    <a:lnTo>
                      <a:pt x="6746" y="26769"/>
                    </a:lnTo>
                    <a:close/>
                  </a:path>
                </a:pathLst>
              </a:custGeom>
              <a:solidFill>
                <a:schemeClr val="tx2">
                  <a:lumMod val="10000"/>
                  <a:lumOff val="90000"/>
                </a:schemeClr>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04" name="Freeform: Shape 703">
                <a:extLst>
                  <a:ext uri="{FF2B5EF4-FFF2-40B4-BE49-F238E27FC236}">
                    <a16:creationId xmlns:a16="http://schemas.microsoft.com/office/drawing/2014/main" id="{35F75F83-CC03-42B9-A691-F826A68AB30B}"/>
                  </a:ext>
                </a:extLst>
              </p:cNvPr>
              <p:cNvSpPr/>
              <p:nvPr/>
            </p:nvSpPr>
            <p:spPr>
              <a:xfrm>
                <a:off x="483608" y="6215330"/>
                <a:ext cx="236250" cy="63281"/>
              </a:xfrm>
              <a:custGeom>
                <a:avLst/>
                <a:gdLst>
                  <a:gd name="connsiteX0" fmla="*/ 212066 w 236250"/>
                  <a:gd name="connsiteY0" fmla="*/ 87 h 63281"/>
                  <a:gd name="connsiteX1" fmla="*/ 87 w 236250"/>
                  <a:gd name="connsiteY1" fmla="*/ 87 h 63281"/>
                  <a:gd name="connsiteX2" fmla="*/ 87 w 236250"/>
                  <a:gd name="connsiteY2" fmla="*/ 8840 h 63281"/>
                  <a:gd name="connsiteX3" fmla="*/ 87 w 236250"/>
                  <a:gd name="connsiteY3" fmla="*/ 54997 h 63281"/>
                  <a:gd name="connsiteX4" fmla="*/ 87 w 236250"/>
                  <a:gd name="connsiteY4" fmla="*/ 63752 h 63281"/>
                  <a:gd name="connsiteX5" fmla="*/ 212065 w 236250"/>
                  <a:gd name="connsiteY5" fmla="*/ 63752 h 63281"/>
                  <a:gd name="connsiteX6" fmla="*/ 212066 w 236250"/>
                  <a:gd name="connsiteY6" fmla="*/ 87 h 63281"/>
                  <a:gd name="connsiteX7" fmla="*/ 212066 w 236250"/>
                  <a:gd name="connsiteY7" fmla="*/ 87 h 63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250" h="63281">
                    <a:moveTo>
                      <a:pt x="212066" y="87"/>
                    </a:moveTo>
                    <a:lnTo>
                      <a:pt x="87" y="87"/>
                    </a:lnTo>
                    <a:lnTo>
                      <a:pt x="87" y="8840"/>
                    </a:lnTo>
                    <a:cubicBezTo>
                      <a:pt x="10123" y="24510"/>
                      <a:pt x="8467" y="41937"/>
                      <a:pt x="87" y="54997"/>
                    </a:cubicBezTo>
                    <a:lnTo>
                      <a:pt x="87" y="63752"/>
                    </a:lnTo>
                    <a:lnTo>
                      <a:pt x="212065" y="63752"/>
                    </a:lnTo>
                    <a:cubicBezTo>
                      <a:pt x="245183" y="63751"/>
                      <a:pt x="245183" y="87"/>
                      <a:pt x="212066" y="87"/>
                    </a:cubicBezTo>
                    <a:lnTo>
                      <a:pt x="212066" y="87"/>
                    </a:lnTo>
                    <a:close/>
                  </a:path>
                </a:pathLst>
              </a:custGeom>
              <a:solidFill>
                <a:schemeClr val="accent5"/>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05" name="Freeform: Shape 704">
                <a:extLst>
                  <a:ext uri="{FF2B5EF4-FFF2-40B4-BE49-F238E27FC236}">
                    <a16:creationId xmlns:a16="http://schemas.microsoft.com/office/drawing/2014/main" id="{CC5A5EA8-3B16-4B6A-B1FD-7FCBB36685AD}"/>
                  </a:ext>
                </a:extLst>
              </p:cNvPr>
              <p:cNvSpPr/>
              <p:nvPr/>
            </p:nvSpPr>
            <p:spPr>
              <a:xfrm>
                <a:off x="483608" y="6224083"/>
                <a:ext cx="229922" cy="45352"/>
              </a:xfrm>
              <a:custGeom>
                <a:avLst/>
                <a:gdLst>
                  <a:gd name="connsiteX0" fmla="*/ 87 w 229921"/>
                  <a:gd name="connsiteY0" fmla="*/ 46243 h 45351"/>
                  <a:gd name="connsiteX1" fmla="*/ 87 w 229921"/>
                  <a:gd name="connsiteY1" fmla="*/ 87 h 45351"/>
                  <a:gd name="connsiteX2" fmla="*/ 212065 w 229921"/>
                  <a:gd name="connsiteY2" fmla="*/ 87 h 45351"/>
                  <a:gd name="connsiteX3" fmla="*/ 230212 w 229921"/>
                  <a:gd name="connsiteY3" fmla="*/ 23167 h 45351"/>
                  <a:gd name="connsiteX4" fmla="*/ 212065 w 229921"/>
                  <a:gd name="connsiteY4" fmla="*/ 46243 h 45351"/>
                  <a:gd name="connsiteX5" fmla="*/ 87 w 229921"/>
                  <a:gd name="connsiteY5" fmla="*/ 46243 h 45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921" h="45351">
                    <a:moveTo>
                      <a:pt x="87" y="46243"/>
                    </a:moveTo>
                    <a:cubicBezTo>
                      <a:pt x="8642" y="30858"/>
                      <a:pt x="9289" y="15472"/>
                      <a:pt x="87" y="87"/>
                    </a:cubicBezTo>
                    <a:lnTo>
                      <a:pt x="212065" y="87"/>
                    </a:lnTo>
                    <a:cubicBezTo>
                      <a:pt x="222033" y="87"/>
                      <a:pt x="230212" y="10490"/>
                      <a:pt x="230212" y="23167"/>
                    </a:cubicBezTo>
                    <a:cubicBezTo>
                      <a:pt x="230212" y="35841"/>
                      <a:pt x="222033" y="46243"/>
                      <a:pt x="212065" y="46243"/>
                    </a:cubicBezTo>
                    <a:lnTo>
                      <a:pt x="87" y="46243"/>
                    </a:lnTo>
                    <a:close/>
                  </a:path>
                </a:pathLst>
              </a:custGeom>
              <a:solidFill>
                <a:schemeClr val="bg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06" name="Freeform: Shape 705">
                <a:extLst>
                  <a:ext uri="{FF2B5EF4-FFF2-40B4-BE49-F238E27FC236}">
                    <a16:creationId xmlns:a16="http://schemas.microsoft.com/office/drawing/2014/main" id="{9D713EA6-DD1E-4A95-B209-D3F6795E1BFD}"/>
                  </a:ext>
                </a:extLst>
              </p:cNvPr>
              <p:cNvSpPr/>
              <p:nvPr/>
            </p:nvSpPr>
            <p:spPr>
              <a:xfrm>
                <a:off x="482903" y="6223379"/>
                <a:ext cx="230977" cy="46406"/>
              </a:xfrm>
              <a:custGeom>
                <a:avLst/>
                <a:gdLst>
                  <a:gd name="connsiteX0" fmla="*/ 2822 w 230976"/>
                  <a:gd name="connsiteY0" fmla="*/ 4510 h 46406"/>
                  <a:gd name="connsiteX1" fmla="*/ 791 w 230976"/>
                  <a:gd name="connsiteY1" fmla="*/ 791 h 46406"/>
                  <a:gd name="connsiteX2" fmla="*/ 212769 w 230976"/>
                  <a:gd name="connsiteY2" fmla="*/ 791 h 46406"/>
                  <a:gd name="connsiteX3" fmla="*/ 218280 w 230976"/>
                  <a:gd name="connsiteY3" fmla="*/ 45840 h 46406"/>
                  <a:gd name="connsiteX4" fmla="*/ 212376 w 230976"/>
                  <a:gd name="connsiteY4" fmla="*/ 4509 h 46406"/>
                  <a:gd name="connsiteX5" fmla="*/ 2822 w 230976"/>
                  <a:gd name="connsiteY5" fmla="*/ 4509 h 4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976" h="46406">
                    <a:moveTo>
                      <a:pt x="2822" y="4510"/>
                    </a:moveTo>
                    <a:cubicBezTo>
                      <a:pt x="2210" y="3271"/>
                      <a:pt x="1534" y="2031"/>
                      <a:pt x="791" y="791"/>
                    </a:cubicBezTo>
                    <a:lnTo>
                      <a:pt x="212769" y="791"/>
                    </a:lnTo>
                    <a:cubicBezTo>
                      <a:pt x="233044" y="791"/>
                      <a:pt x="238730" y="36380"/>
                      <a:pt x="218280" y="45840"/>
                    </a:cubicBezTo>
                    <a:cubicBezTo>
                      <a:pt x="232243" y="37513"/>
                      <a:pt x="227030" y="9142"/>
                      <a:pt x="212376" y="4509"/>
                    </a:cubicBezTo>
                    <a:lnTo>
                      <a:pt x="2822" y="4509"/>
                    </a:ln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07" name="Freeform: Shape 706">
                <a:extLst>
                  <a:ext uri="{FF2B5EF4-FFF2-40B4-BE49-F238E27FC236}">
                    <a16:creationId xmlns:a16="http://schemas.microsoft.com/office/drawing/2014/main" id="{68018A31-FE22-49FA-952E-3DAA0022D35E}"/>
                  </a:ext>
                </a:extLst>
              </p:cNvPr>
              <p:cNvSpPr/>
              <p:nvPr/>
            </p:nvSpPr>
            <p:spPr>
              <a:xfrm>
                <a:off x="484587" y="6229747"/>
                <a:ext cx="229922" cy="37969"/>
              </a:xfrm>
              <a:custGeom>
                <a:avLst/>
                <a:gdLst>
                  <a:gd name="connsiteX0" fmla="*/ 3236 w 229921"/>
                  <a:gd name="connsiteY0" fmla="*/ 2535 h 37968"/>
                  <a:gd name="connsiteX1" fmla="*/ 224860 w 229921"/>
                  <a:gd name="connsiteY1" fmla="*/ 2535 h 37968"/>
                  <a:gd name="connsiteX2" fmla="*/ 223560 w 229921"/>
                  <a:gd name="connsiteY2" fmla="*/ 791 h 37968"/>
                  <a:gd name="connsiteX3" fmla="*/ 2520 w 229921"/>
                  <a:gd name="connsiteY3" fmla="*/ 791 h 37968"/>
                  <a:gd name="connsiteX4" fmla="*/ 3236 w 229921"/>
                  <a:gd name="connsiteY4" fmla="*/ 2535 h 37968"/>
                  <a:gd name="connsiteX5" fmla="*/ 226714 w 229921"/>
                  <a:gd name="connsiteY5" fmla="*/ 5820 h 37968"/>
                  <a:gd name="connsiteX6" fmla="*/ 226714 w 229921"/>
                  <a:gd name="connsiteY6" fmla="*/ 5820 h 37968"/>
                  <a:gd name="connsiteX7" fmla="*/ 227451 w 229921"/>
                  <a:gd name="connsiteY7" fmla="*/ 7562 h 37968"/>
                  <a:gd name="connsiteX8" fmla="*/ 4822 w 229921"/>
                  <a:gd name="connsiteY8" fmla="*/ 7562 h 37968"/>
                  <a:gd name="connsiteX9" fmla="*/ 4350 w 229921"/>
                  <a:gd name="connsiteY9" fmla="*/ 5820 h 37968"/>
                  <a:gd name="connsiteX10" fmla="*/ 226714 w 229921"/>
                  <a:gd name="connsiteY10" fmla="*/ 5820 h 37968"/>
                  <a:gd name="connsiteX11" fmla="*/ 228457 w 229921"/>
                  <a:gd name="connsiteY11" fmla="*/ 10846 h 37968"/>
                  <a:gd name="connsiteX12" fmla="*/ 228457 w 229921"/>
                  <a:gd name="connsiteY12" fmla="*/ 10846 h 37968"/>
                  <a:gd name="connsiteX13" fmla="*/ 228816 w 229921"/>
                  <a:gd name="connsiteY13" fmla="*/ 12590 h 37968"/>
                  <a:gd name="connsiteX14" fmla="*/ 5741 w 229921"/>
                  <a:gd name="connsiteY14" fmla="*/ 12590 h 37968"/>
                  <a:gd name="connsiteX15" fmla="*/ 5497 w 229921"/>
                  <a:gd name="connsiteY15" fmla="*/ 10846 h 37968"/>
                  <a:gd name="connsiteX16" fmla="*/ 228457 w 229921"/>
                  <a:gd name="connsiteY16" fmla="*/ 10846 h 37968"/>
                  <a:gd name="connsiteX17" fmla="*/ 229188 w 229921"/>
                  <a:gd name="connsiteY17" fmla="*/ 15874 h 37968"/>
                  <a:gd name="connsiteX18" fmla="*/ 229188 w 229921"/>
                  <a:gd name="connsiteY18" fmla="*/ 15874 h 37968"/>
                  <a:gd name="connsiteX19" fmla="*/ 229234 w 229921"/>
                  <a:gd name="connsiteY19" fmla="*/ 17503 h 37968"/>
                  <a:gd name="connsiteX20" fmla="*/ 229234 w 229921"/>
                  <a:gd name="connsiteY20" fmla="*/ 17619 h 37968"/>
                  <a:gd name="connsiteX21" fmla="*/ 6026 w 229921"/>
                  <a:gd name="connsiteY21" fmla="*/ 17619 h 37968"/>
                  <a:gd name="connsiteX22" fmla="*/ 5997 w 229921"/>
                  <a:gd name="connsiteY22" fmla="*/ 15874 h 37968"/>
                  <a:gd name="connsiteX23" fmla="*/ 229188 w 229921"/>
                  <a:gd name="connsiteY23" fmla="*/ 15874 h 37968"/>
                  <a:gd name="connsiteX24" fmla="*/ 229188 w 229921"/>
                  <a:gd name="connsiteY24" fmla="*/ 15874 h 37968"/>
                  <a:gd name="connsiteX25" fmla="*/ 229034 w 229921"/>
                  <a:gd name="connsiteY25" fmla="*/ 20903 h 37968"/>
                  <a:gd name="connsiteX26" fmla="*/ 229034 w 229921"/>
                  <a:gd name="connsiteY26" fmla="*/ 20903 h 37968"/>
                  <a:gd name="connsiteX27" fmla="*/ 228777 w 229921"/>
                  <a:gd name="connsiteY27" fmla="*/ 22646 h 37968"/>
                  <a:gd name="connsiteX28" fmla="*/ 5693 w 229921"/>
                  <a:gd name="connsiteY28" fmla="*/ 22646 h 37968"/>
                  <a:gd name="connsiteX29" fmla="*/ 5877 w 229921"/>
                  <a:gd name="connsiteY29" fmla="*/ 20903 h 37968"/>
                  <a:gd name="connsiteX30" fmla="*/ 229034 w 229921"/>
                  <a:gd name="connsiteY30" fmla="*/ 20903 h 37968"/>
                  <a:gd name="connsiteX31" fmla="*/ 229034 w 229921"/>
                  <a:gd name="connsiteY31" fmla="*/ 20903 h 37968"/>
                  <a:gd name="connsiteX32" fmla="*/ 227972 w 229921"/>
                  <a:gd name="connsiteY32" fmla="*/ 25932 h 37968"/>
                  <a:gd name="connsiteX33" fmla="*/ 227972 w 229921"/>
                  <a:gd name="connsiteY33" fmla="*/ 25932 h 37968"/>
                  <a:gd name="connsiteX34" fmla="*/ 227359 w 229921"/>
                  <a:gd name="connsiteY34" fmla="*/ 27672 h 37968"/>
                  <a:gd name="connsiteX35" fmla="*/ 4733 w 229921"/>
                  <a:gd name="connsiteY35" fmla="*/ 27672 h 37968"/>
                  <a:gd name="connsiteX36" fmla="*/ 5137 w 229921"/>
                  <a:gd name="connsiteY36" fmla="*/ 25932 h 37968"/>
                  <a:gd name="connsiteX37" fmla="*/ 227972 w 229921"/>
                  <a:gd name="connsiteY37" fmla="*/ 25932 h 37968"/>
                  <a:gd name="connsiteX38" fmla="*/ 227972 w 229921"/>
                  <a:gd name="connsiteY38" fmla="*/ 25932 h 37968"/>
                  <a:gd name="connsiteX39" fmla="*/ 225799 w 229921"/>
                  <a:gd name="connsiteY39" fmla="*/ 30958 h 37968"/>
                  <a:gd name="connsiteX40" fmla="*/ 225799 w 229921"/>
                  <a:gd name="connsiteY40" fmla="*/ 30958 h 37968"/>
                  <a:gd name="connsiteX41" fmla="*/ 224704 w 229921"/>
                  <a:gd name="connsiteY41" fmla="*/ 32700 h 37968"/>
                  <a:gd name="connsiteX42" fmla="*/ 3122 w 229921"/>
                  <a:gd name="connsiteY42" fmla="*/ 32700 h 37968"/>
                  <a:gd name="connsiteX43" fmla="*/ 3759 w 229921"/>
                  <a:gd name="connsiteY43" fmla="*/ 30958 h 37968"/>
                  <a:gd name="connsiteX44" fmla="*/ 225799 w 229921"/>
                  <a:gd name="connsiteY44" fmla="*/ 30958 h 37968"/>
                  <a:gd name="connsiteX45" fmla="*/ 221909 w 229921"/>
                  <a:gd name="connsiteY45" fmla="*/ 35986 h 37968"/>
                  <a:gd name="connsiteX46" fmla="*/ 221909 w 229921"/>
                  <a:gd name="connsiteY46" fmla="*/ 35986 h 37968"/>
                  <a:gd name="connsiteX47" fmla="*/ 219785 w 229921"/>
                  <a:gd name="connsiteY47" fmla="*/ 37729 h 37968"/>
                  <a:gd name="connsiteX48" fmla="*/ 791 w 229921"/>
                  <a:gd name="connsiteY48" fmla="*/ 37729 h 37968"/>
                  <a:gd name="connsiteX49" fmla="*/ 1686 w 229921"/>
                  <a:gd name="connsiteY49" fmla="*/ 35986 h 37968"/>
                  <a:gd name="connsiteX50" fmla="*/ 221909 w 229921"/>
                  <a:gd name="connsiteY50" fmla="*/ 35986 h 37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29921" h="37968">
                    <a:moveTo>
                      <a:pt x="3236" y="2535"/>
                    </a:moveTo>
                    <a:lnTo>
                      <a:pt x="224860" y="2535"/>
                    </a:lnTo>
                    <a:cubicBezTo>
                      <a:pt x="224451" y="1926"/>
                      <a:pt x="224017" y="1344"/>
                      <a:pt x="223560" y="791"/>
                    </a:cubicBezTo>
                    <a:lnTo>
                      <a:pt x="2520" y="791"/>
                    </a:lnTo>
                    <a:cubicBezTo>
                      <a:pt x="2771" y="1370"/>
                      <a:pt x="3010" y="1953"/>
                      <a:pt x="3236" y="2535"/>
                    </a:cubicBezTo>
                    <a:close/>
                    <a:moveTo>
                      <a:pt x="226714" y="5820"/>
                    </a:moveTo>
                    <a:lnTo>
                      <a:pt x="226714" y="5820"/>
                    </a:lnTo>
                    <a:cubicBezTo>
                      <a:pt x="226977" y="6385"/>
                      <a:pt x="227223" y="6965"/>
                      <a:pt x="227451" y="7562"/>
                    </a:cubicBezTo>
                    <a:lnTo>
                      <a:pt x="4822" y="7562"/>
                    </a:lnTo>
                    <a:cubicBezTo>
                      <a:pt x="4680" y="6979"/>
                      <a:pt x="4521" y="6400"/>
                      <a:pt x="4350" y="5820"/>
                    </a:cubicBezTo>
                    <a:lnTo>
                      <a:pt x="226714" y="5820"/>
                    </a:lnTo>
                    <a:close/>
                    <a:moveTo>
                      <a:pt x="228457" y="10846"/>
                    </a:moveTo>
                    <a:lnTo>
                      <a:pt x="228457" y="10846"/>
                    </a:lnTo>
                    <a:cubicBezTo>
                      <a:pt x="228594" y="11421"/>
                      <a:pt x="228713" y="12001"/>
                      <a:pt x="228816" y="12590"/>
                    </a:cubicBezTo>
                    <a:lnTo>
                      <a:pt x="5741" y="12590"/>
                    </a:lnTo>
                    <a:cubicBezTo>
                      <a:pt x="5672" y="12009"/>
                      <a:pt x="5590" y="11430"/>
                      <a:pt x="5497" y="10846"/>
                    </a:cubicBezTo>
                    <a:lnTo>
                      <a:pt x="228457" y="10846"/>
                    </a:lnTo>
                    <a:close/>
                    <a:moveTo>
                      <a:pt x="229188" y="15874"/>
                    </a:moveTo>
                    <a:lnTo>
                      <a:pt x="229188" y="15874"/>
                    </a:lnTo>
                    <a:cubicBezTo>
                      <a:pt x="229218" y="16414"/>
                      <a:pt x="229234" y="16956"/>
                      <a:pt x="229234" y="17503"/>
                    </a:cubicBezTo>
                    <a:lnTo>
                      <a:pt x="229234" y="17619"/>
                    </a:lnTo>
                    <a:lnTo>
                      <a:pt x="6026" y="17619"/>
                    </a:lnTo>
                    <a:cubicBezTo>
                      <a:pt x="6031" y="17040"/>
                      <a:pt x="6019" y="16457"/>
                      <a:pt x="5997" y="15874"/>
                    </a:cubicBezTo>
                    <a:lnTo>
                      <a:pt x="229188" y="15874"/>
                    </a:lnTo>
                    <a:lnTo>
                      <a:pt x="229188" y="15874"/>
                    </a:lnTo>
                    <a:close/>
                    <a:moveTo>
                      <a:pt x="229034" y="20903"/>
                    </a:moveTo>
                    <a:lnTo>
                      <a:pt x="229034" y="20903"/>
                    </a:lnTo>
                    <a:cubicBezTo>
                      <a:pt x="228965" y="21489"/>
                      <a:pt x="228880" y="22071"/>
                      <a:pt x="228777" y="22646"/>
                    </a:cubicBezTo>
                    <a:lnTo>
                      <a:pt x="5693" y="22646"/>
                    </a:lnTo>
                    <a:cubicBezTo>
                      <a:pt x="5767" y="22068"/>
                      <a:pt x="5829" y="21485"/>
                      <a:pt x="5877" y="20903"/>
                    </a:cubicBezTo>
                    <a:lnTo>
                      <a:pt x="229034" y="20903"/>
                    </a:lnTo>
                    <a:lnTo>
                      <a:pt x="229034" y="20903"/>
                    </a:lnTo>
                    <a:close/>
                    <a:moveTo>
                      <a:pt x="227972" y="25932"/>
                    </a:moveTo>
                    <a:lnTo>
                      <a:pt x="227972" y="25932"/>
                    </a:lnTo>
                    <a:cubicBezTo>
                      <a:pt x="227785" y="26524"/>
                      <a:pt x="227582" y="27104"/>
                      <a:pt x="227359" y="27672"/>
                    </a:cubicBezTo>
                    <a:lnTo>
                      <a:pt x="4733" y="27672"/>
                    </a:lnTo>
                    <a:cubicBezTo>
                      <a:pt x="4881" y="27094"/>
                      <a:pt x="5017" y="26515"/>
                      <a:pt x="5137" y="25932"/>
                    </a:cubicBezTo>
                    <a:lnTo>
                      <a:pt x="227972" y="25932"/>
                    </a:lnTo>
                    <a:lnTo>
                      <a:pt x="227972" y="25932"/>
                    </a:lnTo>
                    <a:close/>
                    <a:moveTo>
                      <a:pt x="225799" y="30958"/>
                    </a:moveTo>
                    <a:lnTo>
                      <a:pt x="225799" y="30958"/>
                    </a:lnTo>
                    <a:cubicBezTo>
                      <a:pt x="225454" y="31563"/>
                      <a:pt x="225090" y="32145"/>
                      <a:pt x="224704" y="32700"/>
                    </a:cubicBezTo>
                    <a:lnTo>
                      <a:pt x="3122" y="32700"/>
                    </a:lnTo>
                    <a:cubicBezTo>
                      <a:pt x="3347" y="32124"/>
                      <a:pt x="3559" y="31544"/>
                      <a:pt x="3759" y="30958"/>
                    </a:cubicBezTo>
                    <a:lnTo>
                      <a:pt x="225799" y="30958"/>
                    </a:lnTo>
                    <a:close/>
                    <a:moveTo>
                      <a:pt x="221909" y="35986"/>
                    </a:moveTo>
                    <a:lnTo>
                      <a:pt x="221909" y="35986"/>
                    </a:lnTo>
                    <a:cubicBezTo>
                      <a:pt x="221235" y="36626"/>
                      <a:pt x="220526" y="37210"/>
                      <a:pt x="219785" y="37729"/>
                    </a:cubicBezTo>
                    <a:lnTo>
                      <a:pt x="791" y="37729"/>
                    </a:lnTo>
                    <a:cubicBezTo>
                      <a:pt x="1101" y="37153"/>
                      <a:pt x="1401" y="36574"/>
                      <a:pt x="1686" y="35986"/>
                    </a:cubicBezTo>
                    <a:lnTo>
                      <a:pt x="221909" y="35986"/>
                    </a:lnTo>
                    <a:close/>
                  </a:path>
                </a:pathLst>
              </a:custGeom>
              <a:solidFill>
                <a:schemeClr val="tx2">
                  <a:lumMod val="10000"/>
                  <a:lumOff val="90000"/>
                </a:schemeClr>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08" name="Freeform: Shape 707">
                <a:extLst>
                  <a:ext uri="{FF2B5EF4-FFF2-40B4-BE49-F238E27FC236}">
                    <a16:creationId xmlns:a16="http://schemas.microsoft.com/office/drawing/2014/main" id="{F33F789B-8310-4BF8-A173-0126BA718A84}"/>
                  </a:ext>
                </a:extLst>
              </p:cNvPr>
              <p:cNvSpPr/>
              <p:nvPr/>
            </p:nvSpPr>
            <p:spPr>
              <a:xfrm>
                <a:off x="518232" y="6127796"/>
                <a:ext cx="142383" cy="40078"/>
              </a:xfrm>
              <a:custGeom>
                <a:avLst/>
                <a:gdLst>
                  <a:gd name="connsiteX0" fmla="*/ 128210 w 142382"/>
                  <a:gd name="connsiteY0" fmla="*/ 87 h 40078"/>
                  <a:gd name="connsiteX1" fmla="*/ 87 w 142382"/>
                  <a:gd name="connsiteY1" fmla="*/ 87 h 40078"/>
                  <a:gd name="connsiteX2" fmla="*/ 87 w 142382"/>
                  <a:gd name="connsiteY2" fmla="*/ 5663 h 40078"/>
                  <a:gd name="connsiteX3" fmla="*/ 87 w 142382"/>
                  <a:gd name="connsiteY3" fmla="*/ 35047 h 40078"/>
                  <a:gd name="connsiteX4" fmla="*/ 87 w 142382"/>
                  <a:gd name="connsiteY4" fmla="*/ 40623 h 40078"/>
                  <a:gd name="connsiteX5" fmla="*/ 128210 w 142382"/>
                  <a:gd name="connsiteY5" fmla="*/ 40623 h 40078"/>
                  <a:gd name="connsiteX6" fmla="*/ 128210 w 142382"/>
                  <a:gd name="connsiteY6" fmla="*/ 87 h 40078"/>
                  <a:gd name="connsiteX7" fmla="*/ 128210 w 142382"/>
                  <a:gd name="connsiteY7" fmla="*/ 87 h 4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382" h="40078">
                    <a:moveTo>
                      <a:pt x="128210" y="87"/>
                    </a:moveTo>
                    <a:lnTo>
                      <a:pt x="87" y="87"/>
                    </a:lnTo>
                    <a:lnTo>
                      <a:pt x="87" y="5663"/>
                    </a:lnTo>
                    <a:cubicBezTo>
                      <a:pt x="6153" y="15640"/>
                      <a:pt x="5152" y="26733"/>
                      <a:pt x="87" y="35047"/>
                    </a:cubicBezTo>
                    <a:lnTo>
                      <a:pt x="87" y="40623"/>
                    </a:lnTo>
                    <a:lnTo>
                      <a:pt x="128210" y="40623"/>
                    </a:lnTo>
                    <a:cubicBezTo>
                      <a:pt x="148227" y="40622"/>
                      <a:pt x="148227" y="85"/>
                      <a:pt x="128210" y="87"/>
                    </a:cubicBezTo>
                    <a:lnTo>
                      <a:pt x="128210" y="87"/>
                    </a:lnTo>
                    <a:close/>
                  </a:path>
                </a:pathLst>
              </a:custGeom>
              <a:solidFill>
                <a:schemeClr val="accent5"/>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09" name="Freeform: Shape 708">
                <a:extLst>
                  <a:ext uri="{FF2B5EF4-FFF2-40B4-BE49-F238E27FC236}">
                    <a16:creationId xmlns:a16="http://schemas.microsoft.com/office/drawing/2014/main" id="{F09A6CD1-E9A6-4A32-B5F5-C46148745844}"/>
                  </a:ext>
                </a:extLst>
              </p:cNvPr>
              <p:cNvSpPr/>
              <p:nvPr/>
            </p:nvSpPr>
            <p:spPr>
              <a:xfrm>
                <a:off x="518232" y="6133372"/>
                <a:ext cx="139219" cy="29531"/>
              </a:xfrm>
              <a:custGeom>
                <a:avLst/>
                <a:gdLst>
                  <a:gd name="connsiteX0" fmla="*/ 87 w 139218"/>
                  <a:gd name="connsiteY0" fmla="*/ 29471 h 29531"/>
                  <a:gd name="connsiteX1" fmla="*/ 87 w 139218"/>
                  <a:gd name="connsiteY1" fmla="*/ 87 h 29531"/>
                  <a:gd name="connsiteX2" fmla="*/ 128210 w 139218"/>
                  <a:gd name="connsiteY2" fmla="*/ 87 h 29531"/>
                  <a:gd name="connsiteX3" fmla="*/ 139179 w 139218"/>
                  <a:gd name="connsiteY3" fmla="*/ 14779 h 29531"/>
                  <a:gd name="connsiteX4" fmla="*/ 128210 w 139218"/>
                  <a:gd name="connsiteY4" fmla="*/ 29472 h 29531"/>
                  <a:gd name="connsiteX5" fmla="*/ 87 w 139218"/>
                  <a:gd name="connsiteY5" fmla="*/ 29471 h 29531"/>
                  <a:gd name="connsiteX6" fmla="*/ 87 w 139218"/>
                  <a:gd name="connsiteY6" fmla="*/ 29471 h 2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218" h="29531">
                    <a:moveTo>
                      <a:pt x="87" y="29471"/>
                    </a:moveTo>
                    <a:cubicBezTo>
                      <a:pt x="5259" y="19677"/>
                      <a:pt x="5649" y="9881"/>
                      <a:pt x="87" y="87"/>
                    </a:cubicBezTo>
                    <a:lnTo>
                      <a:pt x="128210" y="87"/>
                    </a:lnTo>
                    <a:cubicBezTo>
                      <a:pt x="134235" y="87"/>
                      <a:pt x="139179" y="6709"/>
                      <a:pt x="139179" y="14779"/>
                    </a:cubicBezTo>
                    <a:cubicBezTo>
                      <a:pt x="139179" y="22851"/>
                      <a:pt x="134235" y="29472"/>
                      <a:pt x="128210" y="29472"/>
                    </a:cubicBezTo>
                    <a:lnTo>
                      <a:pt x="87" y="29471"/>
                    </a:lnTo>
                    <a:lnTo>
                      <a:pt x="87" y="29471"/>
                    </a:lnTo>
                    <a:close/>
                  </a:path>
                </a:pathLst>
              </a:custGeom>
              <a:solidFill>
                <a:srgbClr val="FFFFFF"/>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10" name="Freeform: Shape 709">
                <a:extLst>
                  <a:ext uri="{FF2B5EF4-FFF2-40B4-BE49-F238E27FC236}">
                    <a16:creationId xmlns:a16="http://schemas.microsoft.com/office/drawing/2014/main" id="{3664B875-54A8-4780-A0E5-1825FA6DA745}"/>
                  </a:ext>
                </a:extLst>
              </p:cNvPr>
              <p:cNvSpPr/>
              <p:nvPr/>
            </p:nvSpPr>
            <p:spPr>
              <a:xfrm>
                <a:off x="517528" y="6132668"/>
                <a:ext cx="140273" cy="29531"/>
              </a:xfrm>
              <a:custGeom>
                <a:avLst/>
                <a:gdLst>
                  <a:gd name="connsiteX0" fmla="*/ 2018 w 140273"/>
                  <a:gd name="connsiteY0" fmla="*/ 3157 h 29531"/>
                  <a:gd name="connsiteX1" fmla="*/ 791 w 140273"/>
                  <a:gd name="connsiteY1" fmla="*/ 791 h 29531"/>
                  <a:gd name="connsiteX2" fmla="*/ 128914 w 140273"/>
                  <a:gd name="connsiteY2" fmla="*/ 791 h 29531"/>
                  <a:gd name="connsiteX3" fmla="*/ 132245 w 140273"/>
                  <a:gd name="connsiteY3" fmla="*/ 29472 h 29531"/>
                  <a:gd name="connsiteX4" fmla="*/ 128678 w 140273"/>
                  <a:gd name="connsiteY4" fmla="*/ 3157 h 29531"/>
                  <a:gd name="connsiteX5" fmla="*/ 2018 w 140273"/>
                  <a:gd name="connsiteY5" fmla="*/ 3157 h 2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273" h="29531">
                    <a:moveTo>
                      <a:pt x="2018" y="3157"/>
                    </a:moveTo>
                    <a:cubicBezTo>
                      <a:pt x="1647" y="2369"/>
                      <a:pt x="1239" y="1579"/>
                      <a:pt x="791" y="791"/>
                    </a:cubicBezTo>
                    <a:lnTo>
                      <a:pt x="128914" y="791"/>
                    </a:lnTo>
                    <a:cubicBezTo>
                      <a:pt x="141168" y="791"/>
                      <a:pt x="144605" y="23448"/>
                      <a:pt x="132245" y="29472"/>
                    </a:cubicBezTo>
                    <a:cubicBezTo>
                      <a:pt x="140687" y="24171"/>
                      <a:pt x="137535" y="6107"/>
                      <a:pt x="128678" y="3157"/>
                    </a:cubicBezTo>
                    <a:lnTo>
                      <a:pt x="2018" y="3157"/>
                    </a:ln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11" name="Freeform: Shape 710">
                <a:extLst>
                  <a:ext uri="{FF2B5EF4-FFF2-40B4-BE49-F238E27FC236}">
                    <a16:creationId xmlns:a16="http://schemas.microsoft.com/office/drawing/2014/main" id="{BC8A3966-110D-40C4-BE3A-9CECB24CD89C}"/>
                  </a:ext>
                </a:extLst>
              </p:cNvPr>
              <p:cNvSpPr/>
              <p:nvPr/>
            </p:nvSpPr>
            <p:spPr>
              <a:xfrm>
                <a:off x="518543" y="6136720"/>
                <a:ext cx="139219" cy="24258"/>
              </a:xfrm>
              <a:custGeom>
                <a:avLst/>
                <a:gdLst>
                  <a:gd name="connsiteX0" fmla="*/ 2270 w 139218"/>
                  <a:gd name="connsiteY0" fmla="*/ 1902 h 24257"/>
                  <a:gd name="connsiteX1" fmla="*/ 136226 w 139218"/>
                  <a:gd name="connsiteY1" fmla="*/ 1902 h 24257"/>
                  <a:gd name="connsiteX2" fmla="*/ 135438 w 139218"/>
                  <a:gd name="connsiteY2" fmla="*/ 791 h 24257"/>
                  <a:gd name="connsiteX3" fmla="*/ 1836 w 139218"/>
                  <a:gd name="connsiteY3" fmla="*/ 791 h 24257"/>
                  <a:gd name="connsiteX4" fmla="*/ 2270 w 139218"/>
                  <a:gd name="connsiteY4" fmla="*/ 1902 h 24257"/>
                  <a:gd name="connsiteX5" fmla="*/ 2270 w 139218"/>
                  <a:gd name="connsiteY5" fmla="*/ 1902 h 24257"/>
                  <a:gd name="connsiteX6" fmla="*/ 137342 w 139218"/>
                  <a:gd name="connsiteY6" fmla="*/ 3994 h 24257"/>
                  <a:gd name="connsiteX7" fmla="*/ 137342 w 139218"/>
                  <a:gd name="connsiteY7" fmla="*/ 3994 h 24257"/>
                  <a:gd name="connsiteX8" fmla="*/ 137790 w 139218"/>
                  <a:gd name="connsiteY8" fmla="*/ 5102 h 24257"/>
                  <a:gd name="connsiteX9" fmla="*/ 3227 w 139218"/>
                  <a:gd name="connsiteY9" fmla="*/ 5102 h 24257"/>
                  <a:gd name="connsiteX10" fmla="*/ 2944 w 139218"/>
                  <a:gd name="connsiteY10" fmla="*/ 3994 h 24257"/>
                  <a:gd name="connsiteX11" fmla="*/ 137342 w 139218"/>
                  <a:gd name="connsiteY11" fmla="*/ 3994 h 24257"/>
                  <a:gd name="connsiteX12" fmla="*/ 137342 w 139218"/>
                  <a:gd name="connsiteY12" fmla="*/ 3994 h 24257"/>
                  <a:gd name="connsiteX13" fmla="*/ 138398 w 139218"/>
                  <a:gd name="connsiteY13" fmla="*/ 7195 h 24257"/>
                  <a:gd name="connsiteX14" fmla="*/ 138398 w 139218"/>
                  <a:gd name="connsiteY14" fmla="*/ 7195 h 24257"/>
                  <a:gd name="connsiteX15" fmla="*/ 138614 w 139218"/>
                  <a:gd name="connsiteY15" fmla="*/ 8303 h 24257"/>
                  <a:gd name="connsiteX16" fmla="*/ 3784 w 139218"/>
                  <a:gd name="connsiteY16" fmla="*/ 8303 h 24257"/>
                  <a:gd name="connsiteX17" fmla="*/ 3638 w 139218"/>
                  <a:gd name="connsiteY17" fmla="*/ 7195 h 24257"/>
                  <a:gd name="connsiteX18" fmla="*/ 138398 w 139218"/>
                  <a:gd name="connsiteY18" fmla="*/ 7195 h 24257"/>
                  <a:gd name="connsiteX19" fmla="*/ 138398 w 139218"/>
                  <a:gd name="connsiteY19" fmla="*/ 7195 h 24257"/>
                  <a:gd name="connsiteX20" fmla="*/ 138839 w 139218"/>
                  <a:gd name="connsiteY20" fmla="*/ 10394 h 24257"/>
                  <a:gd name="connsiteX21" fmla="*/ 138839 w 139218"/>
                  <a:gd name="connsiteY21" fmla="*/ 10394 h 24257"/>
                  <a:gd name="connsiteX22" fmla="*/ 138868 w 139218"/>
                  <a:gd name="connsiteY22" fmla="*/ 11431 h 24257"/>
                  <a:gd name="connsiteX23" fmla="*/ 138866 w 139218"/>
                  <a:gd name="connsiteY23" fmla="*/ 11506 h 24257"/>
                  <a:gd name="connsiteX24" fmla="*/ 3956 w 139218"/>
                  <a:gd name="connsiteY24" fmla="*/ 11506 h 24257"/>
                  <a:gd name="connsiteX25" fmla="*/ 3940 w 139218"/>
                  <a:gd name="connsiteY25" fmla="*/ 10394 h 24257"/>
                  <a:gd name="connsiteX26" fmla="*/ 138839 w 139218"/>
                  <a:gd name="connsiteY26" fmla="*/ 10394 h 24257"/>
                  <a:gd name="connsiteX27" fmla="*/ 138747 w 139218"/>
                  <a:gd name="connsiteY27" fmla="*/ 13595 h 24257"/>
                  <a:gd name="connsiteX28" fmla="*/ 138747 w 139218"/>
                  <a:gd name="connsiteY28" fmla="*/ 13595 h 24257"/>
                  <a:gd name="connsiteX29" fmla="*/ 138589 w 139218"/>
                  <a:gd name="connsiteY29" fmla="*/ 14707 h 24257"/>
                  <a:gd name="connsiteX30" fmla="*/ 3756 w 139218"/>
                  <a:gd name="connsiteY30" fmla="*/ 14707 h 24257"/>
                  <a:gd name="connsiteX31" fmla="*/ 3866 w 139218"/>
                  <a:gd name="connsiteY31" fmla="*/ 13595 h 24257"/>
                  <a:gd name="connsiteX32" fmla="*/ 138747 w 139218"/>
                  <a:gd name="connsiteY32" fmla="*/ 13595 h 24257"/>
                  <a:gd name="connsiteX33" fmla="*/ 138747 w 139218"/>
                  <a:gd name="connsiteY33" fmla="*/ 13595 h 24257"/>
                  <a:gd name="connsiteX34" fmla="*/ 138104 w 139218"/>
                  <a:gd name="connsiteY34" fmla="*/ 16798 h 24257"/>
                  <a:gd name="connsiteX35" fmla="*/ 138104 w 139218"/>
                  <a:gd name="connsiteY35" fmla="*/ 16798 h 24257"/>
                  <a:gd name="connsiteX36" fmla="*/ 137734 w 139218"/>
                  <a:gd name="connsiteY36" fmla="*/ 17905 h 24257"/>
                  <a:gd name="connsiteX37" fmla="*/ 3176 w 139218"/>
                  <a:gd name="connsiteY37" fmla="*/ 17905 h 24257"/>
                  <a:gd name="connsiteX38" fmla="*/ 3420 w 139218"/>
                  <a:gd name="connsiteY38" fmla="*/ 16798 h 24257"/>
                  <a:gd name="connsiteX39" fmla="*/ 138104 w 139218"/>
                  <a:gd name="connsiteY39" fmla="*/ 16798 h 24257"/>
                  <a:gd name="connsiteX40" fmla="*/ 138104 w 139218"/>
                  <a:gd name="connsiteY40" fmla="*/ 16798 h 24257"/>
                  <a:gd name="connsiteX41" fmla="*/ 136792 w 139218"/>
                  <a:gd name="connsiteY41" fmla="*/ 19999 h 24257"/>
                  <a:gd name="connsiteX42" fmla="*/ 136792 w 139218"/>
                  <a:gd name="connsiteY42" fmla="*/ 19999 h 24257"/>
                  <a:gd name="connsiteX43" fmla="*/ 136131 w 139218"/>
                  <a:gd name="connsiteY43" fmla="*/ 21106 h 24257"/>
                  <a:gd name="connsiteX44" fmla="*/ 2203 w 139218"/>
                  <a:gd name="connsiteY44" fmla="*/ 21106 h 24257"/>
                  <a:gd name="connsiteX45" fmla="*/ 2586 w 139218"/>
                  <a:gd name="connsiteY45" fmla="*/ 19999 h 24257"/>
                  <a:gd name="connsiteX46" fmla="*/ 136792 w 139218"/>
                  <a:gd name="connsiteY46" fmla="*/ 19999 h 24257"/>
                  <a:gd name="connsiteX47" fmla="*/ 134439 w 139218"/>
                  <a:gd name="connsiteY47" fmla="*/ 23199 h 24257"/>
                  <a:gd name="connsiteX48" fmla="*/ 134439 w 139218"/>
                  <a:gd name="connsiteY48" fmla="*/ 23199 h 24257"/>
                  <a:gd name="connsiteX49" fmla="*/ 133154 w 139218"/>
                  <a:gd name="connsiteY49" fmla="*/ 24310 h 24257"/>
                  <a:gd name="connsiteX50" fmla="*/ 791 w 139218"/>
                  <a:gd name="connsiteY50" fmla="*/ 24310 h 24257"/>
                  <a:gd name="connsiteX51" fmla="*/ 1332 w 139218"/>
                  <a:gd name="connsiteY51" fmla="*/ 23199 h 24257"/>
                  <a:gd name="connsiteX52" fmla="*/ 134439 w 139218"/>
                  <a:gd name="connsiteY52" fmla="*/ 23199 h 2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9218" h="24257">
                    <a:moveTo>
                      <a:pt x="2270" y="1902"/>
                    </a:moveTo>
                    <a:lnTo>
                      <a:pt x="136226" y="1902"/>
                    </a:lnTo>
                    <a:cubicBezTo>
                      <a:pt x="135977" y="1512"/>
                      <a:pt x="135715" y="1144"/>
                      <a:pt x="135438" y="791"/>
                    </a:cubicBezTo>
                    <a:lnTo>
                      <a:pt x="1836" y="791"/>
                    </a:lnTo>
                    <a:cubicBezTo>
                      <a:pt x="1990" y="1160"/>
                      <a:pt x="2135" y="1529"/>
                      <a:pt x="2270" y="1902"/>
                    </a:cubicBezTo>
                    <a:lnTo>
                      <a:pt x="2270" y="1902"/>
                    </a:lnTo>
                    <a:close/>
                    <a:moveTo>
                      <a:pt x="137342" y="3994"/>
                    </a:moveTo>
                    <a:lnTo>
                      <a:pt x="137342" y="3994"/>
                    </a:lnTo>
                    <a:cubicBezTo>
                      <a:pt x="137504" y="4355"/>
                      <a:pt x="137654" y="4724"/>
                      <a:pt x="137790" y="5102"/>
                    </a:cubicBezTo>
                    <a:lnTo>
                      <a:pt x="3227" y="5102"/>
                    </a:lnTo>
                    <a:cubicBezTo>
                      <a:pt x="3143" y="4732"/>
                      <a:pt x="3046" y="4363"/>
                      <a:pt x="2944" y="3994"/>
                    </a:cubicBezTo>
                    <a:lnTo>
                      <a:pt x="137342" y="3994"/>
                    </a:lnTo>
                    <a:lnTo>
                      <a:pt x="137342" y="3994"/>
                    </a:lnTo>
                    <a:close/>
                    <a:moveTo>
                      <a:pt x="138398" y="7195"/>
                    </a:moveTo>
                    <a:lnTo>
                      <a:pt x="138398" y="7195"/>
                    </a:lnTo>
                    <a:cubicBezTo>
                      <a:pt x="138482" y="7558"/>
                      <a:pt x="138552" y="7927"/>
                      <a:pt x="138614" y="8303"/>
                    </a:cubicBezTo>
                    <a:lnTo>
                      <a:pt x="3784" y="8303"/>
                    </a:lnTo>
                    <a:cubicBezTo>
                      <a:pt x="3743" y="7933"/>
                      <a:pt x="3694" y="7564"/>
                      <a:pt x="3638" y="7195"/>
                    </a:cubicBezTo>
                    <a:lnTo>
                      <a:pt x="138398" y="7195"/>
                    </a:lnTo>
                    <a:lnTo>
                      <a:pt x="138398" y="7195"/>
                    </a:lnTo>
                    <a:close/>
                    <a:moveTo>
                      <a:pt x="138839" y="10394"/>
                    </a:moveTo>
                    <a:lnTo>
                      <a:pt x="138839" y="10394"/>
                    </a:lnTo>
                    <a:cubicBezTo>
                      <a:pt x="138859" y="10739"/>
                      <a:pt x="138868" y="11084"/>
                      <a:pt x="138868" y="11431"/>
                    </a:cubicBezTo>
                    <a:lnTo>
                      <a:pt x="138866" y="11506"/>
                    </a:lnTo>
                    <a:lnTo>
                      <a:pt x="3956" y="11506"/>
                    </a:lnTo>
                    <a:cubicBezTo>
                      <a:pt x="3960" y="11136"/>
                      <a:pt x="3954" y="10766"/>
                      <a:pt x="3940" y="10394"/>
                    </a:cubicBezTo>
                    <a:lnTo>
                      <a:pt x="138839" y="10394"/>
                    </a:lnTo>
                    <a:close/>
                    <a:moveTo>
                      <a:pt x="138747" y="13595"/>
                    </a:moveTo>
                    <a:lnTo>
                      <a:pt x="138747" y="13595"/>
                    </a:lnTo>
                    <a:cubicBezTo>
                      <a:pt x="138706" y="13970"/>
                      <a:pt x="138655" y="14340"/>
                      <a:pt x="138589" y="14707"/>
                    </a:cubicBezTo>
                    <a:lnTo>
                      <a:pt x="3756" y="14707"/>
                    </a:lnTo>
                    <a:cubicBezTo>
                      <a:pt x="3799" y="14337"/>
                      <a:pt x="3837" y="13968"/>
                      <a:pt x="3866" y="13595"/>
                    </a:cubicBezTo>
                    <a:lnTo>
                      <a:pt x="138747" y="13595"/>
                    </a:lnTo>
                    <a:lnTo>
                      <a:pt x="138747" y="13595"/>
                    </a:lnTo>
                    <a:close/>
                    <a:moveTo>
                      <a:pt x="138104" y="16798"/>
                    </a:moveTo>
                    <a:lnTo>
                      <a:pt x="138104" y="16798"/>
                    </a:lnTo>
                    <a:cubicBezTo>
                      <a:pt x="137992" y="17175"/>
                      <a:pt x="137867" y="17544"/>
                      <a:pt x="137734" y="17905"/>
                    </a:cubicBezTo>
                    <a:lnTo>
                      <a:pt x="3176" y="17905"/>
                    </a:lnTo>
                    <a:cubicBezTo>
                      <a:pt x="3264" y="17537"/>
                      <a:pt x="3345" y="17168"/>
                      <a:pt x="3420" y="16798"/>
                    </a:cubicBezTo>
                    <a:lnTo>
                      <a:pt x="138104" y="16798"/>
                    </a:lnTo>
                    <a:lnTo>
                      <a:pt x="138104" y="16798"/>
                    </a:lnTo>
                    <a:close/>
                    <a:moveTo>
                      <a:pt x="136792" y="19999"/>
                    </a:moveTo>
                    <a:lnTo>
                      <a:pt x="136792" y="19999"/>
                    </a:lnTo>
                    <a:cubicBezTo>
                      <a:pt x="136583" y="20383"/>
                      <a:pt x="136363" y="20752"/>
                      <a:pt x="136131" y="21106"/>
                    </a:cubicBezTo>
                    <a:lnTo>
                      <a:pt x="2203" y="21106"/>
                    </a:lnTo>
                    <a:cubicBezTo>
                      <a:pt x="2337" y="20739"/>
                      <a:pt x="2466" y="20370"/>
                      <a:pt x="2586" y="19999"/>
                    </a:cubicBezTo>
                    <a:lnTo>
                      <a:pt x="136792" y="19999"/>
                    </a:lnTo>
                    <a:close/>
                    <a:moveTo>
                      <a:pt x="134439" y="23199"/>
                    </a:moveTo>
                    <a:lnTo>
                      <a:pt x="134439" y="23199"/>
                    </a:lnTo>
                    <a:cubicBezTo>
                      <a:pt x="134032" y="23608"/>
                      <a:pt x="133604" y="23978"/>
                      <a:pt x="133154" y="24310"/>
                    </a:cubicBezTo>
                    <a:lnTo>
                      <a:pt x="791" y="24310"/>
                    </a:lnTo>
                    <a:cubicBezTo>
                      <a:pt x="979" y="23942"/>
                      <a:pt x="1159" y="23573"/>
                      <a:pt x="1332" y="23199"/>
                    </a:cubicBezTo>
                    <a:lnTo>
                      <a:pt x="134439" y="23199"/>
                    </a:lnTo>
                    <a:close/>
                  </a:path>
                </a:pathLst>
              </a:custGeom>
              <a:solidFill>
                <a:schemeClr val="tx2">
                  <a:lumMod val="10000"/>
                  <a:lumOff val="90000"/>
                </a:schemeClr>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12" name="Freeform: Shape 711">
                <a:extLst>
                  <a:ext uri="{FF2B5EF4-FFF2-40B4-BE49-F238E27FC236}">
                    <a16:creationId xmlns:a16="http://schemas.microsoft.com/office/drawing/2014/main" id="{56984944-6E86-48D7-9044-DB2C244D1035}"/>
                  </a:ext>
                </a:extLst>
              </p:cNvPr>
              <p:cNvSpPr/>
              <p:nvPr/>
            </p:nvSpPr>
            <p:spPr>
              <a:xfrm>
                <a:off x="673390" y="5956085"/>
                <a:ext cx="160313" cy="204609"/>
              </a:xfrm>
              <a:custGeom>
                <a:avLst/>
                <a:gdLst>
                  <a:gd name="connsiteX0" fmla="*/ 139603 w 160312"/>
                  <a:gd name="connsiteY0" fmla="*/ 87 h 204609"/>
                  <a:gd name="connsiteX1" fmla="*/ 87 w 160312"/>
                  <a:gd name="connsiteY1" fmla="*/ 87 h 204609"/>
                  <a:gd name="connsiteX2" fmla="*/ 87 w 160312"/>
                  <a:gd name="connsiteY2" fmla="*/ 204635 h 204609"/>
                  <a:gd name="connsiteX3" fmla="*/ 139602 w 160312"/>
                  <a:gd name="connsiteY3" fmla="*/ 204635 h 204609"/>
                  <a:gd name="connsiteX4" fmla="*/ 160464 w 160312"/>
                  <a:gd name="connsiteY4" fmla="*/ 183246 h 204609"/>
                  <a:gd name="connsiteX5" fmla="*/ 160464 w 160312"/>
                  <a:gd name="connsiteY5" fmla="*/ 21478 h 204609"/>
                  <a:gd name="connsiteX6" fmla="*/ 139603 w 160312"/>
                  <a:gd name="connsiteY6" fmla="*/ 87 h 204609"/>
                  <a:gd name="connsiteX7" fmla="*/ 139603 w 160312"/>
                  <a:gd name="connsiteY7" fmla="*/ 87 h 20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312" h="204609">
                    <a:moveTo>
                      <a:pt x="139603" y="87"/>
                    </a:moveTo>
                    <a:lnTo>
                      <a:pt x="87" y="87"/>
                    </a:lnTo>
                    <a:lnTo>
                      <a:pt x="87" y="204635"/>
                    </a:lnTo>
                    <a:lnTo>
                      <a:pt x="139602" y="204635"/>
                    </a:lnTo>
                    <a:cubicBezTo>
                      <a:pt x="151078" y="204635"/>
                      <a:pt x="160464" y="195010"/>
                      <a:pt x="160464" y="183246"/>
                    </a:cubicBezTo>
                    <a:lnTo>
                      <a:pt x="160464" y="21478"/>
                    </a:lnTo>
                    <a:cubicBezTo>
                      <a:pt x="160464" y="9711"/>
                      <a:pt x="151079" y="87"/>
                      <a:pt x="139603" y="87"/>
                    </a:cubicBezTo>
                    <a:lnTo>
                      <a:pt x="139603" y="87"/>
                    </a:lnTo>
                    <a:close/>
                  </a:path>
                </a:pathLst>
              </a:custGeom>
              <a:solidFill>
                <a:schemeClr val="accent5">
                  <a:lumMod val="75000"/>
                </a:schemeClr>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13" name="Freeform: Shape 712">
                <a:extLst>
                  <a:ext uri="{FF2B5EF4-FFF2-40B4-BE49-F238E27FC236}">
                    <a16:creationId xmlns:a16="http://schemas.microsoft.com/office/drawing/2014/main" id="{482555B2-5D22-4BBD-9C40-20CEF1D9D196}"/>
                  </a:ext>
                </a:extLst>
              </p:cNvPr>
              <p:cNvSpPr/>
              <p:nvPr/>
            </p:nvSpPr>
            <p:spPr>
              <a:xfrm>
                <a:off x="673390" y="5949066"/>
                <a:ext cx="152930" cy="204609"/>
              </a:xfrm>
              <a:custGeom>
                <a:avLst/>
                <a:gdLst>
                  <a:gd name="connsiteX0" fmla="*/ 133790 w 152929"/>
                  <a:gd name="connsiteY0" fmla="*/ 87 h 204609"/>
                  <a:gd name="connsiteX1" fmla="*/ 87 w 152929"/>
                  <a:gd name="connsiteY1" fmla="*/ 87 h 204609"/>
                  <a:gd name="connsiteX2" fmla="*/ 87 w 152929"/>
                  <a:gd name="connsiteY2" fmla="*/ 204635 h 204609"/>
                  <a:gd name="connsiteX3" fmla="*/ 133790 w 152929"/>
                  <a:gd name="connsiteY3" fmla="*/ 204635 h 204609"/>
                  <a:gd name="connsiteX4" fmla="*/ 153783 w 152929"/>
                  <a:gd name="connsiteY4" fmla="*/ 184138 h 204609"/>
                  <a:gd name="connsiteX5" fmla="*/ 153783 w 152929"/>
                  <a:gd name="connsiteY5" fmla="*/ 20586 h 204609"/>
                  <a:gd name="connsiteX6" fmla="*/ 133790 w 152929"/>
                  <a:gd name="connsiteY6" fmla="*/ 87 h 20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929" h="204609">
                    <a:moveTo>
                      <a:pt x="133790" y="87"/>
                    </a:moveTo>
                    <a:lnTo>
                      <a:pt x="87" y="87"/>
                    </a:lnTo>
                    <a:lnTo>
                      <a:pt x="87" y="204635"/>
                    </a:lnTo>
                    <a:lnTo>
                      <a:pt x="133790" y="204635"/>
                    </a:lnTo>
                    <a:cubicBezTo>
                      <a:pt x="144787" y="204635"/>
                      <a:pt x="153783" y="195410"/>
                      <a:pt x="153783" y="184138"/>
                    </a:cubicBezTo>
                    <a:lnTo>
                      <a:pt x="153783" y="20586"/>
                    </a:lnTo>
                    <a:cubicBezTo>
                      <a:pt x="153782" y="9310"/>
                      <a:pt x="144787" y="87"/>
                      <a:pt x="133790" y="87"/>
                    </a:cubicBezTo>
                    <a:close/>
                  </a:path>
                </a:pathLst>
              </a:custGeom>
              <a:solidFill>
                <a:srgbClr val="FFFFFF"/>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14" name="Freeform: Shape 713">
                <a:extLst>
                  <a:ext uri="{FF2B5EF4-FFF2-40B4-BE49-F238E27FC236}">
                    <a16:creationId xmlns:a16="http://schemas.microsoft.com/office/drawing/2014/main" id="{0AA21405-F764-4A20-BFEA-096DA773335B}"/>
                  </a:ext>
                </a:extLst>
              </p:cNvPr>
              <p:cNvSpPr/>
              <p:nvPr/>
            </p:nvSpPr>
            <p:spPr>
              <a:xfrm>
                <a:off x="673390" y="5930013"/>
                <a:ext cx="160313" cy="204609"/>
              </a:xfrm>
              <a:custGeom>
                <a:avLst/>
                <a:gdLst>
                  <a:gd name="connsiteX0" fmla="*/ 139603 w 160312"/>
                  <a:gd name="connsiteY0" fmla="*/ 87 h 204609"/>
                  <a:gd name="connsiteX1" fmla="*/ 87 w 160312"/>
                  <a:gd name="connsiteY1" fmla="*/ 87 h 204609"/>
                  <a:gd name="connsiteX2" fmla="*/ 87 w 160312"/>
                  <a:gd name="connsiteY2" fmla="*/ 204635 h 204609"/>
                  <a:gd name="connsiteX3" fmla="*/ 160464 w 160312"/>
                  <a:gd name="connsiteY3" fmla="*/ 204635 h 204609"/>
                  <a:gd name="connsiteX4" fmla="*/ 160464 w 160312"/>
                  <a:gd name="connsiteY4" fmla="*/ 21477 h 204609"/>
                  <a:gd name="connsiteX5" fmla="*/ 139603 w 160312"/>
                  <a:gd name="connsiteY5" fmla="*/ 87 h 204609"/>
                  <a:gd name="connsiteX6" fmla="*/ 139603 w 160312"/>
                  <a:gd name="connsiteY6" fmla="*/ 87 h 20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0312" h="204609">
                    <a:moveTo>
                      <a:pt x="139603" y="87"/>
                    </a:moveTo>
                    <a:lnTo>
                      <a:pt x="87" y="87"/>
                    </a:lnTo>
                    <a:lnTo>
                      <a:pt x="87" y="204635"/>
                    </a:lnTo>
                    <a:lnTo>
                      <a:pt x="160464" y="204635"/>
                    </a:lnTo>
                    <a:lnTo>
                      <a:pt x="160464" y="21477"/>
                    </a:lnTo>
                    <a:cubicBezTo>
                      <a:pt x="160464" y="9713"/>
                      <a:pt x="151079" y="88"/>
                      <a:pt x="139603" y="87"/>
                    </a:cubicBezTo>
                    <a:lnTo>
                      <a:pt x="139603" y="87"/>
                    </a:lnTo>
                    <a:close/>
                  </a:path>
                </a:pathLst>
              </a:custGeom>
              <a:solidFill>
                <a:schemeClr val="accent5"/>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15" name="Freeform: Shape 714">
                <a:extLst>
                  <a:ext uri="{FF2B5EF4-FFF2-40B4-BE49-F238E27FC236}">
                    <a16:creationId xmlns:a16="http://schemas.microsoft.com/office/drawing/2014/main" id="{CE1AC81F-1BB0-4E48-A155-BC44B8981C28}"/>
                  </a:ext>
                </a:extLst>
              </p:cNvPr>
              <p:cNvSpPr/>
              <p:nvPr/>
            </p:nvSpPr>
            <p:spPr>
              <a:xfrm>
                <a:off x="816076" y="5930261"/>
                <a:ext cx="16875" cy="203555"/>
              </a:xfrm>
              <a:custGeom>
                <a:avLst/>
                <a:gdLst>
                  <a:gd name="connsiteX0" fmla="*/ 87 w 16875"/>
                  <a:gd name="connsiteY0" fmla="*/ 204387 h 203554"/>
                  <a:gd name="connsiteX1" fmla="*/ 17779 w 16875"/>
                  <a:gd name="connsiteY1" fmla="*/ 204387 h 203554"/>
                  <a:gd name="connsiteX2" fmla="*/ 17779 w 16875"/>
                  <a:gd name="connsiteY2" fmla="*/ 21229 h 203554"/>
                  <a:gd name="connsiteX3" fmla="*/ 87 w 16875"/>
                  <a:gd name="connsiteY3" fmla="*/ 87 h 203554"/>
                  <a:gd name="connsiteX4" fmla="*/ 87 w 16875"/>
                  <a:gd name="connsiteY4" fmla="*/ 204387 h 203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75" h="203554">
                    <a:moveTo>
                      <a:pt x="87" y="204387"/>
                    </a:moveTo>
                    <a:lnTo>
                      <a:pt x="17779" y="204387"/>
                    </a:lnTo>
                    <a:lnTo>
                      <a:pt x="17779" y="21229"/>
                    </a:lnTo>
                    <a:cubicBezTo>
                      <a:pt x="17779" y="10568"/>
                      <a:pt x="10072" y="1664"/>
                      <a:pt x="87" y="87"/>
                    </a:cubicBezTo>
                    <a:lnTo>
                      <a:pt x="87" y="204387"/>
                    </a:lnTo>
                    <a:close/>
                  </a:path>
                </a:pathLst>
              </a:custGeom>
              <a:solidFill>
                <a:schemeClr val="accent5">
                  <a:lumMod val="75000"/>
                </a:schemeClr>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16" name="Freeform: Shape 715">
                <a:extLst>
                  <a:ext uri="{FF2B5EF4-FFF2-40B4-BE49-F238E27FC236}">
                    <a16:creationId xmlns:a16="http://schemas.microsoft.com/office/drawing/2014/main" id="{3EC4063D-E60A-4E7F-AB24-A1E0F67713E8}"/>
                  </a:ext>
                </a:extLst>
              </p:cNvPr>
              <p:cNvSpPr/>
              <p:nvPr/>
            </p:nvSpPr>
            <p:spPr>
              <a:xfrm>
                <a:off x="673390" y="6137262"/>
                <a:ext cx="152930" cy="13711"/>
              </a:xfrm>
              <a:custGeom>
                <a:avLst/>
                <a:gdLst>
                  <a:gd name="connsiteX0" fmla="*/ 145710 w 152929"/>
                  <a:gd name="connsiteY0" fmla="*/ 12369 h 13710"/>
                  <a:gd name="connsiteX1" fmla="*/ 87 w 152929"/>
                  <a:gd name="connsiteY1" fmla="*/ 12369 h 13710"/>
                  <a:gd name="connsiteX2" fmla="*/ 87 w 152929"/>
                  <a:gd name="connsiteY2" fmla="*/ 13985 h 13710"/>
                  <a:gd name="connsiteX3" fmla="*/ 143240 w 152929"/>
                  <a:gd name="connsiteY3" fmla="*/ 13985 h 13710"/>
                  <a:gd name="connsiteX4" fmla="*/ 145710 w 152929"/>
                  <a:gd name="connsiteY4" fmla="*/ 12369 h 13710"/>
                  <a:gd name="connsiteX5" fmla="*/ 87 w 152929"/>
                  <a:gd name="connsiteY5" fmla="*/ 87 h 13710"/>
                  <a:gd name="connsiteX6" fmla="*/ 87 w 152929"/>
                  <a:gd name="connsiteY6" fmla="*/ 87 h 13710"/>
                  <a:gd name="connsiteX7" fmla="*/ 87 w 152929"/>
                  <a:gd name="connsiteY7" fmla="*/ 1705 h 13710"/>
                  <a:gd name="connsiteX8" fmla="*/ 152970 w 152929"/>
                  <a:gd name="connsiteY8" fmla="*/ 1705 h 13710"/>
                  <a:gd name="connsiteX9" fmla="*/ 153367 w 152929"/>
                  <a:gd name="connsiteY9" fmla="*/ 87 h 13710"/>
                  <a:gd name="connsiteX10" fmla="*/ 87 w 152929"/>
                  <a:gd name="connsiteY10" fmla="*/ 87 h 13710"/>
                  <a:gd name="connsiteX11" fmla="*/ 87 w 152929"/>
                  <a:gd name="connsiteY11" fmla="*/ 4182 h 13710"/>
                  <a:gd name="connsiteX12" fmla="*/ 87 w 152929"/>
                  <a:gd name="connsiteY12" fmla="*/ 4182 h 13710"/>
                  <a:gd name="connsiteX13" fmla="*/ 87 w 152929"/>
                  <a:gd name="connsiteY13" fmla="*/ 5798 h 13710"/>
                  <a:gd name="connsiteX14" fmla="*/ 151300 w 152929"/>
                  <a:gd name="connsiteY14" fmla="*/ 5798 h 13710"/>
                  <a:gd name="connsiteX15" fmla="*/ 152084 w 152929"/>
                  <a:gd name="connsiteY15" fmla="*/ 4182 h 13710"/>
                  <a:gd name="connsiteX16" fmla="*/ 87 w 152929"/>
                  <a:gd name="connsiteY16" fmla="*/ 4182 h 13710"/>
                  <a:gd name="connsiteX17" fmla="*/ 87 w 152929"/>
                  <a:gd name="connsiteY17" fmla="*/ 8277 h 13710"/>
                  <a:gd name="connsiteX18" fmla="*/ 87 w 152929"/>
                  <a:gd name="connsiteY18" fmla="*/ 8277 h 13710"/>
                  <a:gd name="connsiteX19" fmla="*/ 87 w 152929"/>
                  <a:gd name="connsiteY19" fmla="*/ 9893 h 13710"/>
                  <a:gd name="connsiteX20" fmla="*/ 148403 w 152929"/>
                  <a:gd name="connsiteY20" fmla="*/ 9893 h 13710"/>
                  <a:gd name="connsiteX21" fmla="*/ 149729 w 152929"/>
                  <a:gd name="connsiteY21" fmla="*/ 8277 h 13710"/>
                  <a:gd name="connsiteX22" fmla="*/ 87 w 152929"/>
                  <a:gd name="connsiteY22" fmla="*/ 8277 h 13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929" h="13710">
                    <a:moveTo>
                      <a:pt x="145710" y="12369"/>
                    </a:moveTo>
                    <a:lnTo>
                      <a:pt x="87" y="12369"/>
                    </a:lnTo>
                    <a:lnTo>
                      <a:pt x="87" y="13985"/>
                    </a:lnTo>
                    <a:lnTo>
                      <a:pt x="143240" y="13985"/>
                    </a:lnTo>
                    <a:cubicBezTo>
                      <a:pt x="144104" y="13506"/>
                      <a:pt x="144928" y="12967"/>
                      <a:pt x="145710" y="12369"/>
                    </a:cubicBezTo>
                    <a:close/>
                    <a:moveTo>
                      <a:pt x="87" y="87"/>
                    </a:moveTo>
                    <a:lnTo>
                      <a:pt x="87" y="87"/>
                    </a:lnTo>
                    <a:lnTo>
                      <a:pt x="87" y="1705"/>
                    </a:lnTo>
                    <a:lnTo>
                      <a:pt x="152970" y="1705"/>
                    </a:lnTo>
                    <a:cubicBezTo>
                      <a:pt x="153124" y="1174"/>
                      <a:pt x="153256" y="634"/>
                      <a:pt x="153367" y="87"/>
                    </a:cubicBezTo>
                    <a:lnTo>
                      <a:pt x="87" y="87"/>
                    </a:lnTo>
                    <a:close/>
                    <a:moveTo>
                      <a:pt x="87" y="4182"/>
                    </a:moveTo>
                    <a:lnTo>
                      <a:pt x="87" y="4182"/>
                    </a:lnTo>
                    <a:lnTo>
                      <a:pt x="87" y="5798"/>
                    </a:lnTo>
                    <a:lnTo>
                      <a:pt x="151300" y="5798"/>
                    </a:lnTo>
                    <a:cubicBezTo>
                      <a:pt x="151584" y="5271"/>
                      <a:pt x="151848" y="4735"/>
                      <a:pt x="152084" y="4182"/>
                    </a:cubicBezTo>
                    <a:lnTo>
                      <a:pt x="87" y="4182"/>
                    </a:lnTo>
                    <a:close/>
                    <a:moveTo>
                      <a:pt x="87" y="8277"/>
                    </a:moveTo>
                    <a:lnTo>
                      <a:pt x="87" y="8277"/>
                    </a:lnTo>
                    <a:lnTo>
                      <a:pt x="87" y="9893"/>
                    </a:lnTo>
                    <a:lnTo>
                      <a:pt x="148403" y="9893"/>
                    </a:lnTo>
                    <a:cubicBezTo>
                      <a:pt x="148870" y="9377"/>
                      <a:pt x="149314" y="8837"/>
                      <a:pt x="149729" y="8277"/>
                    </a:cubicBezTo>
                    <a:lnTo>
                      <a:pt x="87" y="8277"/>
                    </a:lnTo>
                    <a:close/>
                  </a:path>
                </a:pathLst>
              </a:custGeom>
              <a:solidFill>
                <a:srgbClr val="DFE1E3"/>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17" name="Freeform: Shape 716">
                <a:extLst>
                  <a:ext uri="{FF2B5EF4-FFF2-40B4-BE49-F238E27FC236}">
                    <a16:creationId xmlns:a16="http://schemas.microsoft.com/office/drawing/2014/main" id="{26F8FE47-0237-495A-9552-D60E76EE0477}"/>
                  </a:ext>
                </a:extLst>
              </p:cNvPr>
              <p:cNvSpPr/>
              <p:nvPr/>
            </p:nvSpPr>
            <p:spPr>
              <a:xfrm>
                <a:off x="726957" y="6101725"/>
                <a:ext cx="51680" cy="8438"/>
              </a:xfrm>
              <a:custGeom>
                <a:avLst/>
                <a:gdLst>
                  <a:gd name="connsiteX0" fmla="*/ 52404 w 51679"/>
                  <a:gd name="connsiteY0" fmla="*/ 87 h 8437"/>
                  <a:gd name="connsiteX1" fmla="*/ 87 w 51679"/>
                  <a:gd name="connsiteY1" fmla="*/ 87 h 8437"/>
                  <a:gd name="connsiteX2" fmla="*/ 87 w 51679"/>
                  <a:gd name="connsiteY2" fmla="*/ 3264 h 8437"/>
                  <a:gd name="connsiteX3" fmla="*/ 52404 w 51679"/>
                  <a:gd name="connsiteY3" fmla="*/ 3264 h 8437"/>
                  <a:gd name="connsiteX4" fmla="*/ 52404 w 51679"/>
                  <a:gd name="connsiteY4" fmla="*/ 87 h 8437"/>
                  <a:gd name="connsiteX5" fmla="*/ 42464 w 51679"/>
                  <a:gd name="connsiteY5" fmla="*/ 5595 h 8437"/>
                  <a:gd name="connsiteX6" fmla="*/ 42464 w 51679"/>
                  <a:gd name="connsiteY6" fmla="*/ 5595 h 8437"/>
                  <a:gd name="connsiteX7" fmla="*/ 10029 w 51679"/>
                  <a:gd name="connsiteY7" fmla="*/ 5595 h 8437"/>
                  <a:gd name="connsiteX8" fmla="*/ 10029 w 51679"/>
                  <a:gd name="connsiteY8" fmla="*/ 8774 h 8437"/>
                  <a:gd name="connsiteX9" fmla="*/ 42464 w 51679"/>
                  <a:gd name="connsiteY9" fmla="*/ 8774 h 8437"/>
                  <a:gd name="connsiteX10" fmla="*/ 42464 w 51679"/>
                  <a:gd name="connsiteY10" fmla="*/ 5595 h 8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679" h="8437">
                    <a:moveTo>
                      <a:pt x="52404" y="87"/>
                    </a:moveTo>
                    <a:lnTo>
                      <a:pt x="87" y="87"/>
                    </a:lnTo>
                    <a:lnTo>
                      <a:pt x="87" y="3264"/>
                    </a:lnTo>
                    <a:lnTo>
                      <a:pt x="52404" y="3264"/>
                    </a:lnTo>
                    <a:lnTo>
                      <a:pt x="52404" y="87"/>
                    </a:lnTo>
                    <a:close/>
                    <a:moveTo>
                      <a:pt x="42464" y="5595"/>
                    </a:moveTo>
                    <a:lnTo>
                      <a:pt x="42464" y="5595"/>
                    </a:lnTo>
                    <a:lnTo>
                      <a:pt x="10029" y="5595"/>
                    </a:lnTo>
                    <a:lnTo>
                      <a:pt x="10029" y="8774"/>
                    </a:lnTo>
                    <a:lnTo>
                      <a:pt x="42464" y="8774"/>
                    </a:lnTo>
                    <a:lnTo>
                      <a:pt x="42464" y="5595"/>
                    </a:lnTo>
                    <a:close/>
                  </a:path>
                </a:pathLst>
              </a:custGeom>
              <a:solidFill>
                <a:srgbClr val="FFFFFF"/>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18" name="Freeform: Shape 717">
                <a:extLst>
                  <a:ext uri="{FF2B5EF4-FFF2-40B4-BE49-F238E27FC236}">
                    <a16:creationId xmlns:a16="http://schemas.microsoft.com/office/drawing/2014/main" id="{E1F159B8-A134-46AC-81B9-44EADB41B890}"/>
                  </a:ext>
                </a:extLst>
              </p:cNvPr>
              <p:cNvSpPr/>
              <p:nvPr/>
            </p:nvSpPr>
            <p:spPr>
              <a:xfrm>
                <a:off x="785110" y="6052676"/>
                <a:ext cx="61172" cy="136055"/>
              </a:xfrm>
              <a:custGeom>
                <a:avLst/>
                <a:gdLst>
                  <a:gd name="connsiteX0" fmla="*/ 53195 w 61171"/>
                  <a:gd name="connsiteY0" fmla="*/ 5575 h 136054"/>
                  <a:gd name="connsiteX1" fmla="*/ 34174 w 61171"/>
                  <a:gd name="connsiteY1" fmla="*/ 87 h 136054"/>
                  <a:gd name="connsiteX2" fmla="*/ 6758 w 61171"/>
                  <a:gd name="connsiteY2" fmla="*/ 6138 h 136054"/>
                  <a:gd name="connsiteX3" fmla="*/ 13346 w 61171"/>
                  <a:gd name="connsiteY3" fmla="*/ 13581 h 136054"/>
                  <a:gd name="connsiteX4" fmla="*/ 34174 w 61171"/>
                  <a:gd name="connsiteY4" fmla="*/ 11948 h 136054"/>
                  <a:gd name="connsiteX5" fmla="*/ 48745 w 61171"/>
                  <a:gd name="connsiteY5" fmla="*/ 18032 h 136054"/>
                  <a:gd name="connsiteX6" fmla="*/ 48745 w 61171"/>
                  <a:gd name="connsiteY6" fmla="*/ 20176 h 136054"/>
                  <a:gd name="connsiteX7" fmla="*/ 27016 w 61171"/>
                  <a:gd name="connsiteY7" fmla="*/ 14958 h 136054"/>
                  <a:gd name="connsiteX8" fmla="*/ 87 w 61171"/>
                  <a:gd name="connsiteY8" fmla="*/ 22831 h 136054"/>
                  <a:gd name="connsiteX9" fmla="*/ 25424 w 61171"/>
                  <a:gd name="connsiteY9" fmla="*/ 26552 h 136054"/>
                  <a:gd name="connsiteX10" fmla="*/ 48745 w 61171"/>
                  <a:gd name="connsiteY10" fmla="*/ 34655 h 136054"/>
                  <a:gd name="connsiteX11" fmla="*/ 48745 w 61171"/>
                  <a:gd name="connsiteY11" fmla="*/ 37446 h 136054"/>
                  <a:gd name="connsiteX12" fmla="*/ 31052 w 61171"/>
                  <a:gd name="connsiteY12" fmla="*/ 33664 h 136054"/>
                  <a:gd name="connsiteX13" fmla="*/ 8785 w 61171"/>
                  <a:gd name="connsiteY13" fmla="*/ 39087 h 136054"/>
                  <a:gd name="connsiteX14" fmla="*/ 31052 w 61171"/>
                  <a:gd name="connsiteY14" fmla="*/ 45182 h 136054"/>
                  <a:gd name="connsiteX15" fmla="*/ 48745 w 61171"/>
                  <a:gd name="connsiteY15" fmla="*/ 49221 h 136054"/>
                  <a:gd name="connsiteX16" fmla="*/ 48745 w 61171"/>
                  <a:gd name="connsiteY16" fmla="*/ 53686 h 136054"/>
                  <a:gd name="connsiteX17" fmla="*/ 31137 w 61171"/>
                  <a:gd name="connsiteY17" fmla="*/ 52595 h 136054"/>
                  <a:gd name="connsiteX18" fmla="*/ 14054 w 61171"/>
                  <a:gd name="connsiteY18" fmla="*/ 57564 h 136054"/>
                  <a:gd name="connsiteX19" fmla="*/ 15752 w 61171"/>
                  <a:gd name="connsiteY19" fmla="*/ 65075 h 136054"/>
                  <a:gd name="connsiteX20" fmla="*/ 31052 w 61171"/>
                  <a:gd name="connsiteY20" fmla="*/ 63331 h 136054"/>
                  <a:gd name="connsiteX21" fmla="*/ 48530 w 61171"/>
                  <a:gd name="connsiteY21" fmla="*/ 65626 h 136054"/>
                  <a:gd name="connsiteX22" fmla="*/ 48745 w 61171"/>
                  <a:gd name="connsiteY22" fmla="*/ 82886 h 136054"/>
                  <a:gd name="connsiteX23" fmla="*/ 32826 w 61171"/>
                  <a:gd name="connsiteY23" fmla="*/ 107247 h 136054"/>
                  <a:gd name="connsiteX24" fmla="*/ 17216 w 61171"/>
                  <a:gd name="connsiteY24" fmla="*/ 108044 h 136054"/>
                  <a:gd name="connsiteX25" fmla="*/ 12604 w 61171"/>
                  <a:gd name="connsiteY25" fmla="*/ 136113 h 136054"/>
                  <a:gd name="connsiteX26" fmla="*/ 51066 w 61171"/>
                  <a:gd name="connsiteY26" fmla="*/ 136113 h 136054"/>
                  <a:gd name="connsiteX27" fmla="*/ 48382 w 61171"/>
                  <a:gd name="connsiteY27" fmla="*/ 101962 h 136054"/>
                  <a:gd name="connsiteX28" fmla="*/ 58878 w 61171"/>
                  <a:gd name="connsiteY28" fmla="*/ 55791 h 136054"/>
                  <a:gd name="connsiteX29" fmla="*/ 58404 w 61171"/>
                  <a:gd name="connsiteY29" fmla="*/ 40611 h 136054"/>
                  <a:gd name="connsiteX30" fmla="*/ 58789 w 61171"/>
                  <a:gd name="connsiteY30" fmla="*/ 25221 h 136054"/>
                  <a:gd name="connsiteX31" fmla="*/ 53195 w 61171"/>
                  <a:gd name="connsiteY31" fmla="*/ 5575 h 136054"/>
                  <a:gd name="connsiteX32" fmla="*/ 53195 w 61171"/>
                  <a:gd name="connsiteY32" fmla="*/ 5575 h 13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1171" h="136054">
                    <a:moveTo>
                      <a:pt x="53195" y="5575"/>
                    </a:moveTo>
                    <a:lnTo>
                      <a:pt x="34174" y="87"/>
                    </a:lnTo>
                    <a:lnTo>
                      <a:pt x="6758" y="6138"/>
                    </a:lnTo>
                    <a:cubicBezTo>
                      <a:pt x="5444" y="9733"/>
                      <a:pt x="9796" y="13269"/>
                      <a:pt x="13346" y="13581"/>
                    </a:cubicBezTo>
                    <a:lnTo>
                      <a:pt x="34174" y="11948"/>
                    </a:lnTo>
                    <a:lnTo>
                      <a:pt x="48745" y="18032"/>
                    </a:lnTo>
                    <a:lnTo>
                      <a:pt x="48745" y="20176"/>
                    </a:lnTo>
                    <a:lnTo>
                      <a:pt x="27016" y="14958"/>
                    </a:lnTo>
                    <a:lnTo>
                      <a:pt x="87" y="22831"/>
                    </a:lnTo>
                    <a:cubicBezTo>
                      <a:pt x="516" y="33821"/>
                      <a:pt x="7650" y="30997"/>
                      <a:pt x="25424" y="26552"/>
                    </a:cubicBezTo>
                    <a:lnTo>
                      <a:pt x="48745" y="34655"/>
                    </a:lnTo>
                    <a:lnTo>
                      <a:pt x="48745" y="37446"/>
                    </a:lnTo>
                    <a:lnTo>
                      <a:pt x="31052" y="33664"/>
                    </a:lnTo>
                    <a:lnTo>
                      <a:pt x="8785" y="39087"/>
                    </a:lnTo>
                    <a:cubicBezTo>
                      <a:pt x="8527" y="50115"/>
                      <a:pt x="16729" y="46774"/>
                      <a:pt x="31052" y="45182"/>
                    </a:cubicBezTo>
                    <a:lnTo>
                      <a:pt x="48745" y="49221"/>
                    </a:lnTo>
                    <a:lnTo>
                      <a:pt x="48745" y="53686"/>
                    </a:lnTo>
                    <a:lnTo>
                      <a:pt x="31137" y="52595"/>
                    </a:lnTo>
                    <a:lnTo>
                      <a:pt x="14054" y="57564"/>
                    </a:lnTo>
                    <a:cubicBezTo>
                      <a:pt x="11325" y="58806"/>
                      <a:pt x="11883" y="64050"/>
                      <a:pt x="15752" y="65075"/>
                    </a:cubicBezTo>
                    <a:lnTo>
                      <a:pt x="31052" y="63331"/>
                    </a:lnTo>
                    <a:lnTo>
                      <a:pt x="48530" y="65626"/>
                    </a:lnTo>
                    <a:lnTo>
                      <a:pt x="48745" y="82886"/>
                    </a:lnTo>
                    <a:cubicBezTo>
                      <a:pt x="50203" y="94030"/>
                      <a:pt x="43158" y="105230"/>
                      <a:pt x="32826" y="107247"/>
                    </a:cubicBezTo>
                    <a:lnTo>
                      <a:pt x="17216" y="108044"/>
                    </a:lnTo>
                    <a:lnTo>
                      <a:pt x="12604" y="136113"/>
                    </a:lnTo>
                    <a:lnTo>
                      <a:pt x="51066" y="136113"/>
                    </a:lnTo>
                    <a:lnTo>
                      <a:pt x="48382" y="101962"/>
                    </a:lnTo>
                    <a:cubicBezTo>
                      <a:pt x="54198" y="88442"/>
                      <a:pt x="65961" y="70882"/>
                      <a:pt x="58878" y="55791"/>
                    </a:cubicBezTo>
                    <a:cubicBezTo>
                      <a:pt x="62541" y="49641"/>
                      <a:pt x="61258" y="43951"/>
                      <a:pt x="58404" y="40611"/>
                    </a:cubicBezTo>
                    <a:cubicBezTo>
                      <a:pt x="61082" y="36774"/>
                      <a:pt x="64649" y="30137"/>
                      <a:pt x="58789" y="25221"/>
                    </a:cubicBezTo>
                    <a:cubicBezTo>
                      <a:pt x="58352" y="14938"/>
                      <a:pt x="61328" y="11522"/>
                      <a:pt x="53195" y="5575"/>
                    </a:cubicBezTo>
                    <a:lnTo>
                      <a:pt x="53195" y="5575"/>
                    </a:lnTo>
                    <a:close/>
                  </a:path>
                </a:pathLst>
              </a:custGeom>
              <a:solidFill>
                <a:srgbClr val="E39E6B"/>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19" name="Freeform: Shape 718">
                <a:extLst>
                  <a:ext uri="{FF2B5EF4-FFF2-40B4-BE49-F238E27FC236}">
                    <a16:creationId xmlns:a16="http://schemas.microsoft.com/office/drawing/2014/main" id="{516C7E4B-C791-435F-8A8A-C09F8D864879}"/>
                  </a:ext>
                </a:extLst>
              </p:cNvPr>
              <p:cNvSpPr/>
              <p:nvPr/>
            </p:nvSpPr>
            <p:spPr>
              <a:xfrm>
                <a:off x="797627" y="6160113"/>
                <a:ext cx="14766" cy="28477"/>
              </a:xfrm>
              <a:custGeom>
                <a:avLst/>
                <a:gdLst>
                  <a:gd name="connsiteX0" fmla="*/ 4723 w 14765"/>
                  <a:gd name="connsiteY0" fmla="*/ 606 h 28476"/>
                  <a:gd name="connsiteX1" fmla="*/ 87 w 14765"/>
                  <a:gd name="connsiteY1" fmla="*/ 28676 h 28476"/>
                  <a:gd name="connsiteX2" fmla="*/ 14903 w 14765"/>
                  <a:gd name="connsiteY2" fmla="*/ 87 h 28476"/>
                  <a:gd name="connsiteX3" fmla="*/ 4723 w 14765"/>
                  <a:gd name="connsiteY3" fmla="*/ 606 h 28476"/>
                </a:gdLst>
                <a:ahLst/>
                <a:cxnLst>
                  <a:cxn ang="0">
                    <a:pos x="connsiteX0" y="connsiteY0"/>
                  </a:cxn>
                  <a:cxn ang="0">
                    <a:pos x="connsiteX1" y="connsiteY1"/>
                  </a:cxn>
                  <a:cxn ang="0">
                    <a:pos x="connsiteX2" y="connsiteY2"/>
                  </a:cxn>
                  <a:cxn ang="0">
                    <a:pos x="connsiteX3" y="connsiteY3"/>
                  </a:cxn>
                </a:cxnLst>
                <a:rect l="l" t="t" r="r" b="b"/>
                <a:pathLst>
                  <a:path w="14765" h="28476">
                    <a:moveTo>
                      <a:pt x="4723" y="606"/>
                    </a:moveTo>
                    <a:lnTo>
                      <a:pt x="87" y="28676"/>
                    </a:lnTo>
                    <a:lnTo>
                      <a:pt x="14903" y="87"/>
                    </a:lnTo>
                    <a:lnTo>
                      <a:pt x="4723" y="606"/>
                    </a:lnTo>
                    <a:close/>
                  </a:path>
                </a:pathLst>
              </a:custGeom>
              <a:solidFill>
                <a:srgbClr val="E5A575"/>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20" name="Freeform: Shape 719">
                <a:extLst>
                  <a:ext uri="{FF2B5EF4-FFF2-40B4-BE49-F238E27FC236}">
                    <a16:creationId xmlns:a16="http://schemas.microsoft.com/office/drawing/2014/main" id="{B2378A8C-2A9A-4E66-A11F-EE913822AAFF}"/>
                  </a:ext>
                </a:extLst>
              </p:cNvPr>
              <p:cNvSpPr/>
              <p:nvPr/>
            </p:nvSpPr>
            <p:spPr>
              <a:xfrm>
                <a:off x="780833" y="6188453"/>
                <a:ext cx="69609" cy="90703"/>
              </a:xfrm>
              <a:custGeom>
                <a:avLst/>
                <a:gdLst>
                  <a:gd name="connsiteX0" fmla="*/ 62728 w 69609"/>
                  <a:gd name="connsiteY0" fmla="*/ 87 h 90703"/>
                  <a:gd name="connsiteX1" fmla="*/ 69945 w 69609"/>
                  <a:gd name="connsiteY1" fmla="*/ 90628 h 90703"/>
                  <a:gd name="connsiteX2" fmla="*/ 87 w 69609"/>
                  <a:gd name="connsiteY2" fmla="*/ 90628 h 90703"/>
                  <a:gd name="connsiteX3" fmla="*/ 10241 w 69609"/>
                  <a:gd name="connsiteY3" fmla="*/ 87 h 90703"/>
                  <a:gd name="connsiteX4" fmla="*/ 62728 w 69609"/>
                  <a:gd name="connsiteY4" fmla="*/ 87 h 90703"/>
                  <a:gd name="connsiteX5" fmla="*/ 62728 w 69609"/>
                  <a:gd name="connsiteY5" fmla="*/ 87 h 90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609" h="90703">
                    <a:moveTo>
                      <a:pt x="62728" y="87"/>
                    </a:moveTo>
                    <a:lnTo>
                      <a:pt x="69945" y="90628"/>
                    </a:lnTo>
                    <a:lnTo>
                      <a:pt x="87" y="90628"/>
                    </a:lnTo>
                    <a:lnTo>
                      <a:pt x="10241" y="87"/>
                    </a:lnTo>
                    <a:lnTo>
                      <a:pt x="62728" y="87"/>
                    </a:lnTo>
                    <a:lnTo>
                      <a:pt x="62728" y="87"/>
                    </a:lnTo>
                    <a:close/>
                  </a:path>
                </a:pathLst>
              </a:custGeom>
              <a:solidFill>
                <a:schemeClr val="accent4"/>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21" name="Freeform: Shape 720">
                <a:extLst>
                  <a:ext uri="{FF2B5EF4-FFF2-40B4-BE49-F238E27FC236}">
                    <a16:creationId xmlns:a16="http://schemas.microsoft.com/office/drawing/2014/main" id="{8CB03E2A-FCCE-4ACA-AF68-669EA0EF1F72}"/>
                  </a:ext>
                </a:extLst>
              </p:cNvPr>
              <p:cNvSpPr/>
              <p:nvPr/>
            </p:nvSpPr>
            <p:spPr>
              <a:xfrm>
                <a:off x="793455" y="6181299"/>
                <a:ext cx="47461" cy="7383"/>
              </a:xfrm>
              <a:custGeom>
                <a:avLst/>
                <a:gdLst>
                  <a:gd name="connsiteX0" fmla="*/ 47699 w 47460"/>
                  <a:gd name="connsiteY0" fmla="*/ 791 h 7382"/>
                  <a:gd name="connsiteX1" fmla="*/ 791 w 47460"/>
                  <a:gd name="connsiteY1" fmla="*/ 791 h 7382"/>
                  <a:gd name="connsiteX2" fmla="*/ 791 w 47460"/>
                  <a:gd name="connsiteY2" fmla="*/ 7490 h 7382"/>
                  <a:gd name="connsiteX3" fmla="*/ 47699 w 47460"/>
                  <a:gd name="connsiteY3" fmla="*/ 7490 h 7382"/>
                  <a:gd name="connsiteX4" fmla="*/ 47699 w 47460"/>
                  <a:gd name="connsiteY4" fmla="*/ 791 h 7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60" h="7382">
                    <a:moveTo>
                      <a:pt x="47699" y="791"/>
                    </a:moveTo>
                    <a:lnTo>
                      <a:pt x="791" y="791"/>
                    </a:lnTo>
                    <a:lnTo>
                      <a:pt x="791" y="7490"/>
                    </a:lnTo>
                    <a:lnTo>
                      <a:pt x="47699" y="7490"/>
                    </a:lnTo>
                    <a:lnTo>
                      <a:pt x="47699" y="791"/>
                    </a:ln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22" name="Freeform: Shape 721">
                <a:extLst>
                  <a:ext uri="{FF2B5EF4-FFF2-40B4-BE49-F238E27FC236}">
                    <a16:creationId xmlns:a16="http://schemas.microsoft.com/office/drawing/2014/main" id="{D8749151-E2F8-494F-BC3B-639D215CFF73}"/>
                  </a:ext>
                </a:extLst>
              </p:cNvPr>
              <p:cNvSpPr/>
              <p:nvPr/>
            </p:nvSpPr>
            <p:spPr>
              <a:xfrm>
                <a:off x="833862" y="6193622"/>
                <a:ext cx="7383" cy="7383"/>
              </a:xfrm>
              <a:custGeom>
                <a:avLst/>
                <a:gdLst>
                  <a:gd name="connsiteX0" fmla="*/ 4088 w 7382"/>
                  <a:gd name="connsiteY0" fmla="*/ 791 h 7382"/>
                  <a:gd name="connsiteX1" fmla="*/ 7384 w 7382"/>
                  <a:gd name="connsiteY1" fmla="*/ 4089 h 7382"/>
                  <a:gd name="connsiteX2" fmla="*/ 4088 w 7382"/>
                  <a:gd name="connsiteY2" fmla="*/ 7384 h 7382"/>
                  <a:gd name="connsiteX3" fmla="*/ 791 w 7382"/>
                  <a:gd name="connsiteY3" fmla="*/ 4089 h 7382"/>
                  <a:gd name="connsiteX4" fmla="*/ 4088 w 7382"/>
                  <a:gd name="connsiteY4" fmla="*/ 791 h 7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2" h="7382">
                    <a:moveTo>
                      <a:pt x="4088" y="791"/>
                    </a:moveTo>
                    <a:cubicBezTo>
                      <a:pt x="5909" y="791"/>
                      <a:pt x="7384" y="2267"/>
                      <a:pt x="7384" y="4089"/>
                    </a:cubicBezTo>
                    <a:cubicBezTo>
                      <a:pt x="7384" y="5909"/>
                      <a:pt x="5909" y="7384"/>
                      <a:pt x="4088" y="7384"/>
                    </a:cubicBezTo>
                    <a:cubicBezTo>
                      <a:pt x="2268" y="7384"/>
                      <a:pt x="791" y="5909"/>
                      <a:pt x="791" y="4089"/>
                    </a:cubicBezTo>
                    <a:cubicBezTo>
                      <a:pt x="791" y="2267"/>
                      <a:pt x="2268" y="791"/>
                      <a:pt x="4088" y="791"/>
                    </a:cubicBez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23" name="Freeform: Shape 722">
                <a:extLst>
                  <a:ext uri="{FF2B5EF4-FFF2-40B4-BE49-F238E27FC236}">
                    <a16:creationId xmlns:a16="http://schemas.microsoft.com/office/drawing/2014/main" id="{044F8D33-6E1B-4055-92E3-1BC833ACA6C7}"/>
                  </a:ext>
                </a:extLst>
              </p:cNvPr>
              <p:cNvSpPr/>
              <p:nvPr/>
            </p:nvSpPr>
            <p:spPr>
              <a:xfrm>
                <a:off x="834652" y="6202087"/>
                <a:ext cx="7383" cy="7383"/>
              </a:xfrm>
              <a:custGeom>
                <a:avLst/>
                <a:gdLst>
                  <a:gd name="connsiteX0" fmla="*/ 4089 w 7382"/>
                  <a:gd name="connsiteY0" fmla="*/ 791 h 7382"/>
                  <a:gd name="connsiteX1" fmla="*/ 7385 w 7382"/>
                  <a:gd name="connsiteY1" fmla="*/ 4089 h 7382"/>
                  <a:gd name="connsiteX2" fmla="*/ 4089 w 7382"/>
                  <a:gd name="connsiteY2" fmla="*/ 7385 h 7382"/>
                  <a:gd name="connsiteX3" fmla="*/ 791 w 7382"/>
                  <a:gd name="connsiteY3" fmla="*/ 4089 h 7382"/>
                  <a:gd name="connsiteX4" fmla="*/ 4089 w 7382"/>
                  <a:gd name="connsiteY4" fmla="*/ 791 h 7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2" h="7382">
                    <a:moveTo>
                      <a:pt x="4089" y="791"/>
                    </a:moveTo>
                    <a:cubicBezTo>
                      <a:pt x="5909" y="791"/>
                      <a:pt x="7385" y="2270"/>
                      <a:pt x="7385" y="4089"/>
                    </a:cubicBezTo>
                    <a:cubicBezTo>
                      <a:pt x="7385" y="5910"/>
                      <a:pt x="5909" y="7385"/>
                      <a:pt x="4089" y="7385"/>
                    </a:cubicBezTo>
                    <a:cubicBezTo>
                      <a:pt x="2269" y="7385"/>
                      <a:pt x="791" y="5910"/>
                      <a:pt x="791" y="4089"/>
                    </a:cubicBezTo>
                    <a:cubicBezTo>
                      <a:pt x="790" y="2269"/>
                      <a:pt x="2269" y="791"/>
                      <a:pt x="4089" y="791"/>
                    </a:cubicBez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24" name="Freeform: Shape 723">
                <a:extLst>
                  <a:ext uri="{FF2B5EF4-FFF2-40B4-BE49-F238E27FC236}">
                    <a16:creationId xmlns:a16="http://schemas.microsoft.com/office/drawing/2014/main" id="{090DE999-92D3-4A77-A615-738CB2F7636B}"/>
                  </a:ext>
                </a:extLst>
              </p:cNvPr>
              <p:cNvSpPr/>
              <p:nvPr/>
            </p:nvSpPr>
            <p:spPr>
              <a:xfrm>
                <a:off x="791135" y="6057379"/>
                <a:ext cx="7383" cy="4219"/>
              </a:xfrm>
              <a:custGeom>
                <a:avLst/>
                <a:gdLst>
                  <a:gd name="connsiteX0" fmla="*/ 1863 w 7382"/>
                  <a:gd name="connsiteY0" fmla="*/ 4447 h 4218"/>
                  <a:gd name="connsiteX1" fmla="*/ 6868 w 7382"/>
                  <a:gd name="connsiteY1" fmla="*/ 3137 h 4218"/>
                  <a:gd name="connsiteX2" fmla="*/ 6039 w 7382"/>
                  <a:gd name="connsiteY2" fmla="*/ 791 h 4218"/>
                  <a:gd name="connsiteX3" fmla="*/ 918 w 7382"/>
                  <a:gd name="connsiteY3" fmla="*/ 1806 h 4218"/>
                  <a:gd name="connsiteX4" fmla="*/ 1863 w 7382"/>
                  <a:gd name="connsiteY4" fmla="*/ 4447 h 4218"/>
                  <a:gd name="connsiteX5" fmla="*/ 1863 w 7382"/>
                  <a:gd name="connsiteY5" fmla="*/ 4447 h 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82" h="4218">
                    <a:moveTo>
                      <a:pt x="1863" y="4447"/>
                    </a:moveTo>
                    <a:lnTo>
                      <a:pt x="6868" y="3137"/>
                    </a:lnTo>
                    <a:lnTo>
                      <a:pt x="6039" y="791"/>
                    </a:lnTo>
                    <a:lnTo>
                      <a:pt x="918" y="1806"/>
                    </a:lnTo>
                    <a:cubicBezTo>
                      <a:pt x="638" y="2347"/>
                      <a:pt x="765" y="3502"/>
                      <a:pt x="1863" y="4447"/>
                    </a:cubicBezTo>
                    <a:lnTo>
                      <a:pt x="1863" y="4447"/>
                    </a:ln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25" name="Freeform: Shape 724">
                <a:extLst>
                  <a:ext uri="{FF2B5EF4-FFF2-40B4-BE49-F238E27FC236}">
                    <a16:creationId xmlns:a16="http://schemas.microsoft.com/office/drawing/2014/main" id="{853B7809-35A4-4A08-B7C9-ED1C9BD245CD}"/>
                  </a:ext>
                </a:extLst>
              </p:cNvPr>
              <p:cNvSpPr/>
              <p:nvPr/>
            </p:nvSpPr>
            <p:spPr>
              <a:xfrm>
                <a:off x="785176" y="6073186"/>
                <a:ext cx="8438" cy="7383"/>
              </a:xfrm>
              <a:custGeom>
                <a:avLst/>
                <a:gdLst>
                  <a:gd name="connsiteX0" fmla="*/ 2200 w 8437"/>
                  <a:gd name="connsiteY0" fmla="*/ 7057 h 7382"/>
                  <a:gd name="connsiteX1" fmla="*/ 8577 w 8437"/>
                  <a:gd name="connsiteY1" fmla="*/ 4630 h 7382"/>
                  <a:gd name="connsiteX2" fmla="*/ 7223 w 8437"/>
                  <a:gd name="connsiteY2" fmla="*/ 791 h 7382"/>
                  <a:gd name="connsiteX3" fmla="*/ 923 w 8437"/>
                  <a:gd name="connsiteY3" fmla="*/ 2697 h 7382"/>
                  <a:gd name="connsiteX4" fmla="*/ 2200 w 8437"/>
                  <a:gd name="connsiteY4" fmla="*/ 7057 h 7382"/>
                  <a:gd name="connsiteX5" fmla="*/ 2200 w 8437"/>
                  <a:gd name="connsiteY5" fmla="*/ 7057 h 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37" h="7382">
                    <a:moveTo>
                      <a:pt x="2200" y="7057"/>
                    </a:moveTo>
                    <a:lnTo>
                      <a:pt x="8577" y="4630"/>
                    </a:lnTo>
                    <a:lnTo>
                      <a:pt x="7223" y="791"/>
                    </a:lnTo>
                    <a:lnTo>
                      <a:pt x="923" y="2697"/>
                    </a:lnTo>
                    <a:cubicBezTo>
                      <a:pt x="644" y="3713"/>
                      <a:pt x="696" y="5283"/>
                      <a:pt x="2200" y="7057"/>
                    </a:cubicBezTo>
                    <a:lnTo>
                      <a:pt x="2200" y="7057"/>
                    </a:ln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26" name="Freeform: Shape 725">
                <a:extLst>
                  <a:ext uri="{FF2B5EF4-FFF2-40B4-BE49-F238E27FC236}">
                    <a16:creationId xmlns:a16="http://schemas.microsoft.com/office/drawing/2014/main" id="{07CBD383-B6E3-4513-9004-A2121A8412E4}"/>
                  </a:ext>
                </a:extLst>
              </p:cNvPr>
              <p:cNvSpPr/>
              <p:nvPr/>
            </p:nvSpPr>
            <p:spPr>
              <a:xfrm>
                <a:off x="793900" y="6090212"/>
                <a:ext cx="7383" cy="7383"/>
              </a:xfrm>
              <a:custGeom>
                <a:avLst/>
                <a:gdLst>
                  <a:gd name="connsiteX0" fmla="*/ 2079 w 7382"/>
                  <a:gd name="connsiteY0" fmla="*/ 6730 h 7382"/>
                  <a:gd name="connsiteX1" fmla="*/ 7637 w 7382"/>
                  <a:gd name="connsiteY1" fmla="*/ 4874 h 7382"/>
                  <a:gd name="connsiteX2" fmla="*/ 6322 w 7382"/>
                  <a:gd name="connsiteY2" fmla="*/ 791 h 7382"/>
                  <a:gd name="connsiteX3" fmla="*/ 888 w 7382"/>
                  <a:gd name="connsiteY3" fmla="*/ 2036 h 7382"/>
                  <a:gd name="connsiteX4" fmla="*/ 2079 w 7382"/>
                  <a:gd name="connsiteY4" fmla="*/ 6730 h 7382"/>
                  <a:gd name="connsiteX5" fmla="*/ 2079 w 7382"/>
                  <a:gd name="connsiteY5" fmla="*/ 6730 h 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82" h="7382">
                    <a:moveTo>
                      <a:pt x="2079" y="6730"/>
                    </a:moveTo>
                    <a:lnTo>
                      <a:pt x="7637" y="4874"/>
                    </a:lnTo>
                    <a:lnTo>
                      <a:pt x="6322" y="791"/>
                    </a:lnTo>
                    <a:lnTo>
                      <a:pt x="888" y="2036"/>
                    </a:lnTo>
                    <a:cubicBezTo>
                      <a:pt x="666" y="3032"/>
                      <a:pt x="735" y="4770"/>
                      <a:pt x="2079" y="6730"/>
                    </a:cubicBezTo>
                    <a:lnTo>
                      <a:pt x="2079" y="6730"/>
                    </a:ln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27" name="Freeform: Shape 726">
                <a:extLst>
                  <a:ext uri="{FF2B5EF4-FFF2-40B4-BE49-F238E27FC236}">
                    <a16:creationId xmlns:a16="http://schemas.microsoft.com/office/drawing/2014/main" id="{1920236E-C1AD-44ED-9FD9-C47CA3E0CFCD}"/>
                  </a:ext>
                </a:extLst>
              </p:cNvPr>
              <p:cNvSpPr/>
              <p:nvPr/>
            </p:nvSpPr>
            <p:spPr>
              <a:xfrm>
                <a:off x="797753" y="6109022"/>
                <a:ext cx="7383" cy="7383"/>
              </a:xfrm>
              <a:custGeom>
                <a:avLst/>
                <a:gdLst>
                  <a:gd name="connsiteX0" fmla="*/ 1737 w 7382"/>
                  <a:gd name="connsiteY0" fmla="*/ 1909 h 7382"/>
                  <a:gd name="connsiteX1" fmla="*/ 5732 w 7382"/>
                  <a:gd name="connsiteY1" fmla="*/ 791 h 7382"/>
                  <a:gd name="connsiteX2" fmla="*/ 7021 w 7382"/>
                  <a:gd name="connsiteY2" fmla="*/ 5730 h 7382"/>
                  <a:gd name="connsiteX3" fmla="*/ 2273 w 7382"/>
                  <a:gd name="connsiteY3" fmla="*/ 6870 h 7382"/>
                  <a:gd name="connsiteX4" fmla="*/ 1737 w 7382"/>
                  <a:gd name="connsiteY4" fmla="*/ 1909 h 7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2" h="7382">
                    <a:moveTo>
                      <a:pt x="1737" y="1909"/>
                    </a:moveTo>
                    <a:lnTo>
                      <a:pt x="5732" y="791"/>
                    </a:lnTo>
                    <a:lnTo>
                      <a:pt x="7021" y="5730"/>
                    </a:lnTo>
                    <a:lnTo>
                      <a:pt x="2273" y="6870"/>
                    </a:lnTo>
                    <a:cubicBezTo>
                      <a:pt x="2275" y="6871"/>
                      <a:pt x="-669" y="3628"/>
                      <a:pt x="1737" y="1909"/>
                    </a:cubicBez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28" name="Freeform: Shape 727">
                <a:extLst>
                  <a:ext uri="{FF2B5EF4-FFF2-40B4-BE49-F238E27FC236}">
                    <a16:creationId xmlns:a16="http://schemas.microsoft.com/office/drawing/2014/main" id="{BD1359BD-4A4E-4811-A4A7-FF7011416366}"/>
                  </a:ext>
                </a:extLst>
              </p:cNvPr>
              <p:cNvSpPr/>
              <p:nvPr/>
            </p:nvSpPr>
            <p:spPr>
              <a:xfrm>
                <a:off x="608729" y="5950260"/>
                <a:ext cx="130781" cy="64336"/>
              </a:xfrm>
              <a:custGeom>
                <a:avLst/>
                <a:gdLst>
                  <a:gd name="connsiteX0" fmla="*/ 30163 w 130781"/>
                  <a:gd name="connsiteY0" fmla="*/ 57842 h 64335"/>
                  <a:gd name="connsiteX1" fmla="*/ 659 w 130781"/>
                  <a:gd name="connsiteY1" fmla="*/ 57715 h 64335"/>
                  <a:gd name="connsiteX2" fmla="*/ 87 w 130781"/>
                  <a:gd name="connsiteY2" fmla="*/ 14754 h 64335"/>
                  <a:gd name="connsiteX3" fmla="*/ 28721 w 130781"/>
                  <a:gd name="connsiteY3" fmla="*/ 16205 h 64335"/>
                  <a:gd name="connsiteX4" fmla="*/ 46922 w 130781"/>
                  <a:gd name="connsiteY4" fmla="*/ 2170 h 64335"/>
                  <a:gd name="connsiteX5" fmla="*/ 64748 w 130781"/>
                  <a:gd name="connsiteY5" fmla="*/ 87 h 64335"/>
                  <a:gd name="connsiteX6" fmla="*/ 64748 w 130781"/>
                  <a:gd name="connsiteY6" fmla="*/ 9146 h 64335"/>
                  <a:gd name="connsiteX7" fmla="*/ 94572 w 130781"/>
                  <a:gd name="connsiteY7" fmla="*/ 7596 h 64335"/>
                  <a:gd name="connsiteX8" fmla="*/ 124964 w 130781"/>
                  <a:gd name="connsiteY8" fmla="*/ 12936 h 64335"/>
                  <a:gd name="connsiteX9" fmla="*/ 118866 w 130781"/>
                  <a:gd name="connsiteY9" fmla="*/ 20480 h 64335"/>
                  <a:gd name="connsiteX10" fmla="*/ 94681 w 130781"/>
                  <a:gd name="connsiteY10" fmla="*/ 19276 h 64335"/>
                  <a:gd name="connsiteX11" fmla="*/ 79809 w 130781"/>
                  <a:gd name="connsiteY11" fmla="*/ 22079 h 64335"/>
                  <a:gd name="connsiteX12" fmla="*/ 100929 w 130781"/>
                  <a:gd name="connsiteY12" fmla="*/ 22170 h 64335"/>
                  <a:gd name="connsiteX13" fmla="*/ 129640 w 130781"/>
                  <a:gd name="connsiteY13" fmla="*/ 26558 h 64335"/>
                  <a:gd name="connsiteX14" fmla="*/ 122768 w 130781"/>
                  <a:gd name="connsiteY14" fmla="*/ 35461 h 64335"/>
                  <a:gd name="connsiteX15" fmla="*/ 101513 w 130781"/>
                  <a:gd name="connsiteY15" fmla="*/ 33283 h 64335"/>
                  <a:gd name="connsiteX16" fmla="*/ 80029 w 130781"/>
                  <a:gd name="connsiteY16" fmla="*/ 35515 h 64335"/>
                  <a:gd name="connsiteX17" fmla="*/ 102170 w 130781"/>
                  <a:gd name="connsiteY17" fmla="*/ 36753 h 64335"/>
                  <a:gd name="connsiteX18" fmla="*/ 125129 w 130781"/>
                  <a:gd name="connsiteY18" fmla="*/ 40311 h 64335"/>
                  <a:gd name="connsiteX19" fmla="*/ 120484 w 130781"/>
                  <a:gd name="connsiteY19" fmla="*/ 48409 h 64335"/>
                  <a:gd name="connsiteX20" fmla="*/ 101687 w 130781"/>
                  <a:gd name="connsiteY20" fmla="*/ 46865 h 64335"/>
                  <a:gd name="connsiteX21" fmla="*/ 80015 w 130781"/>
                  <a:gd name="connsiteY21" fmla="*/ 49793 h 64335"/>
                  <a:gd name="connsiteX22" fmla="*/ 99001 w 130781"/>
                  <a:gd name="connsiteY22" fmla="*/ 51387 h 64335"/>
                  <a:gd name="connsiteX23" fmla="*/ 118671 w 130781"/>
                  <a:gd name="connsiteY23" fmla="*/ 56761 h 64335"/>
                  <a:gd name="connsiteX24" fmla="*/ 109920 w 130781"/>
                  <a:gd name="connsiteY24" fmla="*/ 62762 h 64335"/>
                  <a:gd name="connsiteX25" fmla="*/ 97319 w 130781"/>
                  <a:gd name="connsiteY25" fmla="*/ 61331 h 64335"/>
                  <a:gd name="connsiteX26" fmla="*/ 30163 w 130781"/>
                  <a:gd name="connsiteY26" fmla="*/ 57842 h 6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0781" h="64335">
                    <a:moveTo>
                      <a:pt x="30163" y="57842"/>
                    </a:moveTo>
                    <a:lnTo>
                      <a:pt x="659" y="57715"/>
                    </a:lnTo>
                    <a:lnTo>
                      <a:pt x="87" y="14754"/>
                    </a:lnTo>
                    <a:lnTo>
                      <a:pt x="28721" y="16205"/>
                    </a:lnTo>
                    <a:cubicBezTo>
                      <a:pt x="30637" y="12123"/>
                      <a:pt x="43523" y="3379"/>
                      <a:pt x="46922" y="2170"/>
                    </a:cubicBezTo>
                    <a:lnTo>
                      <a:pt x="64748" y="87"/>
                    </a:lnTo>
                    <a:lnTo>
                      <a:pt x="64748" y="9146"/>
                    </a:lnTo>
                    <a:lnTo>
                      <a:pt x="94572" y="7596"/>
                    </a:lnTo>
                    <a:lnTo>
                      <a:pt x="124964" y="12936"/>
                    </a:lnTo>
                    <a:cubicBezTo>
                      <a:pt x="126745" y="12889"/>
                      <a:pt x="128127" y="20942"/>
                      <a:pt x="118866" y="20480"/>
                    </a:cubicBezTo>
                    <a:lnTo>
                      <a:pt x="94681" y="19276"/>
                    </a:lnTo>
                    <a:lnTo>
                      <a:pt x="79809" y="22079"/>
                    </a:lnTo>
                    <a:lnTo>
                      <a:pt x="100929" y="22170"/>
                    </a:lnTo>
                    <a:lnTo>
                      <a:pt x="129640" y="26558"/>
                    </a:lnTo>
                    <a:cubicBezTo>
                      <a:pt x="132866" y="27047"/>
                      <a:pt x="130967" y="35251"/>
                      <a:pt x="122768" y="35461"/>
                    </a:cubicBezTo>
                    <a:lnTo>
                      <a:pt x="101513" y="33283"/>
                    </a:lnTo>
                    <a:lnTo>
                      <a:pt x="80029" y="35515"/>
                    </a:lnTo>
                    <a:lnTo>
                      <a:pt x="102170" y="36753"/>
                    </a:lnTo>
                    <a:lnTo>
                      <a:pt x="125129" y="40311"/>
                    </a:lnTo>
                    <a:cubicBezTo>
                      <a:pt x="129196" y="40942"/>
                      <a:pt x="128596" y="49076"/>
                      <a:pt x="120484" y="48409"/>
                    </a:cubicBezTo>
                    <a:lnTo>
                      <a:pt x="101687" y="46865"/>
                    </a:lnTo>
                    <a:lnTo>
                      <a:pt x="80015" y="49793"/>
                    </a:lnTo>
                    <a:lnTo>
                      <a:pt x="99001" y="51387"/>
                    </a:lnTo>
                    <a:lnTo>
                      <a:pt x="118671" y="56761"/>
                    </a:lnTo>
                    <a:cubicBezTo>
                      <a:pt x="120211" y="57181"/>
                      <a:pt x="120774" y="63996"/>
                      <a:pt x="109920" y="62762"/>
                    </a:cubicBezTo>
                    <a:lnTo>
                      <a:pt x="97319" y="61331"/>
                    </a:lnTo>
                    <a:cubicBezTo>
                      <a:pt x="81219" y="62732"/>
                      <a:pt x="42346" y="69775"/>
                      <a:pt x="30163" y="57842"/>
                    </a:cubicBezTo>
                    <a:close/>
                  </a:path>
                </a:pathLst>
              </a:custGeom>
              <a:solidFill>
                <a:srgbClr val="FEE0B8"/>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29" name="Freeform: Shape 728">
                <a:extLst>
                  <a:ext uri="{FF2B5EF4-FFF2-40B4-BE49-F238E27FC236}">
                    <a16:creationId xmlns:a16="http://schemas.microsoft.com/office/drawing/2014/main" id="{1FBEA125-96C4-4A93-90F0-60BBFA42ED25}"/>
                  </a:ext>
                </a:extLst>
              </p:cNvPr>
              <p:cNvSpPr/>
              <p:nvPr/>
            </p:nvSpPr>
            <p:spPr>
              <a:xfrm>
                <a:off x="609280" y="6006307"/>
                <a:ext cx="118125" cy="8438"/>
              </a:xfrm>
              <a:custGeom>
                <a:avLst/>
                <a:gdLst>
                  <a:gd name="connsiteX0" fmla="*/ 29611 w 118125"/>
                  <a:gd name="connsiteY0" fmla="*/ 1795 h 8437"/>
                  <a:gd name="connsiteX1" fmla="*/ 108 w 118125"/>
                  <a:gd name="connsiteY1" fmla="*/ 1667 h 8437"/>
                  <a:gd name="connsiteX2" fmla="*/ 87 w 118125"/>
                  <a:gd name="connsiteY2" fmla="*/ 87 h 8437"/>
                  <a:gd name="connsiteX3" fmla="*/ 29838 w 118125"/>
                  <a:gd name="connsiteY3" fmla="*/ 419 h 8437"/>
                  <a:gd name="connsiteX4" fmla="*/ 96925 w 118125"/>
                  <a:gd name="connsiteY4" fmla="*/ 4690 h 8437"/>
                  <a:gd name="connsiteX5" fmla="*/ 113924 w 118125"/>
                  <a:gd name="connsiteY5" fmla="*/ 6240 h 8437"/>
                  <a:gd name="connsiteX6" fmla="*/ 118119 w 118125"/>
                  <a:gd name="connsiteY6" fmla="*/ 713 h 8437"/>
                  <a:gd name="connsiteX7" fmla="*/ 109367 w 118125"/>
                  <a:gd name="connsiteY7" fmla="*/ 6714 h 8437"/>
                  <a:gd name="connsiteX8" fmla="*/ 96767 w 118125"/>
                  <a:gd name="connsiteY8" fmla="*/ 5283 h 8437"/>
                  <a:gd name="connsiteX9" fmla="*/ 29611 w 118125"/>
                  <a:gd name="connsiteY9" fmla="*/ 1795 h 8437"/>
                  <a:gd name="connsiteX10" fmla="*/ 29611 w 118125"/>
                  <a:gd name="connsiteY10" fmla="*/ 1795 h 8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125" h="8437">
                    <a:moveTo>
                      <a:pt x="29611" y="1795"/>
                    </a:moveTo>
                    <a:lnTo>
                      <a:pt x="108" y="1667"/>
                    </a:lnTo>
                    <a:lnTo>
                      <a:pt x="87" y="87"/>
                    </a:lnTo>
                    <a:lnTo>
                      <a:pt x="29838" y="419"/>
                    </a:lnTo>
                    <a:cubicBezTo>
                      <a:pt x="42896" y="12831"/>
                      <a:pt x="80038" y="6145"/>
                      <a:pt x="96925" y="4690"/>
                    </a:cubicBezTo>
                    <a:cubicBezTo>
                      <a:pt x="96925" y="4690"/>
                      <a:pt x="108631" y="6677"/>
                      <a:pt x="113924" y="6240"/>
                    </a:cubicBezTo>
                    <a:cubicBezTo>
                      <a:pt x="119969" y="5377"/>
                      <a:pt x="118716" y="1022"/>
                      <a:pt x="118119" y="713"/>
                    </a:cubicBezTo>
                    <a:cubicBezTo>
                      <a:pt x="119659" y="1133"/>
                      <a:pt x="120222" y="7948"/>
                      <a:pt x="109367" y="6714"/>
                    </a:cubicBezTo>
                    <a:lnTo>
                      <a:pt x="96767" y="5283"/>
                    </a:lnTo>
                    <a:cubicBezTo>
                      <a:pt x="80668" y="6685"/>
                      <a:pt x="41794" y="13728"/>
                      <a:pt x="29611" y="1795"/>
                    </a:cubicBezTo>
                    <a:lnTo>
                      <a:pt x="29611" y="1795"/>
                    </a:lnTo>
                    <a:close/>
                  </a:path>
                </a:pathLst>
              </a:custGeom>
              <a:solidFill>
                <a:srgbClr val="E5A575"/>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30" name="Freeform: Shape 729">
                <a:extLst>
                  <a:ext uri="{FF2B5EF4-FFF2-40B4-BE49-F238E27FC236}">
                    <a16:creationId xmlns:a16="http://schemas.microsoft.com/office/drawing/2014/main" id="{7CDB4913-411B-40B0-81F0-13332B05F686}"/>
                  </a:ext>
                </a:extLst>
              </p:cNvPr>
              <p:cNvSpPr/>
              <p:nvPr/>
            </p:nvSpPr>
            <p:spPr>
              <a:xfrm>
                <a:off x="419068" y="5953104"/>
                <a:ext cx="189844" cy="59063"/>
              </a:xfrm>
              <a:custGeom>
                <a:avLst/>
                <a:gdLst>
                  <a:gd name="connsiteX0" fmla="*/ 189709 w 189843"/>
                  <a:gd name="connsiteY0" fmla="*/ 8625 h 59062"/>
                  <a:gd name="connsiteX1" fmla="*/ 190289 w 189843"/>
                  <a:gd name="connsiteY1" fmla="*/ 58961 h 59062"/>
                  <a:gd name="connsiteX2" fmla="*/ 87 w 189843"/>
                  <a:gd name="connsiteY2" fmla="*/ 59219 h 59062"/>
                  <a:gd name="connsiteX3" fmla="*/ 34925 w 189843"/>
                  <a:gd name="connsiteY3" fmla="*/ 87 h 59062"/>
                  <a:gd name="connsiteX4" fmla="*/ 189709 w 189843"/>
                  <a:gd name="connsiteY4" fmla="*/ 8625 h 59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843" h="59062">
                    <a:moveTo>
                      <a:pt x="189709" y="8625"/>
                    </a:moveTo>
                    <a:lnTo>
                      <a:pt x="190289" y="58961"/>
                    </a:lnTo>
                    <a:lnTo>
                      <a:pt x="87" y="59219"/>
                    </a:lnTo>
                    <a:cubicBezTo>
                      <a:pt x="9190" y="37964"/>
                      <a:pt x="20942" y="18119"/>
                      <a:pt x="34925" y="87"/>
                    </a:cubicBezTo>
                    <a:lnTo>
                      <a:pt x="189709" y="8625"/>
                    </a:lnTo>
                    <a:close/>
                  </a:path>
                </a:pathLst>
              </a:custGeom>
              <a:solidFill>
                <a:schemeClr val="accent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31" name="Freeform: Shape 730">
                <a:extLst>
                  <a:ext uri="{FF2B5EF4-FFF2-40B4-BE49-F238E27FC236}">
                    <a16:creationId xmlns:a16="http://schemas.microsoft.com/office/drawing/2014/main" id="{3A4B6A84-F9B4-41E2-A802-E297161DC5A6}"/>
                  </a:ext>
                </a:extLst>
              </p:cNvPr>
              <p:cNvSpPr/>
              <p:nvPr/>
            </p:nvSpPr>
            <p:spPr>
              <a:xfrm>
                <a:off x="608520" y="5963093"/>
                <a:ext cx="9492" cy="47461"/>
              </a:xfrm>
              <a:custGeom>
                <a:avLst/>
                <a:gdLst>
                  <a:gd name="connsiteX0" fmla="*/ 9233 w 9492"/>
                  <a:gd name="connsiteY0" fmla="*/ 87 h 47460"/>
                  <a:gd name="connsiteX1" fmla="*/ 10013 w 9492"/>
                  <a:gd name="connsiteY1" fmla="*/ 47347 h 47460"/>
                  <a:gd name="connsiteX2" fmla="*/ 868 w 9492"/>
                  <a:gd name="connsiteY2" fmla="*/ 47395 h 47460"/>
                  <a:gd name="connsiteX3" fmla="*/ 87 w 9492"/>
                  <a:gd name="connsiteY3" fmla="*/ 131 h 47460"/>
                  <a:gd name="connsiteX4" fmla="*/ 9233 w 9492"/>
                  <a:gd name="connsiteY4" fmla="*/ 87 h 47460"/>
                  <a:gd name="connsiteX5" fmla="*/ 9233 w 9492"/>
                  <a:gd name="connsiteY5" fmla="*/ 87 h 4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92" h="47460">
                    <a:moveTo>
                      <a:pt x="9233" y="87"/>
                    </a:moveTo>
                    <a:lnTo>
                      <a:pt x="10013" y="47347"/>
                    </a:lnTo>
                    <a:lnTo>
                      <a:pt x="868" y="47395"/>
                    </a:lnTo>
                    <a:lnTo>
                      <a:pt x="87" y="131"/>
                    </a:lnTo>
                    <a:lnTo>
                      <a:pt x="9233" y="87"/>
                    </a:lnTo>
                    <a:lnTo>
                      <a:pt x="9233" y="87"/>
                    </a:lnTo>
                    <a:close/>
                  </a:path>
                </a:pathLst>
              </a:custGeom>
              <a:solidFill>
                <a:schemeClr val="bg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32" name="Freeform: Shape 731">
                <a:extLst>
                  <a:ext uri="{FF2B5EF4-FFF2-40B4-BE49-F238E27FC236}">
                    <a16:creationId xmlns:a16="http://schemas.microsoft.com/office/drawing/2014/main" id="{2A422047-A377-40FA-8A55-1872F9711697}"/>
                  </a:ext>
                </a:extLst>
              </p:cNvPr>
              <p:cNvSpPr/>
              <p:nvPr/>
            </p:nvSpPr>
            <p:spPr>
              <a:xfrm>
                <a:off x="589912" y="5996467"/>
                <a:ext cx="8438" cy="9492"/>
              </a:xfrm>
              <a:custGeom>
                <a:avLst/>
                <a:gdLst>
                  <a:gd name="connsiteX0" fmla="*/ 9253 w 8437"/>
                  <a:gd name="connsiteY0" fmla="*/ 4742 h 9492"/>
                  <a:gd name="connsiteX1" fmla="*/ 4715 w 8437"/>
                  <a:gd name="connsiteY1" fmla="*/ 9494 h 9492"/>
                  <a:gd name="connsiteX2" fmla="*/ 87 w 8437"/>
                  <a:gd name="connsiteY2" fmla="*/ 4838 h 9492"/>
                  <a:gd name="connsiteX3" fmla="*/ 4626 w 8437"/>
                  <a:gd name="connsiteY3" fmla="*/ 87 h 9492"/>
                  <a:gd name="connsiteX4" fmla="*/ 9253 w 8437"/>
                  <a:gd name="connsiteY4" fmla="*/ 4742 h 94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37" h="9492">
                    <a:moveTo>
                      <a:pt x="9253" y="4742"/>
                    </a:moveTo>
                    <a:cubicBezTo>
                      <a:pt x="9279" y="7342"/>
                      <a:pt x="7245" y="9466"/>
                      <a:pt x="4715" y="9494"/>
                    </a:cubicBezTo>
                    <a:cubicBezTo>
                      <a:pt x="2183" y="9521"/>
                      <a:pt x="110" y="7435"/>
                      <a:pt x="87" y="4838"/>
                    </a:cubicBezTo>
                    <a:cubicBezTo>
                      <a:pt x="61" y="2238"/>
                      <a:pt x="2095" y="111"/>
                      <a:pt x="4626" y="87"/>
                    </a:cubicBezTo>
                    <a:cubicBezTo>
                      <a:pt x="7156" y="60"/>
                      <a:pt x="9230" y="2144"/>
                      <a:pt x="9253" y="4742"/>
                    </a:cubicBezTo>
                    <a:close/>
                  </a:path>
                </a:pathLst>
              </a:custGeom>
              <a:solidFill>
                <a:schemeClr val="bg1"/>
              </a:solidFill>
              <a:ln w="1042"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33" name="Freeform: Shape 732">
                <a:extLst>
                  <a:ext uri="{FF2B5EF4-FFF2-40B4-BE49-F238E27FC236}">
                    <a16:creationId xmlns:a16="http://schemas.microsoft.com/office/drawing/2014/main" id="{6B528668-842A-49DD-B283-C8174FF50722}"/>
                  </a:ext>
                </a:extLst>
              </p:cNvPr>
              <p:cNvSpPr/>
              <p:nvPr/>
            </p:nvSpPr>
            <p:spPr>
              <a:xfrm>
                <a:off x="726529" y="5962167"/>
                <a:ext cx="7383" cy="4219"/>
              </a:xfrm>
              <a:custGeom>
                <a:avLst/>
                <a:gdLst>
                  <a:gd name="connsiteX0" fmla="*/ 1407 w 7382"/>
                  <a:gd name="connsiteY0" fmla="*/ 791 h 4218"/>
                  <a:gd name="connsiteX1" fmla="*/ 7041 w 7382"/>
                  <a:gd name="connsiteY1" fmla="*/ 1408 h 4218"/>
                  <a:gd name="connsiteX2" fmla="*/ 7205 w 7382"/>
                  <a:gd name="connsiteY2" fmla="*/ 4163 h 4218"/>
                  <a:gd name="connsiteX3" fmla="*/ 791 w 7382"/>
                  <a:gd name="connsiteY3" fmla="*/ 3794 h 4218"/>
                  <a:gd name="connsiteX4" fmla="*/ 1407 w 7382"/>
                  <a:gd name="connsiteY4" fmla="*/ 791 h 4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2" h="4218">
                    <a:moveTo>
                      <a:pt x="1407" y="791"/>
                    </a:moveTo>
                    <a:lnTo>
                      <a:pt x="7041" y="1408"/>
                    </a:lnTo>
                    <a:cubicBezTo>
                      <a:pt x="7568" y="2620"/>
                      <a:pt x="7556" y="3494"/>
                      <a:pt x="7205" y="4163"/>
                    </a:cubicBezTo>
                    <a:lnTo>
                      <a:pt x="791" y="3794"/>
                    </a:lnTo>
                    <a:lnTo>
                      <a:pt x="1407" y="791"/>
                    </a:ln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34" name="Freeform: Shape 733">
                <a:extLst>
                  <a:ext uri="{FF2B5EF4-FFF2-40B4-BE49-F238E27FC236}">
                    <a16:creationId xmlns:a16="http://schemas.microsoft.com/office/drawing/2014/main" id="{BE0F547B-AAC3-41E7-9F09-92E9F10439AC}"/>
                  </a:ext>
                </a:extLst>
              </p:cNvPr>
              <p:cNvSpPr/>
              <p:nvPr/>
            </p:nvSpPr>
            <p:spPr>
              <a:xfrm>
                <a:off x="731381" y="5975879"/>
                <a:ext cx="7383" cy="4219"/>
              </a:xfrm>
              <a:custGeom>
                <a:avLst/>
                <a:gdLst>
                  <a:gd name="connsiteX0" fmla="*/ 1407 w 7382"/>
                  <a:gd name="connsiteY0" fmla="*/ 791 h 4218"/>
                  <a:gd name="connsiteX1" fmla="*/ 7040 w 7382"/>
                  <a:gd name="connsiteY1" fmla="*/ 1408 h 4218"/>
                  <a:gd name="connsiteX2" fmla="*/ 7205 w 7382"/>
                  <a:gd name="connsiteY2" fmla="*/ 4164 h 4218"/>
                  <a:gd name="connsiteX3" fmla="*/ 791 w 7382"/>
                  <a:gd name="connsiteY3" fmla="*/ 3795 h 4218"/>
                  <a:gd name="connsiteX4" fmla="*/ 1407 w 7382"/>
                  <a:gd name="connsiteY4" fmla="*/ 791 h 42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2" h="4218">
                    <a:moveTo>
                      <a:pt x="1407" y="791"/>
                    </a:moveTo>
                    <a:lnTo>
                      <a:pt x="7040" y="1408"/>
                    </a:lnTo>
                    <a:cubicBezTo>
                      <a:pt x="7567" y="2622"/>
                      <a:pt x="7554" y="3495"/>
                      <a:pt x="7205" y="4164"/>
                    </a:cubicBezTo>
                    <a:lnTo>
                      <a:pt x="791" y="3795"/>
                    </a:lnTo>
                    <a:lnTo>
                      <a:pt x="1407" y="791"/>
                    </a:ln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35" name="Freeform: Shape 734">
                <a:extLst>
                  <a:ext uri="{FF2B5EF4-FFF2-40B4-BE49-F238E27FC236}">
                    <a16:creationId xmlns:a16="http://schemas.microsoft.com/office/drawing/2014/main" id="{D6BBAD13-283B-45A0-9180-E163596DC442}"/>
                  </a:ext>
                </a:extLst>
              </p:cNvPr>
              <p:cNvSpPr/>
              <p:nvPr/>
            </p:nvSpPr>
            <p:spPr>
              <a:xfrm>
                <a:off x="727145" y="5989827"/>
                <a:ext cx="7383" cy="4219"/>
              </a:xfrm>
              <a:custGeom>
                <a:avLst/>
                <a:gdLst>
                  <a:gd name="connsiteX0" fmla="*/ 1407 w 7382"/>
                  <a:gd name="connsiteY0" fmla="*/ 791 h 4218"/>
                  <a:gd name="connsiteX1" fmla="*/ 7041 w 7382"/>
                  <a:gd name="connsiteY1" fmla="*/ 1409 h 4218"/>
                  <a:gd name="connsiteX2" fmla="*/ 7205 w 7382"/>
                  <a:gd name="connsiteY2" fmla="*/ 4164 h 4218"/>
                  <a:gd name="connsiteX3" fmla="*/ 791 w 7382"/>
                  <a:gd name="connsiteY3" fmla="*/ 3795 h 4218"/>
                  <a:gd name="connsiteX4" fmla="*/ 1407 w 7382"/>
                  <a:gd name="connsiteY4" fmla="*/ 791 h 4218"/>
                  <a:gd name="connsiteX5" fmla="*/ 1407 w 7382"/>
                  <a:gd name="connsiteY5" fmla="*/ 791 h 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82" h="4218">
                    <a:moveTo>
                      <a:pt x="1407" y="791"/>
                    </a:moveTo>
                    <a:lnTo>
                      <a:pt x="7041" y="1409"/>
                    </a:lnTo>
                    <a:cubicBezTo>
                      <a:pt x="7568" y="2621"/>
                      <a:pt x="7556" y="3495"/>
                      <a:pt x="7205" y="4164"/>
                    </a:cubicBezTo>
                    <a:lnTo>
                      <a:pt x="791" y="3795"/>
                    </a:lnTo>
                    <a:lnTo>
                      <a:pt x="1407" y="791"/>
                    </a:lnTo>
                    <a:lnTo>
                      <a:pt x="1407" y="791"/>
                    </a:ln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736" name="Freeform: Shape 735">
                <a:extLst>
                  <a:ext uri="{FF2B5EF4-FFF2-40B4-BE49-F238E27FC236}">
                    <a16:creationId xmlns:a16="http://schemas.microsoft.com/office/drawing/2014/main" id="{582FC805-F2BA-4839-AE09-8D2615C598DE}"/>
                  </a:ext>
                </a:extLst>
              </p:cNvPr>
              <p:cNvSpPr/>
              <p:nvPr/>
            </p:nvSpPr>
            <p:spPr>
              <a:xfrm>
                <a:off x="720032" y="6005272"/>
                <a:ext cx="7383" cy="5273"/>
              </a:xfrm>
              <a:custGeom>
                <a:avLst/>
                <a:gdLst>
                  <a:gd name="connsiteX0" fmla="*/ 1407 w 7382"/>
                  <a:gd name="connsiteY0" fmla="*/ 791 h 5273"/>
                  <a:gd name="connsiteX1" fmla="*/ 7041 w 7382"/>
                  <a:gd name="connsiteY1" fmla="*/ 2008 h 5273"/>
                  <a:gd name="connsiteX2" fmla="*/ 7205 w 7382"/>
                  <a:gd name="connsiteY2" fmla="*/ 4779 h 5273"/>
                  <a:gd name="connsiteX3" fmla="*/ 791 w 7382"/>
                  <a:gd name="connsiteY3" fmla="*/ 3726 h 5273"/>
                  <a:gd name="connsiteX4" fmla="*/ 1407 w 7382"/>
                  <a:gd name="connsiteY4" fmla="*/ 791 h 5273"/>
                  <a:gd name="connsiteX5" fmla="*/ 1407 w 7382"/>
                  <a:gd name="connsiteY5" fmla="*/ 791 h 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82" h="5273">
                    <a:moveTo>
                      <a:pt x="1407" y="791"/>
                    </a:moveTo>
                    <a:lnTo>
                      <a:pt x="7041" y="2008"/>
                    </a:lnTo>
                    <a:cubicBezTo>
                      <a:pt x="7568" y="3275"/>
                      <a:pt x="7556" y="4149"/>
                      <a:pt x="7205" y="4779"/>
                    </a:cubicBezTo>
                    <a:lnTo>
                      <a:pt x="791" y="3726"/>
                    </a:lnTo>
                    <a:lnTo>
                      <a:pt x="1407" y="791"/>
                    </a:lnTo>
                    <a:lnTo>
                      <a:pt x="1407" y="791"/>
                    </a:lnTo>
                    <a:close/>
                  </a:path>
                </a:pathLst>
              </a:custGeom>
              <a:solidFill>
                <a:schemeClr val="bg1"/>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grpSp>
      </p:grpSp>
      <p:grpSp>
        <p:nvGrpSpPr>
          <p:cNvPr id="26" name="Group 25">
            <a:extLst>
              <a:ext uri="{FF2B5EF4-FFF2-40B4-BE49-F238E27FC236}">
                <a16:creationId xmlns:a16="http://schemas.microsoft.com/office/drawing/2014/main" id="{69E16D17-19FF-4BEA-AF51-CC4C9AE34D45}"/>
              </a:ext>
            </a:extLst>
          </p:cNvPr>
          <p:cNvGrpSpPr/>
          <p:nvPr/>
        </p:nvGrpSpPr>
        <p:grpSpPr>
          <a:xfrm>
            <a:off x="3883473" y="2326177"/>
            <a:ext cx="420847" cy="138801"/>
            <a:chOff x="165794" y="2253005"/>
            <a:chExt cx="594745" cy="196156"/>
          </a:xfrm>
        </p:grpSpPr>
        <p:pic>
          <p:nvPicPr>
            <p:cNvPr id="677" name="Graphic 676" descr="Woman">
              <a:extLst>
                <a:ext uri="{FF2B5EF4-FFF2-40B4-BE49-F238E27FC236}">
                  <a16:creationId xmlns:a16="http://schemas.microsoft.com/office/drawing/2014/main" id="{1D795F82-1537-4F0C-989D-C96C17EEBD95}"/>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1520" y="2253005"/>
              <a:ext cx="196156" cy="196156"/>
            </a:xfrm>
            <a:prstGeom prst="rect">
              <a:avLst/>
            </a:prstGeom>
          </p:spPr>
        </p:pic>
        <p:pic>
          <p:nvPicPr>
            <p:cNvPr id="678" name="Graphic 677" descr="Woman">
              <a:extLst>
                <a:ext uri="{FF2B5EF4-FFF2-40B4-BE49-F238E27FC236}">
                  <a16:creationId xmlns:a16="http://schemas.microsoft.com/office/drawing/2014/main" id="{679C295A-7E8D-4B6C-89F1-D13C9D37DC28}"/>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98657" y="2253005"/>
              <a:ext cx="196156" cy="196156"/>
            </a:xfrm>
            <a:prstGeom prst="rect">
              <a:avLst/>
            </a:prstGeom>
          </p:spPr>
        </p:pic>
        <p:pic>
          <p:nvPicPr>
            <p:cNvPr id="679" name="Graphic 678" descr="Woman">
              <a:extLst>
                <a:ext uri="{FF2B5EF4-FFF2-40B4-BE49-F238E27FC236}">
                  <a16:creationId xmlns:a16="http://schemas.microsoft.com/office/drawing/2014/main" id="{A84746D8-1558-458C-9C98-98F67C2383E1}"/>
                </a:ext>
              </a:extLst>
            </p:cNvPr>
            <p:cNvPicPr>
              <a:picLocks/>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5794" y="2253005"/>
              <a:ext cx="196156" cy="196156"/>
            </a:xfrm>
            <a:prstGeom prst="rect">
              <a:avLst/>
            </a:prstGeom>
          </p:spPr>
        </p:pic>
        <p:pic>
          <p:nvPicPr>
            <p:cNvPr id="680" name="Graphic 679" descr="Man">
              <a:extLst>
                <a:ext uri="{FF2B5EF4-FFF2-40B4-BE49-F238E27FC236}">
                  <a16:creationId xmlns:a16="http://schemas.microsoft.com/office/drawing/2014/main" id="{B4A6C421-72FE-44A7-9E9F-CC66B90F4E7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64383" y="2253005"/>
              <a:ext cx="196156" cy="196156"/>
            </a:xfrm>
            <a:prstGeom prst="rect">
              <a:avLst/>
            </a:prstGeom>
          </p:spPr>
        </p:pic>
      </p:grpSp>
      <p:grpSp>
        <p:nvGrpSpPr>
          <p:cNvPr id="198" name="Group 197">
            <a:extLst>
              <a:ext uri="{FF2B5EF4-FFF2-40B4-BE49-F238E27FC236}">
                <a16:creationId xmlns:a16="http://schemas.microsoft.com/office/drawing/2014/main" id="{2C5B23D4-7759-4ECD-A2C6-9CB00835B337}"/>
              </a:ext>
            </a:extLst>
          </p:cNvPr>
          <p:cNvGrpSpPr/>
          <p:nvPr/>
        </p:nvGrpSpPr>
        <p:grpSpPr>
          <a:xfrm>
            <a:off x="7485839" y="1348061"/>
            <a:ext cx="725026" cy="725026"/>
            <a:chOff x="3401259" y="4501263"/>
            <a:chExt cx="890110" cy="891329"/>
          </a:xfrm>
        </p:grpSpPr>
        <p:sp>
          <p:nvSpPr>
            <p:cNvPr id="235" name="Freeform: Shape 234">
              <a:extLst>
                <a:ext uri="{FF2B5EF4-FFF2-40B4-BE49-F238E27FC236}">
                  <a16:creationId xmlns:a16="http://schemas.microsoft.com/office/drawing/2014/main" id="{496B8330-B590-4788-886A-39193B6C43DB}"/>
                </a:ext>
              </a:extLst>
            </p:cNvPr>
            <p:cNvSpPr/>
            <p:nvPr/>
          </p:nvSpPr>
          <p:spPr>
            <a:xfrm>
              <a:off x="3401296" y="4501891"/>
              <a:ext cx="890073" cy="890701"/>
            </a:xfrm>
            <a:custGeom>
              <a:avLst/>
              <a:gdLst>
                <a:gd name="connsiteX0" fmla="*/ 890073 w 890073"/>
                <a:gd name="connsiteY0" fmla="*/ 445351 h 890701"/>
                <a:gd name="connsiteX1" fmla="*/ 444722 w 890073"/>
                <a:gd name="connsiteY1" fmla="*/ 890701 h 890701"/>
                <a:gd name="connsiteX2" fmla="*/ 0 w 890073"/>
                <a:gd name="connsiteY2" fmla="*/ 445351 h 890701"/>
                <a:gd name="connsiteX3" fmla="*/ 445351 w 890073"/>
                <a:gd name="connsiteY3" fmla="*/ 0 h 890701"/>
                <a:gd name="connsiteX4" fmla="*/ 890073 w 890073"/>
                <a:gd name="connsiteY4" fmla="*/ 445351 h 890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73" h="890701">
                  <a:moveTo>
                    <a:pt x="890073" y="445351"/>
                  </a:moveTo>
                  <a:cubicBezTo>
                    <a:pt x="890073" y="690953"/>
                    <a:pt x="690953" y="890701"/>
                    <a:pt x="444722" y="890701"/>
                  </a:cubicBezTo>
                  <a:cubicBezTo>
                    <a:pt x="199120" y="890073"/>
                    <a:pt x="0" y="690953"/>
                    <a:pt x="0" y="445351"/>
                  </a:cubicBezTo>
                  <a:cubicBezTo>
                    <a:pt x="0" y="199748"/>
                    <a:pt x="199120" y="0"/>
                    <a:pt x="445351" y="0"/>
                  </a:cubicBezTo>
                  <a:cubicBezTo>
                    <a:pt x="690953" y="0"/>
                    <a:pt x="890073" y="199120"/>
                    <a:pt x="890073" y="445351"/>
                  </a:cubicBezTo>
                </a:path>
              </a:pathLst>
            </a:custGeom>
            <a:solidFill>
              <a:schemeClr val="accent1"/>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 name="Freeform: Shape 235">
              <a:extLst>
                <a:ext uri="{FF2B5EF4-FFF2-40B4-BE49-F238E27FC236}">
                  <a16:creationId xmlns:a16="http://schemas.microsoft.com/office/drawing/2014/main" id="{9F051280-F3B2-4D1E-853E-7EA4B2D2087E}"/>
                </a:ext>
              </a:extLst>
            </p:cNvPr>
            <p:cNvSpPr/>
            <p:nvPr/>
          </p:nvSpPr>
          <p:spPr>
            <a:xfrm>
              <a:off x="3467878" y="4821614"/>
              <a:ext cx="757535" cy="570350"/>
            </a:xfrm>
            <a:custGeom>
              <a:avLst/>
              <a:gdLst>
                <a:gd name="connsiteX0" fmla="*/ 378768 w 757535"/>
                <a:gd name="connsiteY0" fmla="*/ 0 h 570350"/>
                <a:gd name="connsiteX1" fmla="*/ 757536 w 757535"/>
                <a:gd name="connsiteY1" fmla="*/ 359295 h 570350"/>
                <a:gd name="connsiteX2" fmla="*/ 378768 w 757535"/>
                <a:gd name="connsiteY2" fmla="*/ 570350 h 570350"/>
                <a:gd name="connsiteX3" fmla="*/ 0 w 757535"/>
                <a:gd name="connsiteY3" fmla="*/ 359295 h 570350"/>
                <a:gd name="connsiteX4" fmla="*/ 378768 w 757535"/>
                <a:gd name="connsiteY4" fmla="*/ 0 h 570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535" h="570350">
                  <a:moveTo>
                    <a:pt x="378768" y="0"/>
                  </a:moveTo>
                  <a:cubicBezTo>
                    <a:pt x="581657" y="0"/>
                    <a:pt x="746857" y="158919"/>
                    <a:pt x="757536" y="359295"/>
                  </a:cubicBezTo>
                  <a:cubicBezTo>
                    <a:pt x="679018" y="486180"/>
                    <a:pt x="538943" y="570350"/>
                    <a:pt x="378768" y="570350"/>
                  </a:cubicBezTo>
                  <a:cubicBezTo>
                    <a:pt x="218592" y="570350"/>
                    <a:pt x="78517" y="486180"/>
                    <a:pt x="0" y="359295"/>
                  </a:cubicBezTo>
                  <a:cubicBezTo>
                    <a:pt x="10050" y="158919"/>
                    <a:pt x="175879" y="0"/>
                    <a:pt x="378768" y="0"/>
                  </a:cubicBezTo>
                </a:path>
              </a:pathLst>
            </a:custGeom>
            <a:solidFill>
              <a:schemeClr val="accent2"/>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 name="Freeform: Shape 238">
              <a:extLst>
                <a:ext uri="{FF2B5EF4-FFF2-40B4-BE49-F238E27FC236}">
                  <a16:creationId xmlns:a16="http://schemas.microsoft.com/office/drawing/2014/main" id="{7F875F0D-6179-4D94-A145-AEB3A2DEA8FC}"/>
                </a:ext>
              </a:extLst>
            </p:cNvPr>
            <p:cNvSpPr/>
            <p:nvPr/>
          </p:nvSpPr>
          <p:spPr>
            <a:xfrm>
              <a:off x="3556446" y="5077894"/>
              <a:ext cx="52763" cy="13819"/>
            </a:xfrm>
            <a:custGeom>
              <a:avLst/>
              <a:gdLst>
                <a:gd name="connsiteX0" fmla="*/ 52764 w 52763"/>
                <a:gd name="connsiteY0" fmla="*/ 6910 h 13819"/>
                <a:gd name="connsiteX1" fmla="*/ 26382 w 52763"/>
                <a:gd name="connsiteY1" fmla="*/ 13819 h 13819"/>
                <a:gd name="connsiteX2" fmla="*/ 0 w 52763"/>
                <a:gd name="connsiteY2" fmla="*/ 6910 h 13819"/>
                <a:gd name="connsiteX3" fmla="*/ 26382 w 52763"/>
                <a:gd name="connsiteY3" fmla="*/ 0 h 13819"/>
                <a:gd name="connsiteX4" fmla="*/ 52764 w 52763"/>
                <a:gd name="connsiteY4" fmla="*/ 6910 h 13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763" h="13819">
                  <a:moveTo>
                    <a:pt x="52764" y="6910"/>
                  </a:moveTo>
                  <a:cubicBezTo>
                    <a:pt x="52764" y="10678"/>
                    <a:pt x="40829" y="13819"/>
                    <a:pt x="26382" y="13819"/>
                  </a:cubicBezTo>
                  <a:cubicBezTo>
                    <a:pt x="11935" y="13819"/>
                    <a:pt x="0" y="10678"/>
                    <a:pt x="0" y="6910"/>
                  </a:cubicBezTo>
                  <a:cubicBezTo>
                    <a:pt x="0" y="3141"/>
                    <a:pt x="11935" y="0"/>
                    <a:pt x="26382" y="0"/>
                  </a:cubicBezTo>
                  <a:cubicBezTo>
                    <a:pt x="40829" y="0"/>
                    <a:pt x="52764" y="3141"/>
                    <a:pt x="52764" y="6910"/>
                  </a:cubicBezTo>
                </a:path>
              </a:pathLst>
            </a:custGeom>
            <a:solidFill>
              <a:srgbClr val="467B8D"/>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 name="Freeform: Shape 241">
              <a:extLst>
                <a:ext uri="{FF2B5EF4-FFF2-40B4-BE49-F238E27FC236}">
                  <a16:creationId xmlns:a16="http://schemas.microsoft.com/office/drawing/2014/main" id="{D41B5892-9788-4E4D-9AF0-7E30B31A3499}"/>
                </a:ext>
              </a:extLst>
            </p:cNvPr>
            <p:cNvSpPr/>
            <p:nvPr/>
          </p:nvSpPr>
          <p:spPr>
            <a:xfrm>
              <a:off x="3459084" y="4810935"/>
              <a:ext cx="775751" cy="580400"/>
            </a:xfrm>
            <a:custGeom>
              <a:avLst/>
              <a:gdLst>
                <a:gd name="connsiteX0" fmla="*/ 387562 w 775751"/>
                <a:gd name="connsiteY0" fmla="*/ 0 h 580400"/>
                <a:gd name="connsiteX1" fmla="*/ 663315 w 775751"/>
                <a:gd name="connsiteY1" fmla="*/ 114321 h 580400"/>
                <a:gd name="connsiteX2" fmla="*/ 775752 w 775751"/>
                <a:gd name="connsiteY2" fmla="*/ 354270 h 580400"/>
                <a:gd name="connsiteX3" fmla="*/ 746229 w 775751"/>
                <a:gd name="connsiteY3" fmla="*/ 400125 h 580400"/>
                <a:gd name="connsiteX4" fmla="*/ 613064 w 775751"/>
                <a:gd name="connsiteY4" fmla="*/ 400125 h 580400"/>
                <a:gd name="connsiteX5" fmla="*/ 589823 w 775751"/>
                <a:gd name="connsiteY5" fmla="*/ 532662 h 580400"/>
                <a:gd name="connsiteX6" fmla="*/ 563441 w 775751"/>
                <a:gd name="connsiteY6" fmla="*/ 545225 h 580400"/>
                <a:gd name="connsiteX7" fmla="*/ 592963 w 775751"/>
                <a:gd name="connsiteY7" fmla="*/ 400125 h 580400"/>
                <a:gd name="connsiteX8" fmla="*/ 397612 w 775751"/>
                <a:gd name="connsiteY8" fmla="*/ 400125 h 580400"/>
                <a:gd name="connsiteX9" fmla="*/ 397612 w 775751"/>
                <a:gd name="connsiteY9" fmla="*/ 535174 h 580400"/>
                <a:gd name="connsiteX10" fmla="*/ 555903 w 775751"/>
                <a:gd name="connsiteY10" fmla="*/ 547737 h 580400"/>
                <a:gd name="connsiteX11" fmla="*/ 513818 w 775751"/>
                <a:gd name="connsiteY11" fmla="*/ 562185 h 580400"/>
                <a:gd name="connsiteX12" fmla="*/ 397612 w 775751"/>
                <a:gd name="connsiteY12" fmla="*/ 555275 h 580400"/>
                <a:gd name="connsiteX13" fmla="*/ 397612 w 775751"/>
                <a:gd name="connsiteY13" fmla="*/ 580400 h 580400"/>
                <a:gd name="connsiteX14" fmla="*/ 387562 w 775751"/>
                <a:gd name="connsiteY14" fmla="*/ 580400 h 580400"/>
                <a:gd name="connsiteX15" fmla="*/ 377512 w 775751"/>
                <a:gd name="connsiteY15" fmla="*/ 580400 h 580400"/>
                <a:gd name="connsiteX16" fmla="*/ 377512 w 775751"/>
                <a:gd name="connsiteY16" fmla="*/ 555275 h 580400"/>
                <a:gd name="connsiteX17" fmla="*/ 261934 w 775751"/>
                <a:gd name="connsiteY17" fmla="*/ 562185 h 580400"/>
                <a:gd name="connsiteX18" fmla="*/ 219849 w 775751"/>
                <a:gd name="connsiteY18" fmla="*/ 547737 h 580400"/>
                <a:gd name="connsiteX19" fmla="*/ 377512 w 775751"/>
                <a:gd name="connsiteY19" fmla="*/ 535174 h 580400"/>
                <a:gd name="connsiteX20" fmla="*/ 377512 w 775751"/>
                <a:gd name="connsiteY20" fmla="*/ 400125 h 580400"/>
                <a:gd name="connsiteX21" fmla="*/ 182788 w 775751"/>
                <a:gd name="connsiteY21" fmla="*/ 400125 h 580400"/>
                <a:gd name="connsiteX22" fmla="*/ 212311 w 775751"/>
                <a:gd name="connsiteY22" fmla="*/ 545225 h 580400"/>
                <a:gd name="connsiteX23" fmla="*/ 185929 w 775751"/>
                <a:gd name="connsiteY23" fmla="*/ 532662 h 580400"/>
                <a:gd name="connsiteX24" fmla="*/ 162688 w 775751"/>
                <a:gd name="connsiteY24" fmla="*/ 400125 h 580400"/>
                <a:gd name="connsiteX25" fmla="*/ 29523 w 775751"/>
                <a:gd name="connsiteY25" fmla="*/ 400125 h 580400"/>
                <a:gd name="connsiteX26" fmla="*/ 0 w 775751"/>
                <a:gd name="connsiteY26" fmla="*/ 354270 h 580400"/>
                <a:gd name="connsiteX27" fmla="*/ 112437 w 775751"/>
                <a:gd name="connsiteY27" fmla="*/ 114321 h 580400"/>
                <a:gd name="connsiteX28" fmla="*/ 387562 w 775751"/>
                <a:gd name="connsiteY28" fmla="*/ 0 h 580400"/>
                <a:gd name="connsiteX29" fmla="*/ 18844 w 775751"/>
                <a:gd name="connsiteY29" fmla="*/ 379396 h 580400"/>
                <a:gd name="connsiteX30" fmla="*/ 162688 w 775751"/>
                <a:gd name="connsiteY30" fmla="*/ 379396 h 580400"/>
                <a:gd name="connsiteX31" fmla="*/ 197864 w 775751"/>
                <a:gd name="connsiteY31" fmla="*/ 214824 h 580400"/>
                <a:gd name="connsiteX32" fmla="*/ 84799 w 775751"/>
                <a:gd name="connsiteY32" fmla="*/ 178391 h 580400"/>
                <a:gd name="connsiteX33" fmla="*/ 18844 w 775751"/>
                <a:gd name="connsiteY33" fmla="*/ 379396 h 580400"/>
                <a:gd name="connsiteX34" fmla="*/ 97362 w 775751"/>
                <a:gd name="connsiteY34" fmla="*/ 161432 h 580400"/>
                <a:gd name="connsiteX35" fmla="*/ 206658 w 775751"/>
                <a:gd name="connsiteY35" fmla="*/ 195351 h 580400"/>
                <a:gd name="connsiteX36" fmla="*/ 215452 w 775751"/>
                <a:gd name="connsiteY36" fmla="*/ 178391 h 580400"/>
                <a:gd name="connsiteX37" fmla="*/ 367461 w 775751"/>
                <a:gd name="connsiteY37" fmla="*/ 20729 h 580400"/>
                <a:gd name="connsiteX38" fmla="*/ 126884 w 775751"/>
                <a:gd name="connsiteY38" fmla="*/ 128140 h 580400"/>
                <a:gd name="connsiteX39" fmla="*/ 97362 w 775751"/>
                <a:gd name="connsiteY39" fmla="*/ 161432 h 580400"/>
                <a:gd name="connsiteX40" fmla="*/ 407662 w 775751"/>
                <a:gd name="connsiteY40" fmla="*/ 20729 h 580400"/>
                <a:gd name="connsiteX41" fmla="*/ 559672 w 775751"/>
                <a:gd name="connsiteY41" fmla="*/ 178391 h 580400"/>
                <a:gd name="connsiteX42" fmla="*/ 568466 w 775751"/>
                <a:gd name="connsiteY42" fmla="*/ 195351 h 580400"/>
                <a:gd name="connsiteX43" fmla="*/ 677762 w 775751"/>
                <a:gd name="connsiteY43" fmla="*/ 161432 h 580400"/>
                <a:gd name="connsiteX44" fmla="*/ 648240 w 775751"/>
                <a:gd name="connsiteY44" fmla="*/ 128140 h 580400"/>
                <a:gd name="connsiteX45" fmla="*/ 407662 w 775751"/>
                <a:gd name="connsiteY45" fmla="*/ 20729 h 580400"/>
                <a:gd name="connsiteX46" fmla="*/ 689697 w 775751"/>
                <a:gd name="connsiteY46" fmla="*/ 178391 h 580400"/>
                <a:gd name="connsiteX47" fmla="*/ 577260 w 775751"/>
                <a:gd name="connsiteY47" fmla="*/ 214824 h 580400"/>
                <a:gd name="connsiteX48" fmla="*/ 612436 w 775751"/>
                <a:gd name="connsiteY48" fmla="*/ 379396 h 580400"/>
                <a:gd name="connsiteX49" fmla="*/ 756279 w 775751"/>
                <a:gd name="connsiteY49" fmla="*/ 379396 h 580400"/>
                <a:gd name="connsiteX50" fmla="*/ 689697 w 775751"/>
                <a:gd name="connsiteY50" fmla="*/ 178391 h 580400"/>
                <a:gd name="connsiteX51" fmla="*/ 397612 w 775751"/>
                <a:gd name="connsiteY51" fmla="*/ 38945 h 580400"/>
                <a:gd name="connsiteX52" fmla="*/ 397612 w 775751"/>
                <a:gd name="connsiteY52" fmla="*/ 211055 h 580400"/>
                <a:gd name="connsiteX53" fmla="*/ 547737 w 775751"/>
                <a:gd name="connsiteY53" fmla="*/ 199748 h 580400"/>
                <a:gd name="connsiteX54" fmla="*/ 542084 w 775751"/>
                <a:gd name="connsiteY54" fmla="*/ 189070 h 580400"/>
                <a:gd name="connsiteX55" fmla="*/ 397612 w 775751"/>
                <a:gd name="connsiteY55" fmla="*/ 38945 h 580400"/>
                <a:gd name="connsiteX56" fmla="*/ 397612 w 775751"/>
                <a:gd name="connsiteY56" fmla="*/ 231783 h 580400"/>
                <a:gd name="connsiteX57" fmla="*/ 397612 w 775751"/>
                <a:gd name="connsiteY57" fmla="*/ 380024 h 580400"/>
                <a:gd name="connsiteX58" fmla="*/ 591707 w 775751"/>
                <a:gd name="connsiteY58" fmla="*/ 380024 h 580400"/>
                <a:gd name="connsiteX59" fmla="*/ 556531 w 775751"/>
                <a:gd name="connsiteY59" fmla="*/ 219220 h 580400"/>
                <a:gd name="connsiteX60" fmla="*/ 397612 w 775751"/>
                <a:gd name="connsiteY60" fmla="*/ 231783 h 580400"/>
                <a:gd name="connsiteX61" fmla="*/ 376883 w 775751"/>
                <a:gd name="connsiteY61" fmla="*/ 379396 h 580400"/>
                <a:gd name="connsiteX62" fmla="*/ 376883 w 775751"/>
                <a:gd name="connsiteY62" fmla="*/ 231155 h 580400"/>
                <a:gd name="connsiteX63" fmla="*/ 217964 w 775751"/>
                <a:gd name="connsiteY63" fmla="*/ 217964 h 580400"/>
                <a:gd name="connsiteX64" fmla="*/ 182788 w 775751"/>
                <a:gd name="connsiteY64" fmla="*/ 378768 h 580400"/>
                <a:gd name="connsiteX65" fmla="*/ 376883 w 775751"/>
                <a:gd name="connsiteY65" fmla="*/ 378768 h 580400"/>
                <a:gd name="connsiteX66" fmla="*/ 376883 w 775751"/>
                <a:gd name="connsiteY66" fmla="*/ 211055 h 580400"/>
                <a:gd name="connsiteX67" fmla="*/ 376883 w 775751"/>
                <a:gd name="connsiteY67" fmla="*/ 38945 h 580400"/>
                <a:gd name="connsiteX68" fmla="*/ 233040 w 775751"/>
                <a:gd name="connsiteY68" fmla="*/ 188442 h 580400"/>
                <a:gd name="connsiteX69" fmla="*/ 227386 w 775751"/>
                <a:gd name="connsiteY69" fmla="*/ 199120 h 580400"/>
                <a:gd name="connsiteX70" fmla="*/ 376883 w 775751"/>
                <a:gd name="connsiteY70" fmla="*/ 211055 h 58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75751" h="580400">
                  <a:moveTo>
                    <a:pt x="387562" y="0"/>
                  </a:moveTo>
                  <a:cubicBezTo>
                    <a:pt x="494974" y="0"/>
                    <a:pt x="592335" y="43342"/>
                    <a:pt x="663315" y="114321"/>
                  </a:cubicBezTo>
                  <a:cubicBezTo>
                    <a:pt x="726129" y="177135"/>
                    <a:pt x="767586" y="260678"/>
                    <a:pt x="775752" y="354270"/>
                  </a:cubicBezTo>
                  <a:cubicBezTo>
                    <a:pt x="766958" y="369974"/>
                    <a:pt x="756908" y="385677"/>
                    <a:pt x="746229" y="400125"/>
                  </a:cubicBezTo>
                  <a:lnTo>
                    <a:pt x="613064" y="400125"/>
                  </a:lnTo>
                  <a:cubicBezTo>
                    <a:pt x="611807" y="445351"/>
                    <a:pt x="604270" y="489949"/>
                    <a:pt x="589823" y="532662"/>
                  </a:cubicBezTo>
                  <a:cubicBezTo>
                    <a:pt x="581029" y="537059"/>
                    <a:pt x="572235" y="540828"/>
                    <a:pt x="563441" y="545225"/>
                  </a:cubicBezTo>
                  <a:cubicBezTo>
                    <a:pt x="581657" y="498742"/>
                    <a:pt x="591707" y="449748"/>
                    <a:pt x="592963" y="400125"/>
                  </a:cubicBezTo>
                  <a:lnTo>
                    <a:pt x="397612" y="400125"/>
                  </a:lnTo>
                  <a:lnTo>
                    <a:pt x="397612" y="535174"/>
                  </a:lnTo>
                  <a:cubicBezTo>
                    <a:pt x="452260" y="535803"/>
                    <a:pt x="506908" y="539571"/>
                    <a:pt x="555903" y="547737"/>
                  </a:cubicBezTo>
                  <a:cubicBezTo>
                    <a:pt x="542084" y="553391"/>
                    <a:pt x="528265" y="558416"/>
                    <a:pt x="513818" y="562185"/>
                  </a:cubicBezTo>
                  <a:cubicBezTo>
                    <a:pt x="476758" y="557788"/>
                    <a:pt x="437185" y="555275"/>
                    <a:pt x="397612" y="555275"/>
                  </a:cubicBezTo>
                  <a:lnTo>
                    <a:pt x="397612" y="580400"/>
                  </a:lnTo>
                  <a:cubicBezTo>
                    <a:pt x="394471" y="580400"/>
                    <a:pt x="390703" y="580400"/>
                    <a:pt x="387562" y="580400"/>
                  </a:cubicBezTo>
                  <a:cubicBezTo>
                    <a:pt x="384421" y="580400"/>
                    <a:pt x="380652" y="580400"/>
                    <a:pt x="377512" y="580400"/>
                  </a:cubicBezTo>
                  <a:lnTo>
                    <a:pt x="377512" y="555275"/>
                  </a:lnTo>
                  <a:cubicBezTo>
                    <a:pt x="337939" y="555903"/>
                    <a:pt x="298994" y="557788"/>
                    <a:pt x="261934" y="562185"/>
                  </a:cubicBezTo>
                  <a:cubicBezTo>
                    <a:pt x="247487" y="557788"/>
                    <a:pt x="233668" y="552763"/>
                    <a:pt x="219849" y="547737"/>
                  </a:cubicBezTo>
                  <a:cubicBezTo>
                    <a:pt x="268844" y="539571"/>
                    <a:pt x="322863" y="535174"/>
                    <a:pt x="377512" y="535174"/>
                  </a:cubicBezTo>
                  <a:lnTo>
                    <a:pt x="377512" y="400125"/>
                  </a:lnTo>
                  <a:lnTo>
                    <a:pt x="182788" y="400125"/>
                  </a:lnTo>
                  <a:cubicBezTo>
                    <a:pt x="184045" y="449748"/>
                    <a:pt x="194095" y="498742"/>
                    <a:pt x="212311" y="545225"/>
                  </a:cubicBezTo>
                  <a:cubicBezTo>
                    <a:pt x="203517" y="541456"/>
                    <a:pt x="194723" y="537059"/>
                    <a:pt x="185929" y="532662"/>
                  </a:cubicBezTo>
                  <a:cubicBezTo>
                    <a:pt x="171482" y="489949"/>
                    <a:pt x="163316" y="444723"/>
                    <a:pt x="162688" y="400125"/>
                  </a:cubicBezTo>
                  <a:lnTo>
                    <a:pt x="29523" y="400125"/>
                  </a:lnTo>
                  <a:cubicBezTo>
                    <a:pt x="18844" y="385677"/>
                    <a:pt x="8794" y="369974"/>
                    <a:pt x="0" y="354270"/>
                  </a:cubicBezTo>
                  <a:cubicBezTo>
                    <a:pt x="8166" y="260678"/>
                    <a:pt x="49623" y="177135"/>
                    <a:pt x="112437" y="114321"/>
                  </a:cubicBezTo>
                  <a:cubicBezTo>
                    <a:pt x="182788" y="43342"/>
                    <a:pt x="280150" y="0"/>
                    <a:pt x="387562" y="0"/>
                  </a:cubicBezTo>
                  <a:moveTo>
                    <a:pt x="18844" y="379396"/>
                  </a:moveTo>
                  <a:lnTo>
                    <a:pt x="162688" y="379396"/>
                  </a:lnTo>
                  <a:cubicBezTo>
                    <a:pt x="163944" y="322863"/>
                    <a:pt x="175251" y="266959"/>
                    <a:pt x="197864" y="214824"/>
                  </a:cubicBezTo>
                  <a:cubicBezTo>
                    <a:pt x="153266" y="206030"/>
                    <a:pt x="114321" y="194095"/>
                    <a:pt x="84799" y="178391"/>
                  </a:cubicBezTo>
                  <a:cubicBezTo>
                    <a:pt x="44598" y="235552"/>
                    <a:pt x="20729" y="304647"/>
                    <a:pt x="18844" y="379396"/>
                  </a:cubicBezTo>
                  <a:close/>
                  <a:moveTo>
                    <a:pt x="97362" y="161432"/>
                  </a:moveTo>
                  <a:cubicBezTo>
                    <a:pt x="125628" y="175879"/>
                    <a:pt x="163316" y="187186"/>
                    <a:pt x="206658" y="195351"/>
                  </a:cubicBezTo>
                  <a:cubicBezTo>
                    <a:pt x="209170" y="189698"/>
                    <a:pt x="212311" y="184045"/>
                    <a:pt x="215452" y="178391"/>
                  </a:cubicBezTo>
                  <a:cubicBezTo>
                    <a:pt x="249371" y="115578"/>
                    <a:pt x="300250" y="60301"/>
                    <a:pt x="367461" y="20729"/>
                  </a:cubicBezTo>
                  <a:cubicBezTo>
                    <a:pt x="273869" y="25754"/>
                    <a:pt x="189070" y="65955"/>
                    <a:pt x="126884" y="128140"/>
                  </a:cubicBezTo>
                  <a:cubicBezTo>
                    <a:pt x="116206" y="138819"/>
                    <a:pt x="106156" y="150125"/>
                    <a:pt x="97362" y="161432"/>
                  </a:cubicBezTo>
                  <a:close/>
                  <a:moveTo>
                    <a:pt x="407662" y="20729"/>
                  </a:moveTo>
                  <a:cubicBezTo>
                    <a:pt x="474873" y="60301"/>
                    <a:pt x="525752" y="115578"/>
                    <a:pt x="559672" y="178391"/>
                  </a:cubicBezTo>
                  <a:cubicBezTo>
                    <a:pt x="562813" y="184045"/>
                    <a:pt x="565953" y="189698"/>
                    <a:pt x="568466" y="195351"/>
                  </a:cubicBezTo>
                  <a:cubicBezTo>
                    <a:pt x="611807" y="187186"/>
                    <a:pt x="649496" y="175879"/>
                    <a:pt x="677762" y="161432"/>
                  </a:cubicBezTo>
                  <a:cubicBezTo>
                    <a:pt x="668340" y="150125"/>
                    <a:pt x="658918" y="138819"/>
                    <a:pt x="648240" y="128140"/>
                  </a:cubicBezTo>
                  <a:cubicBezTo>
                    <a:pt x="586054" y="65955"/>
                    <a:pt x="501255" y="26382"/>
                    <a:pt x="407662" y="20729"/>
                  </a:cubicBezTo>
                  <a:close/>
                  <a:moveTo>
                    <a:pt x="689697" y="178391"/>
                  </a:moveTo>
                  <a:cubicBezTo>
                    <a:pt x="660802" y="194095"/>
                    <a:pt x="621858" y="206030"/>
                    <a:pt x="577260" y="214824"/>
                  </a:cubicBezTo>
                  <a:cubicBezTo>
                    <a:pt x="599245" y="266959"/>
                    <a:pt x="611179" y="322863"/>
                    <a:pt x="612436" y="379396"/>
                  </a:cubicBezTo>
                  <a:lnTo>
                    <a:pt x="756279" y="379396"/>
                  </a:lnTo>
                  <a:cubicBezTo>
                    <a:pt x="754395" y="304647"/>
                    <a:pt x="729898" y="235552"/>
                    <a:pt x="689697" y="178391"/>
                  </a:cubicBezTo>
                  <a:close/>
                  <a:moveTo>
                    <a:pt x="397612" y="38945"/>
                  </a:moveTo>
                  <a:lnTo>
                    <a:pt x="397612" y="211055"/>
                  </a:lnTo>
                  <a:cubicBezTo>
                    <a:pt x="449748" y="210427"/>
                    <a:pt x="501255" y="206658"/>
                    <a:pt x="547737" y="199748"/>
                  </a:cubicBezTo>
                  <a:cubicBezTo>
                    <a:pt x="545853" y="195979"/>
                    <a:pt x="543968" y="192211"/>
                    <a:pt x="542084" y="189070"/>
                  </a:cubicBezTo>
                  <a:cubicBezTo>
                    <a:pt x="509421" y="128769"/>
                    <a:pt x="461682" y="76633"/>
                    <a:pt x="397612" y="38945"/>
                  </a:cubicBezTo>
                  <a:close/>
                  <a:moveTo>
                    <a:pt x="397612" y="231783"/>
                  </a:moveTo>
                  <a:lnTo>
                    <a:pt x="397612" y="380024"/>
                  </a:lnTo>
                  <a:lnTo>
                    <a:pt x="591707" y="380024"/>
                  </a:lnTo>
                  <a:cubicBezTo>
                    <a:pt x="590451" y="324748"/>
                    <a:pt x="578516" y="270100"/>
                    <a:pt x="556531" y="219220"/>
                  </a:cubicBezTo>
                  <a:cubicBezTo>
                    <a:pt x="507536" y="226758"/>
                    <a:pt x="452888" y="231155"/>
                    <a:pt x="397612" y="231783"/>
                  </a:cubicBezTo>
                  <a:close/>
                  <a:moveTo>
                    <a:pt x="376883" y="379396"/>
                  </a:moveTo>
                  <a:lnTo>
                    <a:pt x="376883" y="231155"/>
                  </a:lnTo>
                  <a:cubicBezTo>
                    <a:pt x="321607" y="230527"/>
                    <a:pt x="266959" y="226130"/>
                    <a:pt x="217964" y="217964"/>
                  </a:cubicBezTo>
                  <a:cubicBezTo>
                    <a:pt x="195351" y="268844"/>
                    <a:pt x="184045" y="323492"/>
                    <a:pt x="182788" y="378768"/>
                  </a:cubicBezTo>
                  <a:lnTo>
                    <a:pt x="376883" y="378768"/>
                  </a:lnTo>
                  <a:close/>
                  <a:moveTo>
                    <a:pt x="376883" y="211055"/>
                  </a:moveTo>
                  <a:lnTo>
                    <a:pt x="376883" y="38945"/>
                  </a:lnTo>
                  <a:cubicBezTo>
                    <a:pt x="313441" y="76633"/>
                    <a:pt x="265075" y="128769"/>
                    <a:pt x="233040" y="188442"/>
                  </a:cubicBezTo>
                  <a:cubicBezTo>
                    <a:pt x="231155" y="192211"/>
                    <a:pt x="229271" y="195351"/>
                    <a:pt x="227386" y="199120"/>
                  </a:cubicBezTo>
                  <a:cubicBezTo>
                    <a:pt x="273869" y="206658"/>
                    <a:pt x="325376" y="210427"/>
                    <a:pt x="376883" y="211055"/>
                  </a:cubicBezTo>
                  <a:close/>
                </a:path>
              </a:pathLst>
            </a:custGeom>
            <a:solidFill>
              <a:srgbClr val="FFFFFF"/>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 name="Freeform: Shape 244">
              <a:extLst>
                <a:ext uri="{FF2B5EF4-FFF2-40B4-BE49-F238E27FC236}">
                  <a16:creationId xmlns:a16="http://schemas.microsoft.com/office/drawing/2014/main" id="{B6C54BF8-1532-41C1-82A1-8241407684AA}"/>
                </a:ext>
              </a:extLst>
            </p:cNvPr>
            <p:cNvSpPr/>
            <p:nvPr/>
          </p:nvSpPr>
          <p:spPr>
            <a:xfrm>
              <a:off x="3401259" y="4501263"/>
              <a:ext cx="362177" cy="583541"/>
            </a:xfrm>
            <a:custGeom>
              <a:avLst/>
              <a:gdLst>
                <a:gd name="connsiteX0" fmla="*/ 184709 w 362177"/>
                <a:gd name="connsiteY0" fmla="*/ 583541 h 583541"/>
                <a:gd name="connsiteX1" fmla="*/ 177171 w 362177"/>
                <a:gd name="connsiteY1" fmla="*/ 583541 h 583541"/>
                <a:gd name="connsiteX2" fmla="*/ 159583 w 362177"/>
                <a:gd name="connsiteY2" fmla="*/ 545225 h 583541"/>
                <a:gd name="connsiteX3" fmla="*/ 101795 w 362177"/>
                <a:gd name="connsiteY3" fmla="*/ 427135 h 583541"/>
                <a:gd name="connsiteX4" fmla="*/ 24534 w 362177"/>
                <a:gd name="connsiteY4" fmla="*/ 270100 h 583541"/>
                <a:gd name="connsiteX5" fmla="*/ 24534 w 362177"/>
                <a:gd name="connsiteY5" fmla="*/ 89196 h 583541"/>
                <a:gd name="connsiteX6" fmla="*/ 169634 w 362177"/>
                <a:gd name="connsiteY6" fmla="*/ 0 h 583541"/>
                <a:gd name="connsiteX7" fmla="*/ 278930 w 362177"/>
                <a:gd name="connsiteY7" fmla="*/ 28266 h 583541"/>
                <a:gd name="connsiteX8" fmla="*/ 336091 w 362177"/>
                <a:gd name="connsiteY8" fmla="*/ 87939 h 583541"/>
                <a:gd name="connsiteX9" fmla="*/ 337347 w 362177"/>
                <a:gd name="connsiteY9" fmla="*/ 270100 h 583541"/>
                <a:gd name="connsiteX10" fmla="*/ 184709 w 362177"/>
                <a:gd name="connsiteY10" fmla="*/ 583541 h 583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177" h="583541">
                  <a:moveTo>
                    <a:pt x="184709" y="583541"/>
                  </a:moveTo>
                  <a:lnTo>
                    <a:pt x="177171" y="583541"/>
                  </a:lnTo>
                  <a:cubicBezTo>
                    <a:pt x="174659" y="573491"/>
                    <a:pt x="163980" y="555275"/>
                    <a:pt x="159583" y="545225"/>
                  </a:cubicBezTo>
                  <a:lnTo>
                    <a:pt x="101795" y="427135"/>
                  </a:lnTo>
                  <a:cubicBezTo>
                    <a:pt x="75413" y="374371"/>
                    <a:pt x="50915" y="322235"/>
                    <a:pt x="24534" y="270100"/>
                  </a:cubicBezTo>
                  <a:cubicBezTo>
                    <a:pt x="-5617" y="209798"/>
                    <a:pt x="-10642" y="150753"/>
                    <a:pt x="24534" y="89196"/>
                  </a:cubicBezTo>
                  <a:cubicBezTo>
                    <a:pt x="52800" y="40829"/>
                    <a:pt x="111217" y="0"/>
                    <a:pt x="169634" y="0"/>
                  </a:cubicBezTo>
                  <a:cubicBezTo>
                    <a:pt x="212975" y="0"/>
                    <a:pt x="243126" y="4397"/>
                    <a:pt x="278930" y="28266"/>
                  </a:cubicBezTo>
                  <a:cubicBezTo>
                    <a:pt x="303427" y="44598"/>
                    <a:pt x="321015" y="62186"/>
                    <a:pt x="336091" y="87939"/>
                  </a:cubicBezTo>
                  <a:cubicBezTo>
                    <a:pt x="373151" y="148869"/>
                    <a:pt x="368126" y="208542"/>
                    <a:pt x="337347" y="270100"/>
                  </a:cubicBezTo>
                  <a:cubicBezTo>
                    <a:pt x="332950" y="279522"/>
                    <a:pt x="187850" y="571607"/>
                    <a:pt x="184709" y="583541"/>
                  </a:cubicBezTo>
                </a:path>
              </a:pathLst>
            </a:custGeom>
            <a:solidFill>
              <a:schemeClr val="accent5">
                <a:lumMod val="50000"/>
              </a:schemeClr>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 name="Freeform: Shape 247">
              <a:extLst>
                <a:ext uri="{FF2B5EF4-FFF2-40B4-BE49-F238E27FC236}">
                  <a16:creationId xmlns:a16="http://schemas.microsoft.com/office/drawing/2014/main" id="{1E2E855C-7858-430B-9B43-3E5ED4121446}"/>
                </a:ext>
              </a:extLst>
            </p:cNvPr>
            <p:cNvSpPr/>
            <p:nvPr/>
          </p:nvSpPr>
          <p:spPr>
            <a:xfrm>
              <a:off x="3453431" y="4554654"/>
              <a:ext cx="258165" cy="258165"/>
            </a:xfrm>
            <a:custGeom>
              <a:avLst/>
              <a:gdLst>
                <a:gd name="connsiteX0" fmla="*/ 258165 w 258165"/>
                <a:gd name="connsiteY0" fmla="*/ 145100 h 258165"/>
                <a:gd name="connsiteX1" fmla="*/ 258165 w 258165"/>
                <a:gd name="connsiteY1" fmla="*/ 113065 h 258165"/>
                <a:gd name="connsiteX2" fmla="*/ 238693 w 258165"/>
                <a:gd name="connsiteY2" fmla="*/ 110553 h 258165"/>
                <a:gd name="connsiteX3" fmla="*/ 233040 w 258165"/>
                <a:gd name="connsiteY3" fmla="*/ 90452 h 258165"/>
                <a:gd name="connsiteX4" fmla="*/ 248743 w 258165"/>
                <a:gd name="connsiteY4" fmla="*/ 78517 h 258165"/>
                <a:gd name="connsiteX5" fmla="*/ 232411 w 258165"/>
                <a:gd name="connsiteY5" fmla="*/ 50879 h 258165"/>
                <a:gd name="connsiteX6" fmla="*/ 214195 w 258165"/>
                <a:gd name="connsiteY6" fmla="*/ 59045 h 258165"/>
                <a:gd name="connsiteX7" fmla="*/ 199120 w 258165"/>
                <a:gd name="connsiteY7" fmla="*/ 43970 h 258165"/>
                <a:gd name="connsiteX8" fmla="*/ 207286 w 258165"/>
                <a:gd name="connsiteY8" fmla="*/ 25754 h 258165"/>
                <a:gd name="connsiteX9" fmla="*/ 179648 w 258165"/>
                <a:gd name="connsiteY9" fmla="*/ 9422 h 258165"/>
                <a:gd name="connsiteX10" fmla="*/ 167713 w 258165"/>
                <a:gd name="connsiteY10" fmla="*/ 25126 h 258165"/>
                <a:gd name="connsiteX11" fmla="*/ 147613 w 258165"/>
                <a:gd name="connsiteY11" fmla="*/ 19472 h 258165"/>
                <a:gd name="connsiteX12" fmla="*/ 145100 w 258165"/>
                <a:gd name="connsiteY12" fmla="*/ 0 h 258165"/>
                <a:gd name="connsiteX13" fmla="*/ 113065 w 258165"/>
                <a:gd name="connsiteY13" fmla="*/ 0 h 258165"/>
                <a:gd name="connsiteX14" fmla="*/ 110552 w 258165"/>
                <a:gd name="connsiteY14" fmla="*/ 19472 h 258165"/>
                <a:gd name="connsiteX15" fmla="*/ 90452 w 258165"/>
                <a:gd name="connsiteY15" fmla="*/ 25126 h 258165"/>
                <a:gd name="connsiteX16" fmla="*/ 78517 w 258165"/>
                <a:gd name="connsiteY16" fmla="*/ 9422 h 258165"/>
                <a:gd name="connsiteX17" fmla="*/ 50879 w 258165"/>
                <a:gd name="connsiteY17" fmla="*/ 25754 h 258165"/>
                <a:gd name="connsiteX18" fmla="*/ 59045 w 258165"/>
                <a:gd name="connsiteY18" fmla="*/ 43970 h 258165"/>
                <a:gd name="connsiteX19" fmla="*/ 43970 w 258165"/>
                <a:gd name="connsiteY19" fmla="*/ 59045 h 258165"/>
                <a:gd name="connsiteX20" fmla="*/ 25754 w 258165"/>
                <a:gd name="connsiteY20" fmla="*/ 50879 h 258165"/>
                <a:gd name="connsiteX21" fmla="*/ 9422 w 258165"/>
                <a:gd name="connsiteY21" fmla="*/ 78517 h 258165"/>
                <a:gd name="connsiteX22" fmla="*/ 25126 w 258165"/>
                <a:gd name="connsiteY22" fmla="*/ 90452 h 258165"/>
                <a:gd name="connsiteX23" fmla="*/ 19472 w 258165"/>
                <a:gd name="connsiteY23" fmla="*/ 110553 h 258165"/>
                <a:gd name="connsiteX24" fmla="*/ 0 w 258165"/>
                <a:gd name="connsiteY24" fmla="*/ 113065 h 258165"/>
                <a:gd name="connsiteX25" fmla="*/ 0 w 258165"/>
                <a:gd name="connsiteY25" fmla="*/ 145100 h 258165"/>
                <a:gd name="connsiteX26" fmla="*/ 19472 w 258165"/>
                <a:gd name="connsiteY26" fmla="*/ 147613 h 258165"/>
                <a:gd name="connsiteX27" fmla="*/ 25126 w 258165"/>
                <a:gd name="connsiteY27" fmla="*/ 167713 h 258165"/>
                <a:gd name="connsiteX28" fmla="*/ 9422 w 258165"/>
                <a:gd name="connsiteY28" fmla="*/ 179648 h 258165"/>
                <a:gd name="connsiteX29" fmla="*/ 25754 w 258165"/>
                <a:gd name="connsiteY29" fmla="*/ 207286 h 258165"/>
                <a:gd name="connsiteX30" fmla="*/ 43970 w 258165"/>
                <a:gd name="connsiteY30" fmla="*/ 199120 h 258165"/>
                <a:gd name="connsiteX31" fmla="*/ 59045 w 258165"/>
                <a:gd name="connsiteY31" fmla="*/ 214195 h 258165"/>
                <a:gd name="connsiteX32" fmla="*/ 50879 w 258165"/>
                <a:gd name="connsiteY32" fmla="*/ 232411 h 258165"/>
                <a:gd name="connsiteX33" fmla="*/ 78517 w 258165"/>
                <a:gd name="connsiteY33" fmla="*/ 248743 h 258165"/>
                <a:gd name="connsiteX34" fmla="*/ 90452 w 258165"/>
                <a:gd name="connsiteY34" fmla="*/ 233040 h 258165"/>
                <a:gd name="connsiteX35" fmla="*/ 110552 w 258165"/>
                <a:gd name="connsiteY35" fmla="*/ 238693 h 258165"/>
                <a:gd name="connsiteX36" fmla="*/ 113065 w 258165"/>
                <a:gd name="connsiteY36" fmla="*/ 258165 h 258165"/>
                <a:gd name="connsiteX37" fmla="*/ 145100 w 258165"/>
                <a:gd name="connsiteY37" fmla="*/ 258165 h 258165"/>
                <a:gd name="connsiteX38" fmla="*/ 147613 w 258165"/>
                <a:gd name="connsiteY38" fmla="*/ 238693 h 258165"/>
                <a:gd name="connsiteX39" fmla="*/ 167713 w 258165"/>
                <a:gd name="connsiteY39" fmla="*/ 233040 h 258165"/>
                <a:gd name="connsiteX40" fmla="*/ 179648 w 258165"/>
                <a:gd name="connsiteY40" fmla="*/ 248743 h 258165"/>
                <a:gd name="connsiteX41" fmla="*/ 207286 w 258165"/>
                <a:gd name="connsiteY41" fmla="*/ 232411 h 258165"/>
                <a:gd name="connsiteX42" fmla="*/ 199120 w 258165"/>
                <a:gd name="connsiteY42" fmla="*/ 214195 h 258165"/>
                <a:gd name="connsiteX43" fmla="*/ 214195 w 258165"/>
                <a:gd name="connsiteY43" fmla="*/ 199120 h 258165"/>
                <a:gd name="connsiteX44" fmla="*/ 232411 w 258165"/>
                <a:gd name="connsiteY44" fmla="*/ 207286 h 258165"/>
                <a:gd name="connsiteX45" fmla="*/ 248743 w 258165"/>
                <a:gd name="connsiteY45" fmla="*/ 179648 h 258165"/>
                <a:gd name="connsiteX46" fmla="*/ 233040 w 258165"/>
                <a:gd name="connsiteY46" fmla="*/ 167713 h 258165"/>
                <a:gd name="connsiteX47" fmla="*/ 238693 w 258165"/>
                <a:gd name="connsiteY47" fmla="*/ 147613 h 258165"/>
                <a:gd name="connsiteX48" fmla="*/ 258165 w 258165"/>
                <a:gd name="connsiteY48" fmla="*/ 145100 h 258165"/>
                <a:gd name="connsiteX49" fmla="*/ 128769 w 258165"/>
                <a:gd name="connsiteY49" fmla="*/ 172110 h 258165"/>
                <a:gd name="connsiteX50" fmla="*/ 85427 w 258165"/>
                <a:gd name="connsiteY50" fmla="*/ 128769 h 258165"/>
                <a:gd name="connsiteX51" fmla="*/ 128769 w 258165"/>
                <a:gd name="connsiteY51" fmla="*/ 85427 h 258165"/>
                <a:gd name="connsiteX52" fmla="*/ 172110 w 258165"/>
                <a:gd name="connsiteY52" fmla="*/ 128769 h 258165"/>
                <a:gd name="connsiteX53" fmla="*/ 128769 w 258165"/>
                <a:gd name="connsiteY53" fmla="*/ 172110 h 25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165" h="258165">
                  <a:moveTo>
                    <a:pt x="258165" y="145100"/>
                  </a:moveTo>
                  <a:lnTo>
                    <a:pt x="258165" y="113065"/>
                  </a:lnTo>
                  <a:lnTo>
                    <a:pt x="238693" y="110553"/>
                  </a:lnTo>
                  <a:cubicBezTo>
                    <a:pt x="237437" y="103643"/>
                    <a:pt x="235552" y="96733"/>
                    <a:pt x="233040" y="90452"/>
                  </a:cubicBezTo>
                  <a:lnTo>
                    <a:pt x="248743" y="78517"/>
                  </a:lnTo>
                  <a:lnTo>
                    <a:pt x="232411" y="50879"/>
                  </a:lnTo>
                  <a:lnTo>
                    <a:pt x="214195" y="59045"/>
                  </a:lnTo>
                  <a:cubicBezTo>
                    <a:pt x="209798" y="53392"/>
                    <a:pt x="204773" y="48367"/>
                    <a:pt x="199120" y="43970"/>
                  </a:cubicBezTo>
                  <a:lnTo>
                    <a:pt x="207286" y="25754"/>
                  </a:lnTo>
                  <a:lnTo>
                    <a:pt x="179648" y="9422"/>
                  </a:lnTo>
                  <a:lnTo>
                    <a:pt x="167713" y="25126"/>
                  </a:lnTo>
                  <a:cubicBezTo>
                    <a:pt x="161432" y="22613"/>
                    <a:pt x="154522" y="20729"/>
                    <a:pt x="147613" y="19472"/>
                  </a:cubicBezTo>
                  <a:lnTo>
                    <a:pt x="145100" y="0"/>
                  </a:lnTo>
                  <a:lnTo>
                    <a:pt x="113065" y="0"/>
                  </a:lnTo>
                  <a:lnTo>
                    <a:pt x="110552" y="19472"/>
                  </a:lnTo>
                  <a:cubicBezTo>
                    <a:pt x="103643" y="20729"/>
                    <a:pt x="96733" y="22613"/>
                    <a:pt x="90452" y="25126"/>
                  </a:cubicBezTo>
                  <a:lnTo>
                    <a:pt x="78517" y="9422"/>
                  </a:lnTo>
                  <a:lnTo>
                    <a:pt x="50879" y="25754"/>
                  </a:lnTo>
                  <a:lnTo>
                    <a:pt x="59045" y="43970"/>
                  </a:lnTo>
                  <a:cubicBezTo>
                    <a:pt x="53392" y="48367"/>
                    <a:pt x="48367" y="53392"/>
                    <a:pt x="43970" y="59045"/>
                  </a:cubicBezTo>
                  <a:lnTo>
                    <a:pt x="25754" y="50879"/>
                  </a:lnTo>
                  <a:lnTo>
                    <a:pt x="9422" y="78517"/>
                  </a:lnTo>
                  <a:lnTo>
                    <a:pt x="25126" y="90452"/>
                  </a:lnTo>
                  <a:cubicBezTo>
                    <a:pt x="22613" y="96733"/>
                    <a:pt x="20729" y="103643"/>
                    <a:pt x="19472" y="110553"/>
                  </a:cubicBezTo>
                  <a:lnTo>
                    <a:pt x="0" y="113065"/>
                  </a:lnTo>
                  <a:lnTo>
                    <a:pt x="0" y="145100"/>
                  </a:lnTo>
                  <a:lnTo>
                    <a:pt x="19472" y="147613"/>
                  </a:lnTo>
                  <a:cubicBezTo>
                    <a:pt x="20729" y="154522"/>
                    <a:pt x="22613" y="161432"/>
                    <a:pt x="25126" y="167713"/>
                  </a:cubicBezTo>
                  <a:lnTo>
                    <a:pt x="9422" y="179648"/>
                  </a:lnTo>
                  <a:lnTo>
                    <a:pt x="25754" y="207286"/>
                  </a:lnTo>
                  <a:lnTo>
                    <a:pt x="43970" y="199120"/>
                  </a:lnTo>
                  <a:cubicBezTo>
                    <a:pt x="48367" y="204773"/>
                    <a:pt x="53392" y="209798"/>
                    <a:pt x="59045" y="214195"/>
                  </a:cubicBezTo>
                  <a:lnTo>
                    <a:pt x="50879" y="232411"/>
                  </a:lnTo>
                  <a:lnTo>
                    <a:pt x="78517" y="248743"/>
                  </a:lnTo>
                  <a:lnTo>
                    <a:pt x="90452" y="233040"/>
                  </a:lnTo>
                  <a:cubicBezTo>
                    <a:pt x="96733" y="235552"/>
                    <a:pt x="103643" y="237436"/>
                    <a:pt x="110552" y="238693"/>
                  </a:cubicBezTo>
                  <a:lnTo>
                    <a:pt x="113065" y="258165"/>
                  </a:lnTo>
                  <a:lnTo>
                    <a:pt x="145100" y="258165"/>
                  </a:lnTo>
                  <a:lnTo>
                    <a:pt x="147613" y="238693"/>
                  </a:lnTo>
                  <a:cubicBezTo>
                    <a:pt x="154522" y="237436"/>
                    <a:pt x="161432" y="235552"/>
                    <a:pt x="167713" y="233040"/>
                  </a:cubicBezTo>
                  <a:lnTo>
                    <a:pt x="179648" y="248743"/>
                  </a:lnTo>
                  <a:lnTo>
                    <a:pt x="207286" y="232411"/>
                  </a:lnTo>
                  <a:lnTo>
                    <a:pt x="199120" y="214195"/>
                  </a:lnTo>
                  <a:cubicBezTo>
                    <a:pt x="204773" y="209798"/>
                    <a:pt x="209170" y="204773"/>
                    <a:pt x="214195" y="199120"/>
                  </a:cubicBezTo>
                  <a:lnTo>
                    <a:pt x="232411" y="207286"/>
                  </a:lnTo>
                  <a:lnTo>
                    <a:pt x="248743" y="179648"/>
                  </a:lnTo>
                  <a:lnTo>
                    <a:pt x="233040" y="167713"/>
                  </a:lnTo>
                  <a:cubicBezTo>
                    <a:pt x="235552" y="161432"/>
                    <a:pt x="237437" y="154522"/>
                    <a:pt x="238693" y="147613"/>
                  </a:cubicBezTo>
                  <a:lnTo>
                    <a:pt x="258165" y="145100"/>
                  </a:lnTo>
                  <a:moveTo>
                    <a:pt x="128769" y="172110"/>
                  </a:moveTo>
                  <a:cubicBezTo>
                    <a:pt x="104899" y="172110"/>
                    <a:pt x="85427" y="152638"/>
                    <a:pt x="85427" y="128769"/>
                  </a:cubicBezTo>
                  <a:cubicBezTo>
                    <a:pt x="85427" y="104899"/>
                    <a:pt x="104899" y="85427"/>
                    <a:pt x="128769" y="85427"/>
                  </a:cubicBezTo>
                  <a:cubicBezTo>
                    <a:pt x="152638" y="85427"/>
                    <a:pt x="172110" y="104899"/>
                    <a:pt x="172110" y="128769"/>
                  </a:cubicBezTo>
                  <a:cubicBezTo>
                    <a:pt x="172110" y="152638"/>
                    <a:pt x="152638" y="172110"/>
                    <a:pt x="128769" y="172110"/>
                  </a:cubicBezTo>
                  <a:close/>
                </a:path>
              </a:pathLst>
            </a:custGeom>
            <a:solidFill>
              <a:srgbClr val="FFFFFF"/>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9" name="Group 198">
            <a:extLst>
              <a:ext uri="{FF2B5EF4-FFF2-40B4-BE49-F238E27FC236}">
                <a16:creationId xmlns:a16="http://schemas.microsoft.com/office/drawing/2014/main" id="{E2B4112D-9995-4206-9F2F-03A777B920DB}"/>
              </a:ext>
            </a:extLst>
          </p:cNvPr>
          <p:cNvGrpSpPr/>
          <p:nvPr/>
        </p:nvGrpSpPr>
        <p:grpSpPr>
          <a:xfrm>
            <a:off x="6264333" y="1323079"/>
            <a:ext cx="725026" cy="725026"/>
            <a:chOff x="3401296" y="3270110"/>
            <a:chExt cx="890073" cy="890701"/>
          </a:xfrm>
        </p:grpSpPr>
        <p:sp>
          <p:nvSpPr>
            <p:cNvPr id="221" name="Freeform: Shape 220">
              <a:extLst>
                <a:ext uri="{FF2B5EF4-FFF2-40B4-BE49-F238E27FC236}">
                  <a16:creationId xmlns:a16="http://schemas.microsoft.com/office/drawing/2014/main" id="{92B0C007-2924-4614-A3F5-BC0665CD7CE4}"/>
                </a:ext>
              </a:extLst>
            </p:cNvPr>
            <p:cNvSpPr/>
            <p:nvPr/>
          </p:nvSpPr>
          <p:spPr>
            <a:xfrm>
              <a:off x="3401296" y="3270110"/>
              <a:ext cx="890073" cy="890701"/>
            </a:xfrm>
            <a:custGeom>
              <a:avLst/>
              <a:gdLst>
                <a:gd name="connsiteX0" fmla="*/ 890073 w 890073"/>
                <a:gd name="connsiteY0" fmla="*/ 445351 h 890701"/>
                <a:gd name="connsiteX1" fmla="*/ 444722 w 890073"/>
                <a:gd name="connsiteY1" fmla="*/ 890701 h 890701"/>
                <a:gd name="connsiteX2" fmla="*/ 0 w 890073"/>
                <a:gd name="connsiteY2" fmla="*/ 445351 h 890701"/>
                <a:gd name="connsiteX3" fmla="*/ 445351 w 890073"/>
                <a:gd name="connsiteY3" fmla="*/ 0 h 890701"/>
                <a:gd name="connsiteX4" fmla="*/ 890073 w 890073"/>
                <a:gd name="connsiteY4" fmla="*/ 445351 h 890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73" h="890701">
                  <a:moveTo>
                    <a:pt x="890073" y="445351"/>
                  </a:moveTo>
                  <a:cubicBezTo>
                    <a:pt x="890073" y="690953"/>
                    <a:pt x="690953" y="890701"/>
                    <a:pt x="444722" y="890701"/>
                  </a:cubicBezTo>
                  <a:cubicBezTo>
                    <a:pt x="199120" y="890073"/>
                    <a:pt x="0" y="690953"/>
                    <a:pt x="0" y="445351"/>
                  </a:cubicBezTo>
                  <a:cubicBezTo>
                    <a:pt x="0" y="199748"/>
                    <a:pt x="199120" y="0"/>
                    <a:pt x="445351" y="0"/>
                  </a:cubicBezTo>
                  <a:cubicBezTo>
                    <a:pt x="690953" y="0"/>
                    <a:pt x="890073" y="199120"/>
                    <a:pt x="890073" y="445351"/>
                  </a:cubicBezTo>
                </a:path>
              </a:pathLst>
            </a:custGeom>
            <a:solidFill>
              <a:schemeClr val="accent1"/>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 name="Freeform: Shape 221">
              <a:extLst>
                <a:ext uri="{FF2B5EF4-FFF2-40B4-BE49-F238E27FC236}">
                  <a16:creationId xmlns:a16="http://schemas.microsoft.com/office/drawing/2014/main" id="{01463C87-871B-4ACD-B957-76999D5E712A}"/>
                </a:ext>
              </a:extLst>
            </p:cNvPr>
            <p:cNvSpPr/>
            <p:nvPr/>
          </p:nvSpPr>
          <p:spPr>
            <a:xfrm>
              <a:off x="3579059" y="3435939"/>
              <a:ext cx="466079" cy="530777"/>
            </a:xfrm>
            <a:custGeom>
              <a:avLst/>
              <a:gdLst>
                <a:gd name="connsiteX0" fmla="*/ 466079 w 466079"/>
                <a:gd name="connsiteY0" fmla="*/ 98618 h 530777"/>
                <a:gd name="connsiteX1" fmla="*/ 466079 w 466079"/>
                <a:gd name="connsiteY1" fmla="*/ 530778 h 530777"/>
                <a:gd name="connsiteX2" fmla="*/ 0 w 466079"/>
                <a:gd name="connsiteY2" fmla="*/ 495602 h 530777"/>
                <a:gd name="connsiteX3" fmla="*/ 0 w 466079"/>
                <a:gd name="connsiteY3" fmla="*/ 63442 h 530777"/>
                <a:gd name="connsiteX4" fmla="*/ 54648 w 466079"/>
                <a:gd name="connsiteY4" fmla="*/ 628 h 530777"/>
                <a:gd name="connsiteX5" fmla="*/ 63442 w 466079"/>
                <a:gd name="connsiteY5" fmla="*/ 0 h 530777"/>
                <a:gd name="connsiteX6" fmla="*/ 126884 w 466079"/>
                <a:gd name="connsiteY6" fmla="*/ 63442 h 530777"/>
                <a:gd name="connsiteX7" fmla="*/ 126256 w 466079"/>
                <a:gd name="connsiteY7" fmla="*/ 70980 h 530777"/>
                <a:gd name="connsiteX8" fmla="*/ 437813 w 466079"/>
                <a:gd name="connsiteY8" fmla="*/ 70980 h 530777"/>
                <a:gd name="connsiteX9" fmla="*/ 457913 w 466079"/>
                <a:gd name="connsiteY9" fmla="*/ 79146 h 530777"/>
                <a:gd name="connsiteX10" fmla="*/ 466079 w 466079"/>
                <a:gd name="connsiteY10" fmla="*/ 98618 h 530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6079" h="530777">
                  <a:moveTo>
                    <a:pt x="466079" y="98618"/>
                  </a:moveTo>
                  <a:lnTo>
                    <a:pt x="466079" y="530778"/>
                  </a:lnTo>
                  <a:lnTo>
                    <a:pt x="0" y="495602"/>
                  </a:lnTo>
                  <a:lnTo>
                    <a:pt x="0" y="63442"/>
                  </a:lnTo>
                  <a:cubicBezTo>
                    <a:pt x="0" y="31407"/>
                    <a:pt x="23869" y="4397"/>
                    <a:pt x="54648" y="628"/>
                  </a:cubicBezTo>
                  <a:cubicBezTo>
                    <a:pt x="57161" y="0"/>
                    <a:pt x="60301" y="0"/>
                    <a:pt x="63442" y="0"/>
                  </a:cubicBezTo>
                  <a:cubicBezTo>
                    <a:pt x="98618" y="0"/>
                    <a:pt x="126884" y="28266"/>
                    <a:pt x="126884" y="63442"/>
                  </a:cubicBezTo>
                  <a:cubicBezTo>
                    <a:pt x="126884" y="65955"/>
                    <a:pt x="126884" y="68467"/>
                    <a:pt x="126256" y="70980"/>
                  </a:cubicBezTo>
                  <a:lnTo>
                    <a:pt x="437813" y="70980"/>
                  </a:lnTo>
                  <a:cubicBezTo>
                    <a:pt x="445351" y="70980"/>
                    <a:pt x="452888" y="74120"/>
                    <a:pt x="457913" y="79146"/>
                  </a:cubicBezTo>
                  <a:cubicBezTo>
                    <a:pt x="462938" y="84171"/>
                    <a:pt x="466079" y="91080"/>
                    <a:pt x="466079" y="98618"/>
                  </a:cubicBezTo>
                </a:path>
              </a:pathLst>
            </a:custGeom>
            <a:solidFill>
              <a:srgbClr val="FFFFFF"/>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 name="Freeform: Shape 222">
              <a:extLst>
                <a:ext uri="{FF2B5EF4-FFF2-40B4-BE49-F238E27FC236}">
                  <a16:creationId xmlns:a16="http://schemas.microsoft.com/office/drawing/2014/main" id="{8FA2ABDA-2BC1-4554-81CB-8208EE46A423}"/>
                </a:ext>
              </a:extLst>
            </p:cNvPr>
            <p:cNvSpPr/>
            <p:nvPr/>
          </p:nvSpPr>
          <p:spPr>
            <a:xfrm>
              <a:off x="3579059" y="3436567"/>
              <a:ext cx="55276" cy="498742"/>
            </a:xfrm>
            <a:custGeom>
              <a:avLst/>
              <a:gdLst>
                <a:gd name="connsiteX0" fmla="*/ 55276 w 55276"/>
                <a:gd name="connsiteY0" fmla="*/ 0 h 498742"/>
                <a:gd name="connsiteX1" fmla="*/ 55276 w 55276"/>
                <a:gd name="connsiteY1" fmla="*/ 498742 h 498742"/>
                <a:gd name="connsiteX2" fmla="*/ 0 w 55276"/>
                <a:gd name="connsiteY2" fmla="*/ 494345 h 498742"/>
                <a:gd name="connsiteX3" fmla="*/ 0 w 55276"/>
                <a:gd name="connsiteY3" fmla="*/ 62814 h 498742"/>
                <a:gd name="connsiteX4" fmla="*/ 55276 w 55276"/>
                <a:gd name="connsiteY4" fmla="*/ 0 h 498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76" h="498742">
                  <a:moveTo>
                    <a:pt x="55276" y="0"/>
                  </a:moveTo>
                  <a:lnTo>
                    <a:pt x="55276" y="498742"/>
                  </a:lnTo>
                  <a:lnTo>
                    <a:pt x="0" y="494345"/>
                  </a:lnTo>
                  <a:lnTo>
                    <a:pt x="0" y="62814"/>
                  </a:lnTo>
                  <a:cubicBezTo>
                    <a:pt x="0" y="30779"/>
                    <a:pt x="23869" y="4397"/>
                    <a:pt x="55276" y="0"/>
                  </a:cubicBezTo>
                </a:path>
              </a:pathLst>
            </a:custGeom>
            <a:solidFill>
              <a:srgbClr val="C6D4E0"/>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 name="Freeform: Shape 224">
              <a:extLst>
                <a:ext uri="{FF2B5EF4-FFF2-40B4-BE49-F238E27FC236}">
                  <a16:creationId xmlns:a16="http://schemas.microsoft.com/office/drawing/2014/main" id="{9E5456F8-FDE1-488A-96F6-320254A0BCB6}"/>
                </a:ext>
              </a:extLst>
            </p:cNvPr>
            <p:cNvSpPr/>
            <p:nvPr/>
          </p:nvSpPr>
          <p:spPr>
            <a:xfrm>
              <a:off x="3578973" y="3868011"/>
              <a:ext cx="466164" cy="126343"/>
            </a:xfrm>
            <a:custGeom>
              <a:avLst/>
              <a:gdLst>
                <a:gd name="connsiteX0" fmla="*/ 466165 w 466164"/>
                <a:gd name="connsiteY0" fmla="*/ 98705 h 126343"/>
                <a:gd name="connsiteX1" fmla="*/ 466165 w 466164"/>
                <a:gd name="connsiteY1" fmla="*/ 102474 h 126343"/>
                <a:gd name="connsiteX2" fmla="*/ 255738 w 466164"/>
                <a:gd name="connsiteY2" fmla="*/ 102474 h 126343"/>
                <a:gd name="connsiteX3" fmla="*/ 231869 w 466164"/>
                <a:gd name="connsiteY3" fmla="*/ 126343 h 126343"/>
                <a:gd name="connsiteX4" fmla="*/ 63528 w 466164"/>
                <a:gd name="connsiteY4" fmla="*/ 126343 h 126343"/>
                <a:gd name="connsiteX5" fmla="*/ 85 w 466164"/>
                <a:gd name="connsiteY5" fmla="*/ 60389 h 126343"/>
                <a:gd name="connsiteX6" fmla="*/ 60387 w 466164"/>
                <a:gd name="connsiteY6" fmla="*/ 87 h 126343"/>
                <a:gd name="connsiteX7" fmla="*/ 126970 w 466164"/>
                <a:gd name="connsiteY7" fmla="*/ 63529 h 126343"/>
                <a:gd name="connsiteX8" fmla="*/ 126341 w 466164"/>
                <a:gd name="connsiteY8" fmla="*/ 71067 h 126343"/>
                <a:gd name="connsiteX9" fmla="*/ 437898 w 466164"/>
                <a:gd name="connsiteY9" fmla="*/ 71067 h 126343"/>
                <a:gd name="connsiteX10" fmla="*/ 457999 w 466164"/>
                <a:gd name="connsiteY10" fmla="*/ 79233 h 126343"/>
                <a:gd name="connsiteX11" fmla="*/ 466165 w 466164"/>
                <a:gd name="connsiteY11" fmla="*/ 98705 h 126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164" h="126343">
                  <a:moveTo>
                    <a:pt x="466165" y="98705"/>
                  </a:moveTo>
                  <a:cubicBezTo>
                    <a:pt x="466165" y="99961"/>
                    <a:pt x="466165" y="101218"/>
                    <a:pt x="466165" y="102474"/>
                  </a:cubicBezTo>
                  <a:lnTo>
                    <a:pt x="255738" y="102474"/>
                  </a:lnTo>
                  <a:cubicBezTo>
                    <a:pt x="255738" y="115665"/>
                    <a:pt x="245060" y="126343"/>
                    <a:pt x="231869" y="126343"/>
                  </a:cubicBezTo>
                  <a:lnTo>
                    <a:pt x="63528" y="126343"/>
                  </a:lnTo>
                  <a:cubicBezTo>
                    <a:pt x="27724" y="126343"/>
                    <a:pt x="-1799" y="96193"/>
                    <a:pt x="85" y="60389"/>
                  </a:cubicBezTo>
                  <a:cubicBezTo>
                    <a:pt x="1342" y="27725"/>
                    <a:pt x="28352" y="1972"/>
                    <a:pt x="60387" y="87"/>
                  </a:cubicBezTo>
                  <a:cubicBezTo>
                    <a:pt x="96819" y="-1797"/>
                    <a:pt x="126970" y="27097"/>
                    <a:pt x="126970" y="63529"/>
                  </a:cubicBezTo>
                  <a:cubicBezTo>
                    <a:pt x="126970" y="66042"/>
                    <a:pt x="126970" y="68555"/>
                    <a:pt x="126341" y="71067"/>
                  </a:cubicBezTo>
                  <a:lnTo>
                    <a:pt x="437898" y="71067"/>
                  </a:lnTo>
                  <a:cubicBezTo>
                    <a:pt x="445436" y="71067"/>
                    <a:pt x="452974" y="74208"/>
                    <a:pt x="457999" y="79233"/>
                  </a:cubicBezTo>
                  <a:cubicBezTo>
                    <a:pt x="463024" y="83630"/>
                    <a:pt x="466165" y="90539"/>
                    <a:pt x="466165" y="98705"/>
                  </a:cubicBezTo>
                </a:path>
              </a:pathLst>
            </a:custGeom>
            <a:solidFill>
              <a:srgbClr val="C6D4E0"/>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 name="Freeform: Shape 225">
              <a:extLst>
                <a:ext uri="{FF2B5EF4-FFF2-40B4-BE49-F238E27FC236}">
                  <a16:creationId xmlns:a16="http://schemas.microsoft.com/office/drawing/2014/main" id="{F5F33290-0C75-4D1D-A9DF-16723DCA8257}"/>
                </a:ext>
              </a:extLst>
            </p:cNvPr>
            <p:cNvSpPr/>
            <p:nvPr/>
          </p:nvSpPr>
          <p:spPr>
            <a:xfrm>
              <a:off x="3742375" y="3755033"/>
              <a:ext cx="263190" cy="145728"/>
            </a:xfrm>
            <a:custGeom>
              <a:avLst/>
              <a:gdLst>
                <a:gd name="connsiteX0" fmla="*/ 234924 w 263190"/>
                <a:gd name="connsiteY0" fmla="*/ 0 h 145728"/>
                <a:gd name="connsiteX1" fmla="*/ 28894 w 263190"/>
                <a:gd name="connsiteY1" fmla="*/ 0 h 145728"/>
                <a:gd name="connsiteX2" fmla="*/ 0 w 263190"/>
                <a:gd name="connsiteY2" fmla="*/ 28894 h 145728"/>
                <a:gd name="connsiteX3" fmla="*/ 0 w 263190"/>
                <a:gd name="connsiteY3" fmla="*/ 116834 h 145728"/>
                <a:gd name="connsiteX4" fmla="*/ 28894 w 263190"/>
                <a:gd name="connsiteY4" fmla="*/ 145728 h 145728"/>
                <a:gd name="connsiteX5" fmla="*/ 234296 w 263190"/>
                <a:gd name="connsiteY5" fmla="*/ 145728 h 145728"/>
                <a:gd name="connsiteX6" fmla="*/ 263190 w 263190"/>
                <a:gd name="connsiteY6" fmla="*/ 116834 h 145728"/>
                <a:gd name="connsiteX7" fmla="*/ 263190 w 263190"/>
                <a:gd name="connsiteY7" fmla="*/ 28894 h 145728"/>
                <a:gd name="connsiteX8" fmla="*/ 234924 w 263190"/>
                <a:gd name="connsiteY8" fmla="*/ 0 h 14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190" h="145728">
                  <a:moveTo>
                    <a:pt x="234924" y="0"/>
                  </a:moveTo>
                  <a:lnTo>
                    <a:pt x="28894" y="0"/>
                  </a:lnTo>
                  <a:cubicBezTo>
                    <a:pt x="13191" y="0"/>
                    <a:pt x="0" y="12563"/>
                    <a:pt x="0" y="28894"/>
                  </a:cubicBezTo>
                  <a:lnTo>
                    <a:pt x="0" y="116834"/>
                  </a:lnTo>
                  <a:cubicBezTo>
                    <a:pt x="0" y="132537"/>
                    <a:pt x="12563" y="145728"/>
                    <a:pt x="28894" y="145728"/>
                  </a:cubicBezTo>
                  <a:lnTo>
                    <a:pt x="234296" y="145728"/>
                  </a:lnTo>
                  <a:cubicBezTo>
                    <a:pt x="249999" y="145728"/>
                    <a:pt x="263190" y="133166"/>
                    <a:pt x="263190" y="116834"/>
                  </a:cubicBezTo>
                  <a:lnTo>
                    <a:pt x="263190" y="28894"/>
                  </a:lnTo>
                  <a:cubicBezTo>
                    <a:pt x="263190" y="12563"/>
                    <a:pt x="250627" y="0"/>
                    <a:pt x="234924" y="0"/>
                  </a:cubicBezTo>
                </a:path>
              </a:pathLst>
            </a:custGeom>
            <a:solidFill>
              <a:schemeClr val="accent2"/>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 name="Freeform: Shape 226">
              <a:extLst>
                <a:ext uri="{FF2B5EF4-FFF2-40B4-BE49-F238E27FC236}">
                  <a16:creationId xmlns:a16="http://schemas.microsoft.com/office/drawing/2014/main" id="{623AAE12-A42F-42AA-9110-7EC1F41D14CF}"/>
                </a:ext>
              </a:extLst>
            </p:cNvPr>
            <p:cNvSpPr/>
            <p:nvPr/>
          </p:nvSpPr>
          <p:spPr>
            <a:xfrm>
              <a:off x="3735465" y="3549004"/>
              <a:ext cx="125696" cy="17587"/>
            </a:xfrm>
            <a:custGeom>
              <a:avLst/>
              <a:gdLst>
                <a:gd name="connsiteX0" fmla="*/ 117462 w 125696"/>
                <a:gd name="connsiteY0" fmla="*/ 17588 h 17587"/>
                <a:gd name="connsiteX1" fmla="*/ 8166 w 125696"/>
                <a:gd name="connsiteY1" fmla="*/ 17588 h 17587"/>
                <a:gd name="connsiteX2" fmla="*/ 0 w 125696"/>
                <a:gd name="connsiteY2" fmla="*/ 8794 h 17587"/>
                <a:gd name="connsiteX3" fmla="*/ 8166 w 125696"/>
                <a:gd name="connsiteY3" fmla="*/ 0 h 17587"/>
                <a:gd name="connsiteX4" fmla="*/ 117462 w 125696"/>
                <a:gd name="connsiteY4" fmla="*/ 0 h 17587"/>
                <a:gd name="connsiteX5" fmla="*/ 125628 w 125696"/>
                <a:gd name="connsiteY5" fmla="*/ 8794 h 17587"/>
                <a:gd name="connsiteX6" fmla="*/ 117462 w 125696"/>
                <a:gd name="connsiteY6" fmla="*/ 17588 h 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96" h="17587">
                  <a:moveTo>
                    <a:pt x="117462" y="17588"/>
                  </a:moveTo>
                  <a:lnTo>
                    <a:pt x="8166" y="17588"/>
                  </a:lnTo>
                  <a:cubicBezTo>
                    <a:pt x="3769" y="17588"/>
                    <a:pt x="0" y="13819"/>
                    <a:pt x="0" y="8794"/>
                  </a:cubicBezTo>
                  <a:cubicBezTo>
                    <a:pt x="0" y="4397"/>
                    <a:pt x="3769" y="0"/>
                    <a:pt x="8166" y="0"/>
                  </a:cubicBezTo>
                  <a:lnTo>
                    <a:pt x="117462" y="0"/>
                  </a:lnTo>
                  <a:cubicBezTo>
                    <a:pt x="121859" y="0"/>
                    <a:pt x="125628" y="3769"/>
                    <a:pt x="125628" y="8794"/>
                  </a:cubicBezTo>
                  <a:cubicBezTo>
                    <a:pt x="126256" y="13819"/>
                    <a:pt x="122487" y="17588"/>
                    <a:pt x="117462" y="17588"/>
                  </a:cubicBezTo>
                </a:path>
              </a:pathLst>
            </a:custGeom>
            <a:solidFill>
              <a:schemeClr val="accent2"/>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 name="Freeform: Shape 227">
              <a:extLst>
                <a:ext uri="{FF2B5EF4-FFF2-40B4-BE49-F238E27FC236}">
                  <a16:creationId xmlns:a16="http://schemas.microsoft.com/office/drawing/2014/main" id="{2FFC1230-48BE-4EFA-874D-27A99A339BC2}"/>
                </a:ext>
              </a:extLst>
            </p:cNvPr>
            <p:cNvSpPr/>
            <p:nvPr/>
          </p:nvSpPr>
          <p:spPr>
            <a:xfrm>
              <a:off x="3735465" y="3586064"/>
              <a:ext cx="125627" cy="17587"/>
            </a:xfrm>
            <a:custGeom>
              <a:avLst/>
              <a:gdLst>
                <a:gd name="connsiteX0" fmla="*/ 117462 w 125627"/>
                <a:gd name="connsiteY0" fmla="*/ 17588 h 17587"/>
                <a:gd name="connsiteX1" fmla="*/ 8166 w 125627"/>
                <a:gd name="connsiteY1" fmla="*/ 17588 h 17587"/>
                <a:gd name="connsiteX2" fmla="*/ 0 w 125627"/>
                <a:gd name="connsiteY2" fmla="*/ 8794 h 17587"/>
                <a:gd name="connsiteX3" fmla="*/ 8166 w 125627"/>
                <a:gd name="connsiteY3" fmla="*/ 0 h 17587"/>
                <a:gd name="connsiteX4" fmla="*/ 117462 w 125627"/>
                <a:gd name="connsiteY4" fmla="*/ 0 h 17587"/>
                <a:gd name="connsiteX5" fmla="*/ 125628 w 125627"/>
                <a:gd name="connsiteY5" fmla="*/ 8794 h 17587"/>
                <a:gd name="connsiteX6" fmla="*/ 117462 w 125627"/>
                <a:gd name="connsiteY6" fmla="*/ 17588 h 1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27" h="17587">
                  <a:moveTo>
                    <a:pt x="117462" y="17588"/>
                  </a:moveTo>
                  <a:lnTo>
                    <a:pt x="8166" y="17588"/>
                  </a:lnTo>
                  <a:cubicBezTo>
                    <a:pt x="3769" y="17588"/>
                    <a:pt x="0" y="13819"/>
                    <a:pt x="0" y="8794"/>
                  </a:cubicBezTo>
                  <a:cubicBezTo>
                    <a:pt x="0" y="3769"/>
                    <a:pt x="3769" y="0"/>
                    <a:pt x="8166" y="0"/>
                  </a:cubicBezTo>
                  <a:lnTo>
                    <a:pt x="117462" y="0"/>
                  </a:lnTo>
                  <a:cubicBezTo>
                    <a:pt x="121859" y="0"/>
                    <a:pt x="125628" y="3769"/>
                    <a:pt x="125628" y="8794"/>
                  </a:cubicBezTo>
                  <a:cubicBezTo>
                    <a:pt x="125628" y="13819"/>
                    <a:pt x="122487" y="17588"/>
                    <a:pt x="117462" y="17588"/>
                  </a:cubicBezTo>
                </a:path>
              </a:pathLst>
            </a:custGeom>
            <a:solidFill>
              <a:schemeClr val="accent2"/>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 name="Freeform: Shape 228">
              <a:extLst>
                <a:ext uri="{FF2B5EF4-FFF2-40B4-BE49-F238E27FC236}">
                  <a16:creationId xmlns:a16="http://schemas.microsoft.com/office/drawing/2014/main" id="{8A83FB25-B281-4293-AD78-3D2930766C2E}"/>
                </a:ext>
              </a:extLst>
            </p:cNvPr>
            <p:cNvSpPr/>
            <p:nvPr/>
          </p:nvSpPr>
          <p:spPr>
            <a:xfrm>
              <a:off x="3735465" y="3624381"/>
              <a:ext cx="125696" cy="16331"/>
            </a:xfrm>
            <a:custGeom>
              <a:avLst/>
              <a:gdLst>
                <a:gd name="connsiteX0" fmla="*/ 117462 w 125696"/>
                <a:gd name="connsiteY0" fmla="*/ 16332 h 16331"/>
                <a:gd name="connsiteX1" fmla="*/ 8166 w 125696"/>
                <a:gd name="connsiteY1" fmla="*/ 16332 h 16331"/>
                <a:gd name="connsiteX2" fmla="*/ 0 w 125696"/>
                <a:gd name="connsiteY2" fmla="*/ 8166 h 16331"/>
                <a:gd name="connsiteX3" fmla="*/ 8166 w 125696"/>
                <a:gd name="connsiteY3" fmla="*/ 0 h 16331"/>
                <a:gd name="connsiteX4" fmla="*/ 117462 w 125696"/>
                <a:gd name="connsiteY4" fmla="*/ 0 h 16331"/>
                <a:gd name="connsiteX5" fmla="*/ 125628 w 125696"/>
                <a:gd name="connsiteY5" fmla="*/ 8166 h 16331"/>
                <a:gd name="connsiteX6" fmla="*/ 117462 w 125696"/>
                <a:gd name="connsiteY6" fmla="*/ 16332 h 16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96" h="16331">
                  <a:moveTo>
                    <a:pt x="117462" y="16332"/>
                  </a:moveTo>
                  <a:lnTo>
                    <a:pt x="8166" y="16332"/>
                  </a:lnTo>
                  <a:cubicBezTo>
                    <a:pt x="3769" y="16332"/>
                    <a:pt x="0" y="12563"/>
                    <a:pt x="0" y="8166"/>
                  </a:cubicBezTo>
                  <a:cubicBezTo>
                    <a:pt x="0" y="3769"/>
                    <a:pt x="3769" y="0"/>
                    <a:pt x="8166" y="0"/>
                  </a:cubicBezTo>
                  <a:lnTo>
                    <a:pt x="117462" y="0"/>
                  </a:lnTo>
                  <a:cubicBezTo>
                    <a:pt x="121859" y="0"/>
                    <a:pt x="125628" y="3769"/>
                    <a:pt x="125628" y="8166"/>
                  </a:cubicBezTo>
                  <a:cubicBezTo>
                    <a:pt x="126256" y="12563"/>
                    <a:pt x="122487" y="16332"/>
                    <a:pt x="117462" y="16332"/>
                  </a:cubicBezTo>
                </a:path>
              </a:pathLst>
            </a:custGeom>
            <a:solidFill>
              <a:schemeClr val="accent2"/>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 name="Freeform: Shape 229">
              <a:extLst>
                <a:ext uri="{FF2B5EF4-FFF2-40B4-BE49-F238E27FC236}">
                  <a16:creationId xmlns:a16="http://schemas.microsoft.com/office/drawing/2014/main" id="{A3946720-E2C2-494F-8A36-681785EE2B11}"/>
                </a:ext>
              </a:extLst>
            </p:cNvPr>
            <p:cNvSpPr/>
            <p:nvPr/>
          </p:nvSpPr>
          <p:spPr>
            <a:xfrm>
              <a:off x="3735465" y="3661441"/>
              <a:ext cx="125696" cy="17588"/>
            </a:xfrm>
            <a:custGeom>
              <a:avLst/>
              <a:gdLst>
                <a:gd name="connsiteX0" fmla="*/ 117462 w 125696"/>
                <a:gd name="connsiteY0" fmla="*/ 17588 h 17588"/>
                <a:gd name="connsiteX1" fmla="*/ 8166 w 125696"/>
                <a:gd name="connsiteY1" fmla="*/ 17588 h 17588"/>
                <a:gd name="connsiteX2" fmla="*/ 0 w 125696"/>
                <a:gd name="connsiteY2" fmla="*/ 8794 h 17588"/>
                <a:gd name="connsiteX3" fmla="*/ 8166 w 125696"/>
                <a:gd name="connsiteY3" fmla="*/ 0 h 17588"/>
                <a:gd name="connsiteX4" fmla="*/ 117462 w 125696"/>
                <a:gd name="connsiteY4" fmla="*/ 0 h 17588"/>
                <a:gd name="connsiteX5" fmla="*/ 125628 w 125696"/>
                <a:gd name="connsiteY5" fmla="*/ 8794 h 17588"/>
                <a:gd name="connsiteX6" fmla="*/ 117462 w 125696"/>
                <a:gd name="connsiteY6" fmla="*/ 17588 h 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96" h="17588">
                  <a:moveTo>
                    <a:pt x="117462" y="17588"/>
                  </a:moveTo>
                  <a:lnTo>
                    <a:pt x="8166" y="17588"/>
                  </a:lnTo>
                  <a:cubicBezTo>
                    <a:pt x="3769" y="17588"/>
                    <a:pt x="0" y="13819"/>
                    <a:pt x="0" y="8794"/>
                  </a:cubicBezTo>
                  <a:cubicBezTo>
                    <a:pt x="0" y="4397"/>
                    <a:pt x="3769" y="0"/>
                    <a:pt x="8166" y="0"/>
                  </a:cubicBezTo>
                  <a:lnTo>
                    <a:pt x="117462" y="0"/>
                  </a:lnTo>
                  <a:cubicBezTo>
                    <a:pt x="121859" y="0"/>
                    <a:pt x="125628" y="3769"/>
                    <a:pt x="125628" y="8794"/>
                  </a:cubicBezTo>
                  <a:cubicBezTo>
                    <a:pt x="126256" y="13191"/>
                    <a:pt x="122487" y="17588"/>
                    <a:pt x="117462" y="17588"/>
                  </a:cubicBezTo>
                </a:path>
              </a:pathLst>
            </a:custGeom>
            <a:solidFill>
              <a:schemeClr val="accent2"/>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 name="Freeform: Shape 230">
              <a:extLst>
                <a:ext uri="{FF2B5EF4-FFF2-40B4-BE49-F238E27FC236}">
                  <a16:creationId xmlns:a16="http://schemas.microsoft.com/office/drawing/2014/main" id="{FF1E86E1-1BE6-40A8-B81A-EC123FE99BAF}"/>
                </a:ext>
              </a:extLst>
            </p:cNvPr>
            <p:cNvSpPr/>
            <p:nvPr/>
          </p:nvSpPr>
          <p:spPr>
            <a:xfrm>
              <a:off x="3735465" y="3698501"/>
              <a:ext cx="125627" cy="17588"/>
            </a:xfrm>
            <a:custGeom>
              <a:avLst/>
              <a:gdLst>
                <a:gd name="connsiteX0" fmla="*/ 117462 w 125627"/>
                <a:gd name="connsiteY0" fmla="*/ 17588 h 17588"/>
                <a:gd name="connsiteX1" fmla="*/ 8166 w 125627"/>
                <a:gd name="connsiteY1" fmla="*/ 17588 h 17588"/>
                <a:gd name="connsiteX2" fmla="*/ 0 w 125627"/>
                <a:gd name="connsiteY2" fmla="*/ 8794 h 17588"/>
                <a:gd name="connsiteX3" fmla="*/ 8166 w 125627"/>
                <a:gd name="connsiteY3" fmla="*/ 0 h 17588"/>
                <a:gd name="connsiteX4" fmla="*/ 117462 w 125627"/>
                <a:gd name="connsiteY4" fmla="*/ 0 h 17588"/>
                <a:gd name="connsiteX5" fmla="*/ 125628 w 125627"/>
                <a:gd name="connsiteY5" fmla="*/ 8794 h 17588"/>
                <a:gd name="connsiteX6" fmla="*/ 117462 w 125627"/>
                <a:gd name="connsiteY6" fmla="*/ 17588 h 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27" h="17588">
                  <a:moveTo>
                    <a:pt x="117462" y="17588"/>
                  </a:moveTo>
                  <a:lnTo>
                    <a:pt x="8166" y="17588"/>
                  </a:lnTo>
                  <a:cubicBezTo>
                    <a:pt x="3769" y="17588"/>
                    <a:pt x="0" y="13819"/>
                    <a:pt x="0" y="8794"/>
                  </a:cubicBezTo>
                  <a:cubicBezTo>
                    <a:pt x="0" y="3769"/>
                    <a:pt x="3769" y="0"/>
                    <a:pt x="8166" y="0"/>
                  </a:cubicBezTo>
                  <a:lnTo>
                    <a:pt x="117462" y="0"/>
                  </a:lnTo>
                  <a:cubicBezTo>
                    <a:pt x="121859" y="0"/>
                    <a:pt x="125628" y="3769"/>
                    <a:pt x="125628" y="8794"/>
                  </a:cubicBezTo>
                  <a:cubicBezTo>
                    <a:pt x="125628" y="13819"/>
                    <a:pt x="122487" y="17588"/>
                    <a:pt x="117462" y="17588"/>
                  </a:cubicBezTo>
                </a:path>
              </a:pathLst>
            </a:custGeom>
            <a:solidFill>
              <a:schemeClr val="accent2"/>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 name="Freeform: Shape 231">
              <a:extLst>
                <a:ext uri="{FF2B5EF4-FFF2-40B4-BE49-F238E27FC236}">
                  <a16:creationId xmlns:a16="http://schemas.microsoft.com/office/drawing/2014/main" id="{ECF9943A-6463-4C96-A54C-AABC8E0A3A49}"/>
                </a:ext>
              </a:extLst>
            </p:cNvPr>
            <p:cNvSpPr/>
            <p:nvPr/>
          </p:nvSpPr>
          <p:spPr>
            <a:xfrm>
              <a:off x="3705943" y="3506290"/>
              <a:ext cx="20100" cy="442209"/>
            </a:xfrm>
            <a:custGeom>
              <a:avLst/>
              <a:gdLst>
                <a:gd name="connsiteX0" fmla="*/ 0 w 20100"/>
                <a:gd name="connsiteY0" fmla="*/ 0 h 442209"/>
                <a:gd name="connsiteX1" fmla="*/ 20100 w 20100"/>
                <a:gd name="connsiteY1" fmla="*/ 0 h 442209"/>
                <a:gd name="connsiteX2" fmla="*/ 20100 w 20100"/>
                <a:gd name="connsiteY2" fmla="*/ 442210 h 442209"/>
                <a:gd name="connsiteX3" fmla="*/ 0 w 20100"/>
                <a:gd name="connsiteY3" fmla="*/ 442210 h 442209"/>
              </a:gdLst>
              <a:ahLst/>
              <a:cxnLst>
                <a:cxn ang="0">
                  <a:pos x="connsiteX0" y="connsiteY0"/>
                </a:cxn>
                <a:cxn ang="0">
                  <a:pos x="connsiteX1" y="connsiteY1"/>
                </a:cxn>
                <a:cxn ang="0">
                  <a:pos x="connsiteX2" y="connsiteY2"/>
                </a:cxn>
                <a:cxn ang="0">
                  <a:pos x="connsiteX3" y="connsiteY3"/>
                </a:cxn>
              </a:cxnLst>
              <a:rect l="l" t="t" r="r" b="b"/>
              <a:pathLst>
                <a:path w="20100" h="442209">
                  <a:moveTo>
                    <a:pt x="0" y="0"/>
                  </a:moveTo>
                  <a:lnTo>
                    <a:pt x="20100" y="0"/>
                  </a:lnTo>
                  <a:lnTo>
                    <a:pt x="20100" y="442210"/>
                  </a:lnTo>
                  <a:lnTo>
                    <a:pt x="0" y="442210"/>
                  </a:lnTo>
                  <a:close/>
                </a:path>
              </a:pathLst>
            </a:custGeom>
            <a:solidFill>
              <a:srgbClr val="C6D4E0"/>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 name="Freeform: Shape 232">
              <a:extLst>
                <a:ext uri="{FF2B5EF4-FFF2-40B4-BE49-F238E27FC236}">
                  <a16:creationId xmlns:a16="http://schemas.microsoft.com/office/drawing/2014/main" id="{8141FA38-A5F3-4721-AC07-9C84DF951ACD}"/>
                </a:ext>
              </a:extLst>
            </p:cNvPr>
            <p:cNvSpPr/>
            <p:nvPr/>
          </p:nvSpPr>
          <p:spPr>
            <a:xfrm>
              <a:off x="3901294" y="3464205"/>
              <a:ext cx="212311" cy="212939"/>
            </a:xfrm>
            <a:custGeom>
              <a:avLst/>
              <a:gdLst>
                <a:gd name="connsiteX0" fmla="*/ 212311 w 212311"/>
                <a:gd name="connsiteY0" fmla="*/ 106155 h 212939"/>
                <a:gd name="connsiteX1" fmla="*/ 106156 w 212311"/>
                <a:gd name="connsiteY1" fmla="*/ 212939 h 212939"/>
                <a:gd name="connsiteX2" fmla="*/ 0 w 212311"/>
                <a:gd name="connsiteY2" fmla="*/ 106155 h 212939"/>
                <a:gd name="connsiteX3" fmla="*/ 106156 w 212311"/>
                <a:gd name="connsiteY3" fmla="*/ 0 h 212939"/>
                <a:gd name="connsiteX4" fmla="*/ 212311 w 212311"/>
                <a:gd name="connsiteY4" fmla="*/ 106155 h 212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311" h="212939">
                  <a:moveTo>
                    <a:pt x="212311" y="106155"/>
                  </a:moveTo>
                  <a:cubicBezTo>
                    <a:pt x="212311" y="165201"/>
                    <a:pt x="164572" y="212939"/>
                    <a:pt x="106156" y="212939"/>
                  </a:cubicBezTo>
                  <a:cubicBezTo>
                    <a:pt x="47739" y="212939"/>
                    <a:pt x="0" y="165201"/>
                    <a:pt x="0" y="106155"/>
                  </a:cubicBezTo>
                  <a:cubicBezTo>
                    <a:pt x="0" y="47110"/>
                    <a:pt x="47739" y="0"/>
                    <a:pt x="106156" y="0"/>
                  </a:cubicBezTo>
                  <a:cubicBezTo>
                    <a:pt x="165201" y="0"/>
                    <a:pt x="212311" y="47110"/>
                    <a:pt x="212311" y="106155"/>
                  </a:cubicBezTo>
                </a:path>
              </a:pathLst>
            </a:custGeom>
            <a:solidFill>
              <a:schemeClr val="accent1">
                <a:lumMod val="75000"/>
              </a:schemeClr>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 name="Freeform: Shape 233">
              <a:extLst>
                <a:ext uri="{FF2B5EF4-FFF2-40B4-BE49-F238E27FC236}">
                  <a16:creationId xmlns:a16="http://schemas.microsoft.com/office/drawing/2014/main" id="{6B47740B-0AEB-4726-8093-BD339C7C26CF}"/>
                </a:ext>
              </a:extLst>
            </p:cNvPr>
            <p:cNvSpPr/>
            <p:nvPr/>
          </p:nvSpPr>
          <p:spPr>
            <a:xfrm>
              <a:off x="3950917" y="3513200"/>
              <a:ext cx="113065" cy="113065"/>
            </a:xfrm>
            <a:custGeom>
              <a:avLst/>
              <a:gdLst>
                <a:gd name="connsiteX0" fmla="*/ 41457 w 113065"/>
                <a:gd name="connsiteY0" fmla="*/ 0 h 113065"/>
                <a:gd name="connsiteX1" fmla="*/ 72236 w 113065"/>
                <a:gd name="connsiteY1" fmla="*/ 0 h 113065"/>
                <a:gd name="connsiteX2" fmla="*/ 72236 w 113065"/>
                <a:gd name="connsiteY2" fmla="*/ 41457 h 113065"/>
                <a:gd name="connsiteX3" fmla="*/ 113065 w 113065"/>
                <a:gd name="connsiteY3" fmla="*/ 41457 h 113065"/>
                <a:gd name="connsiteX4" fmla="*/ 113065 w 113065"/>
                <a:gd name="connsiteY4" fmla="*/ 72236 h 113065"/>
                <a:gd name="connsiteX5" fmla="*/ 72236 w 113065"/>
                <a:gd name="connsiteY5" fmla="*/ 72236 h 113065"/>
                <a:gd name="connsiteX6" fmla="*/ 72236 w 113065"/>
                <a:gd name="connsiteY6" fmla="*/ 113065 h 113065"/>
                <a:gd name="connsiteX7" fmla="*/ 41457 w 113065"/>
                <a:gd name="connsiteY7" fmla="*/ 113065 h 113065"/>
                <a:gd name="connsiteX8" fmla="*/ 41457 w 113065"/>
                <a:gd name="connsiteY8" fmla="*/ 72236 h 113065"/>
                <a:gd name="connsiteX9" fmla="*/ 0 w 113065"/>
                <a:gd name="connsiteY9" fmla="*/ 72236 h 113065"/>
                <a:gd name="connsiteX10" fmla="*/ 0 w 113065"/>
                <a:gd name="connsiteY10" fmla="*/ 41457 h 113065"/>
                <a:gd name="connsiteX11" fmla="*/ 41457 w 113065"/>
                <a:gd name="connsiteY11" fmla="*/ 41457 h 113065"/>
                <a:gd name="connsiteX12" fmla="*/ 41457 w 113065"/>
                <a:gd name="connsiteY12" fmla="*/ 0 h 11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3065" h="113065">
                  <a:moveTo>
                    <a:pt x="41457" y="0"/>
                  </a:moveTo>
                  <a:lnTo>
                    <a:pt x="72236" y="0"/>
                  </a:lnTo>
                  <a:lnTo>
                    <a:pt x="72236" y="41457"/>
                  </a:lnTo>
                  <a:lnTo>
                    <a:pt x="113065" y="41457"/>
                  </a:lnTo>
                  <a:lnTo>
                    <a:pt x="113065" y="72236"/>
                  </a:lnTo>
                  <a:lnTo>
                    <a:pt x="72236" y="72236"/>
                  </a:lnTo>
                  <a:lnTo>
                    <a:pt x="72236" y="113065"/>
                  </a:lnTo>
                  <a:lnTo>
                    <a:pt x="41457" y="113065"/>
                  </a:lnTo>
                  <a:lnTo>
                    <a:pt x="41457" y="72236"/>
                  </a:lnTo>
                  <a:lnTo>
                    <a:pt x="0" y="72236"/>
                  </a:lnTo>
                  <a:lnTo>
                    <a:pt x="0" y="41457"/>
                  </a:lnTo>
                  <a:lnTo>
                    <a:pt x="41457" y="41457"/>
                  </a:lnTo>
                  <a:lnTo>
                    <a:pt x="41457" y="0"/>
                  </a:lnTo>
                </a:path>
              </a:pathLst>
            </a:custGeom>
            <a:solidFill>
              <a:srgbClr val="FFFFFF"/>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00" name="Group 199">
            <a:extLst>
              <a:ext uri="{FF2B5EF4-FFF2-40B4-BE49-F238E27FC236}">
                <a16:creationId xmlns:a16="http://schemas.microsoft.com/office/drawing/2014/main" id="{A79A360B-05E4-4105-89EE-5E2090FE6D07}"/>
              </a:ext>
            </a:extLst>
          </p:cNvPr>
          <p:cNvGrpSpPr/>
          <p:nvPr/>
        </p:nvGrpSpPr>
        <p:grpSpPr>
          <a:xfrm>
            <a:off x="5042827" y="1335025"/>
            <a:ext cx="725026" cy="725026"/>
            <a:chOff x="3401296" y="2038330"/>
            <a:chExt cx="890073" cy="890701"/>
          </a:xfrm>
        </p:grpSpPr>
        <p:sp>
          <p:nvSpPr>
            <p:cNvPr id="211" name="Freeform: Shape 210">
              <a:extLst>
                <a:ext uri="{FF2B5EF4-FFF2-40B4-BE49-F238E27FC236}">
                  <a16:creationId xmlns:a16="http://schemas.microsoft.com/office/drawing/2014/main" id="{E2163215-19C5-413C-B7F4-7BD3461CDA35}"/>
                </a:ext>
              </a:extLst>
            </p:cNvPr>
            <p:cNvSpPr/>
            <p:nvPr/>
          </p:nvSpPr>
          <p:spPr>
            <a:xfrm>
              <a:off x="3401296" y="2038330"/>
              <a:ext cx="890073" cy="890701"/>
            </a:xfrm>
            <a:custGeom>
              <a:avLst/>
              <a:gdLst>
                <a:gd name="connsiteX0" fmla="*/ 890073 w 890073"/>
                <a:gd name="connsiteY0" fmla="*/ 445351 h 890701"/>
                <a:gd name="connsiteX1" fmla="*/ 444722 w 890073"/>
                <a:gd name="connsiteY1" fmla="*/ 890701 h 890701"/>
                <a:gd name="connsiteX2" fmla="*/ 0 w 890073"/>
                <a:gd name="connsiteY2" fmla="*/ 445351 h 890701"/>
                <a:gd name="connsiteX3" fmla="*/ 445351 w 890073"/>
                <a:gd name="connsiteY3" fmla="*/ 0 h 890701"/>
                <a:gd name="connsiteX4" fmla="*/ 890073 w 890073"/>
                <a:gd name="connsiteY4" fmla="*/ 445351 h 890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73" h="890701">
                  <a:moveTo>
                    <a:pt x="890073" y="445351"/>
                  </a:moveTo>
                  <a:cubicBezTo>
                    <a:pt x="890073" y="690953"/>
                    <a:pt x="690953" y="890701"/>
                    <a:pt x="444722" y="890701"/>
                  </a:cubicBezTo>
                  <a:cubicBezTo>
                    <a:pt x="199120" y="890073"/>
                    <a:pt x="0" y="690953"/>
                    <a:pt x="0" y="445351"/>
                  </a:cubicBezTo>
                  <a:cubicBezTo>
                    <a:pt x="0" y="199120"/>
                    <a:pt x="199120" y="0"/>
                    <a:pt x="445351" y="0"/>
                  </a:cubicBezTo>
                  <a:cubicBezTo>
                    <a:pt x="690953" y="0"/>
                    <a:pt x="890073" y="199120"/>
                    <a:pt x="890073" y="445351"/>
                  </a:cubicBezTo>
                </a:path>
              </a:pathLst>
            </a:custGeom>
            <a:solidFill>
              <a:schemeClr val="accent1"/>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2" name="Freeform: Shape 211">
              <a:extLst>
                <a:ext uri="{FF2B5EF4-FFF2-40B4-BE49-F238E27FC236}">
                  <a16:creationId xmlns:a16="http://schemas.microsoft.com/office/drawing/2014/main" id="{A90D550A-A2DD-4C1B-9DDA-757F408170C6}"/>
                </a:ext>
              </a:extLst>
            </p:cNvPr>
            <p:cNvSpPr/>
            <p:nvPr/>
          </p:nvSpPr>
          <p:spPr>
            <a:xfrm>
              <a:off x="3670139" y="2413329"/>
              <a:ext cx="353014" cy="197863"/>
            </a:xfrm>
            <a:custGeom>
              <a:avLst/>
              <a:gdLst>
                <a:gd name="connsiteX0" fmla="*/ 352386 w 353014"/>
                <a:gd name="connsiteY0" fmla="*/ 0 h 197863"/>
                <a:gd name="connsiteX1" fmla="*/ 0 w 353014"/>
                <a:gd name="connsiteY1" fmla="*/ 0 h 197863"/>
                <a:gd name="connsiteX2" fmla="*/ 0 w 353014"/>
                <a:gd name="connsiteY2" fmla="*/ 177135 h 197863"/>
                <a:gd name="connsiteX3" fmla="*/ 176507 w 353014"/>
                <a:gd name="connsiteY3" fmla="*/ 197864 h 197863"/>
                <a:gd name="connsiteX4" fmla="*/ 353014 w 353014"/>
                <a:gd name="connsiteY4" fmla="*/ 177135 h 197863"/>
                <a:gd name="connsiteX5" fmla="*/ 353014 w 353014"/>
                <a:gd name="connsiteY5" fmla="*/ 0 h 19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3014" h="197863">
                  <a:moveTo>
                    <a:pt x="352386" y="0"/>
                  </a:moveTo>
                  <a:lnTo>
                    <a:pt x="0" y="0"/>
                  </a:lnTo>
                  <a:lnTo>
                    <a:pt x="0" y="177135"/>
                  </a:lnTo>
                  <a:cubicBezTo>
                    <a:pt x="0" y="188442"/>
                    <a:pt x="79146" y="197864"/>
                    <a:pt x="176507" y="197864"/>
                  </a:cubicBezTo>
                  <a:cubicBezTo>
                    <a:pt x="273869" y="197864"/>
                    <a:pt x="353014" y="188442"/>
                    <a:pt x="353014" y="177135"/>
                  </a:cubicBezTo>
                  <a:lnTo>
                    <a:pt x="353014" y="0"/>
                  </a:lnTo>
                </a:path>
              </a:pathLst>
            </a:custGeom>
            <a:solidFill>
              <a:schemeClr val="bg1"/>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 name="Freeform: Shape 212">
              <a:extLst>
                <a:ext uri="{FF2B5EF4-FFF2-40B4-BE49-F238E27FC236}">
                  <a16:creationId xmlns:a16="http://schemas.microsoft.com/office/drawing/2014/main" id="{D239E28D-5397-4330-A164-D3100B824FD6}"/>
                </a:ext>
              </a:extLst>
            </p:cNvPr>
            <p:cNvSpPr/>
            <p:nvPr/>
          </p:nvSpPr>
          <p:spPr>
            <a:xfrm>
              <a:off x="3920138" y="2413329"/>
              <a:ext cx="102386" cy="191582"/>
            </a:xfrm>
            <a:custGeom>
              <a:avLst/>
              <a:gdLst>
                <a:gd name="connsiteX0" fmla="*/ 102387 w 102386"/>
                <a:gd name="connsiteY0" fmla="*/ 0 h 191582"/>
                <a:gd name="connsiteX1" fmla="*/ 0 w 102386"/>
                <a:gd name="connsiteY1" fmla="*/ 0 h 191582"/>
                <a:gd name="connsiteX2" fmla="*/ 0 w 102386"/>
                <a:gd name="connsiteY2" fmla="*/ 10050 h 191582"/>
                <a:gd name="connsiteX3" fmla="*/ 55276 w 102386"/>
                <a:gd name="connsiteY3" fmla="*/ 10050 h 191582"/>
                <a:gd name="connsiteX4" fmla="*/ 55276 w 102386"/>
                <a:gd name="connsiteY4" fmla="*/ 191582 h 191582"/>
                <a:gd name="connsiteX5" fmla="*/ 92336 w 102386"/>
                <a:gd name="connsiteY5" fmla="*/ 184673 h 191582"/>
                <a:gd name="connsiteX6" fmla="*/ 92336 w 102386"/>
                <a:gd name="connsiteY6" fmla="*/ 18216 h 191582"/>
                <a:gd name="connsiteX7" fmla="*/ 102387 w 102386"/>
                <a:gd name="connsiteY7" fmla="*/ 18216 h 191582"/>
                <a:gd name="connsiteX8" fmla="*/ 102387 w 102386"/>
                <a:gd name="connsiteY8" fmla="*/ 0 h 191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86" h="191582">
                  <a:moveTo>
                    <a:pt x="102387" y="0"/>
                  </a:moveTo>
                  <a:lnTo>
                    <a:pt x="0" y="0"/>
                  </a:lnTo>
                  <a:lnTo>
                    <a:pt x="0" y="10050"/>
                  </a:lnTo>
                  <a:lnTo>
                    <a:pt x="55276" y="10050"/>
                  </a:lnTo>
                  <a:lnTo>
                    <a:pt x="55276" y="191582"/>
                  </a:lnTo>
                  <a:cubicBezTo>
                    <a:pt x="71608" y="189698"/>
                    <a:pt x="84799" y="187185"/>
                    <a:pt x="92336" y="184673"/>
                  </a:cubicBezTo>
                  <a:lnTo>
                    <a:pt x="92336" y="18216"/>
                  </a:lnTo>
                  <a:lnTo>
                    <a:pt x="102387" y="18216"/>
                  </a:lnTo>
                  <a:lnTo>
                    <a:pt x="102387" y="0"/>
                  </a:lnTo>
                </a:path>
              </a:pathLst>
            </a:custGeom>
            <a:solidFill>
              <a:srgbClr val="FFFFFF"/>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4" name="Freeform: Shape 213">
              <a:extLst>
                <a:ext uri="{FF2B5EF4-FFF2-40B4-BE49-F238E27FC236}">
                  <a16:creationId xmlns:a16="http://schemas.microsoft.com/office/drawing/2014/main" id="{8DE938CB-2404-4A3F-901E-74C62950C6C2}"/>
                </a:ext>
              </a:extLst>
            </p:cNvPr>
            <p:cNvSpPr/>
            <p:nvPr/>
          </p:nvSpPr>
          <p:spPr>
            <a:xfrm>
              <a:off x="4135590" y="2419610"/>
              <a:ext cx="11934" cy="183416"/>
            </a:xfrm>
            <a:custGeom>
              <a:avLst/>
              <a:gdLst>
                <a:gd name="connsiteX0" fmla="*/ 0 w 11934"/>
                <a:gd name="connsiteY0" fmla="*/ 0 h 183416"/>
                <a:gd name="connsiteX1" fmla="*/ 11935 w 11934"/>
                <a:gd name="connsiteY1" fmla="*/ 0 h 183416"/>
                <a:gd name="connsiteX2" fmla="*/ 11935 w 11934"/>
                <a:gd name="connsiteY2" fmla="*/ 183417 h 183416"/>
                <a:gd name="connsiteX3" fmla="*/ 0 w 11934"/>
                <a:gd name="connsiteY3" fmla="*/ 183417 h 183416"/>
              </a:gdLst>
              <a:ahLst/>
              <a:cxnLst>
                <a:cxn ang="0">
                  <a:pos x="connsiteX0" y="connsiteY0"/>
                </a:cxn>
                <a:cxn ang="0">
                  <a:pos x="connsiteX1" y="connsiteY1"/>
                </a:cxn>
                <a:cxn ang="0">
                  <a:pos x="connsiteX2" y="connsiteY2"/>
                </a:cxn>
                <a:cxn ang="0">
                  <a:pos x="connsiteX3" y="connsiteY3"/>
                </a:cxn>
              </a:cxnLst>
              <a:rect l="l" t="t" r="r" b="b"/>
              <a:pathLst>
                <a:path w="11934" h="183416">
                  <a:moveTo>
                    <a:pt x="0" y="0"/>
                  </a:moveTo>
                  <a:lnTo>
                    <a:pt x="11935" y="0"/>
                  </a:lnTo>
                  <a:lnTo>
                    <a:pt x="11935" y="183417"/>
                  </a:lnTo>
                  <a:lnTo>
                    <a:pt x="0" y="183417"/>
                  </a:lnTo>
                  <a:close/>
                </a:path>
              </a:pathLst>
            </a:custGeom>
            <a:solidFill>
              <a:srgbClr val="FFFFFF"/>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5" name="Freeform: Shape 214">
              <a:extLst>
                <a:ext uri="{FF2B5EF4-FFF2-40B4-BE49-F238E27FC236}">
                  <a16:creationId xmlns:a16="http://schemas.microsoft.com/office/drawing/2014/main" id="{7DE817B1-DAC3-4DDA-A707-216DA6A5E8A7}"/>
                </a:ext>
              </a:extLst>
            </p:cNvPr>
            <p:cNvSpPr/>
            <p:nvPr/>
          </p:nvSpPr>
          <p:spPr>
            <a:xfrm>
              <a:off x="3684586" y="2413329"/>
              <a:ext cx="88567" cy="195979"/>
            </a:xfrm>
            <a:custGeom>
              <a:avLst/>
              <a:gdLst>
                <a:gd name="connsiteX0" fmla="*/ 87939 w 88567"/>
                <a:gd name="connsiteY0" fmla="*/ 0 h 195979"/>
                <a:gd name="connsiteX1" fmla="*/ 0 w 88567"/>
                <a:gd name="connsiteY1" fmla="*/ 0 h 195979"/>
                <a:gd name="connsiteX2" fmla="*/ 0 w 88567"/>
                <a:gd name="connsiteY2" fmla="*/ 185301 h 195979"/>
                <a:gd name="connsiteX3" fmla="*/ 88568 w 88567"/>
                <a:gd name="connsiteY3" fmla="*/ 195979 h 195979"/>
                <a:gd name="connsiteX4" fmla="*/ 88568 w 88567"/>
                <a:gd name="connsiteY4" fmla="*/ 0 h 195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67" h="195979">
                  <a:moveTo>
                    <a:pt x="87939" y="0"/>
                  </a:moveTo>
                  <a:lnTo>
                    <a:pt x="0" y="0"/>
                  </a:lnTo>
                  <a:lnTo>
                    <a:pt x="0" y="185301"/>
                  </a:lnTo>
                  <a:cubicBezTo>
                    <a:pt x="16960" y="189698"/>
                    <a:pt x="48995" y="193467"/>
                    <a:pt x="88568" y="195979"/>
                  </a:cubicBezTo>
                  <a:lnTo>
                    <a:pt x="88568" y="0"/>
                  </a:lnTo>
                </a:path>
              </a:pathLst>
            </a:custGeom>
            <a:solidFill>
              <a:srgbClr val="FFFFFF"/>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 name="Freeform: Shape 215">
              <a:extLst>
                <a:ext uri="{FF2B5EF4-FFF2-40B4-BE49-F238E27FC236}">
                  <a16:creationId xmlns:a16="http://schemas.microsoft.com/office/drawing/2014/main" id="{ED41E8EE-214F-478F-ACDE-AE5D0F8DDBA2}"/>
                </a:ext>
              </a:extLst>
            </p:cNvPr>
            <p:cNvSpPr/>
            <p:nvPr/>
          </p:nvSpPr>
          <p:spPr>
            <a:xfrm>
              <a:off x="4121771" y="2490590"/>
              <a:ext cx="40829" cy="157662"/>
            </a:xfrm>
            <a:custGeom>
              <a:avLst/>
              <a:gdLst>
                <a:gd name="connsiteX0" fmla="*/ 20100 w 40829"/>
                <a:gd name="connsiteY0" fmla="*/ 0 h 157662"/>
                <a:gd name="connsiteX1" fmla="*/ 40201 w 40829"/>
                <a:gd name="connsiteY1" fmla="*/ 20100 h 157662"/>
                <a:gd name="connsiteX2" fmla="*/ 20100 w 40829"/>
                <a:gd name="connsiteY2" fmla="*/ 40201 h 157662"/>
                <a:gd name="connsiteX3" fmla="*/ 0 w 40829"/>
                <a:gd name="connsiteY3" fmla="*/ 20100 h 157662"/>
                <a:gd name="connsiteX4" fmla="*/ 20100 w 40829"/>
                <a:gd name="connsiteY4" fmla="*/ 0 h 157662"/>
                <a:gd name="connsiteX5" fmla="*/ 0 w 40829"/>
                <a:gd name="connsiteY5" fmla="*/ 77261 h 157662"/>
                <a:gd name="connsiteX6" fmla="*/ 0 w 40829"/>
                <a:gd name="connsiteY6" fmla="*/ 157663 h 157662"/>
                <a:gd name="connsiteX7" fmla="*/ 40829 w 40829"/>
                <a:gd name="connsiteY7" fmla="*/ 157663 h 157662"/>
                <a:gd name="connsiteX8" fmla="*/ 40829 w 40829"/>
                <a:gd name="connsiteY8" fmla="*/ 77261 h 157662"/>
                <a:gd name="connsiteX9" fmla="*/ 20729 w 40829"/>
                <a:gd name="connsiteY9" fmla="*/ 57161 h 157662"/>
                <a:gd name="connsiteX10" fmla="*/ 0 w 40829"/>
                <a:gd name="connsiteY10" fmla="*/ 77261 h 15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829" h="157662">
                  <a:moveTo>
                    <a:pt x="20100" y="0"/>
                  </a:moveTo>
                  <a:cubicBezTo>
                    <a:pt x="31407" y="0"/>
                    <a:pt x="40201" y="8794"/>
                    <a:pt x="40201" y="20100"/>
                  </a:cubicBezTo>
                  <a:cubicBezTo>
                    <a:pt x="40201" y="31407"/>
                    <a:pt x="31407" y="40201"/>
                    <a:pt x="20100" y="40201"/>
                  </a:cubicBezTo>
                  <a:cubicBezTo>
                    <a:pt x="8794" y="40201"/>
                    <a:pt x="0" y="30779"/>
                    <a:pt x="0" y="20100"/>
                  </a:cubicBezTo>
                  <a:cubicBezTo>
                    <a:pt x="0" y="8794"/>
                    <a:pt x="8794" y="0"/>
                    <a:pt x="20100" y="0"/>
                  </a:cubicBezTo>
                  <a:moveTo>
                    <a:pt x="0" y="77261"/>
                  </a:moveTo>
                  <a:lnTo>
                    <a:pt x="0" y="157663"/>
                  </a:lnTo>
                  <a:lnTo>
                    <a:pt x="40829" y="157663"/>
                  </a:lnTo>
                  <a:lnTo>
                    <a:pt x="40829" y="77261"/>
                  </a:lnTo>
                  <a:cubicBezTo>
                    <a:pt x="40829" y="65955"/>
                    <a:pt x="32035" y="57161"/>
                    <a:pt x="20729" y="57161"/>
                  </a:cubicBezTo>
                  <a:cubicBezTo>
                    <a:pt x="8794" y="57161"/>
                    <a:pt x="0" y="65955"/>
                    <a:pt x="0" y="77261"/>
                  </a:cubicBezTo>
                  <a:close/>
                </a:path>
              </a:pathLst>
            </a:custGeom>
            <a:solidFill>
              <a:schemeClr val="accent2"/>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 name="Freeform: Shape 216">
              <a:extLst>
                <a:ext uri="{FF2B5EF4-FFF2-40B4-BE49-F238E27FC236}">
                  <a16:creationId xmlns:a16="http://schemas.microsoft.com/office/drawing/2014/main" id="{ED43F158-D452-45FA-8965-24528A47D234}"/>
                </a:ext>
              </a:extLst>
            </p:cNvPr>
            <p:cNvSpPr/>
            <p:nvPr/>
          </p:nvSpPr>
          <p:spPr>
            <a:xfrm>
              <a:off x="3520642" y="2318479"/>
              <a:ext cx="652008" cy="189698"/>
            </a:xfrm>
            <a:custGeom>
              <a:avLst/>
              <a:gdLst>
                <a:gd name="connsiteX0" fmla="*/ 326004 w 652008"/>
                <a:gd name="connsiteY0" fmla="*/ 0 h 189698"/>
                <a:gd name="connsiteX1" fmla="*/ 652008 w 652008"/>
                <a:gd name="connsiteY1" fmla="*/ 94849 h 189698"/>
                <a:gd name="connsiteX2" fmla="*/ 326004 w 652008"/>
                <a:gd name="connsiteY2" fmla="*/ 189698 h 189698"/>
                <a:gd name="connsiteX3" fmla="*/ 0 w 652008"/>
                <a:gd name="connsiteY3" fmla="*/ 94849 h 189698"/>
                <a:gd name="connsiteX4" fmla="*/ 326004 w 652008"/>
                <a:gd name="connsiteY4" fmla="*/ 0 h 189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008" h="189698">
                  <a:moveTo>
                    <a:pt x="326004" y="0"/>
                  </a:moveTo>
                  <a:lnTo>
                    <a:pt x="652008" y="94849"/>
                  </a:lnTo>
                  <a:lnTo>
                    <a:pt x="326004" y="189698"/>
                  </a:lnTo>
                  <a:lnTo>
                    <a:pt x="0" y="94849"/>
                  </a:lnTo>
                  <a:lnTo>
                    <a:pt x="326004" y="0"/>
                  </a:lnTo>
                </a:path>
              </a:pathLst>
            </a:custGeom>
            <a:solidFill>
              <a:schemeClr val="accent2"/>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 name="Freeform: Shape 217">
              <a:extLst>
                <a:ext uri="{FF2B5EF4-FFF2-40B4-BE49-F238E27FC236}">
                  <a16:creationId xmlns:a16="http://schemas.microsoft.com/office/drawing/2014/main" id="{9FFB61D7-D8DD-4BFB-BFEA-F05508F95018}"/>
                </a:ext>
              </a:extLst>
            </p:cNvPr>
            <p:cNvSpPr/>
            <p:nvPr/>
          </p:nvSpPr>
          <p:spPr>
            <a:xfrm>
              <a:off x="3813983" y="2398253"/>
              <a:ext cx="65326" cy="18844"/>
            </a:xfrm>
            <a:custGeom>
              <a:avLst/>
              <a:gdLst>
                <a:gd name="connsiteX0" fmla="*/ 32663 w 65326"/>
                <a:gd name="connsiteY0" fmla="*/ 18844 h 18844"/>
                <a:gd name="connsiteX1" fmla="*/ 65326 w 65326"/>
                <a:gd name="connsiteY1" fmla="*/ 9422 h 18844"/>
                <a:gd name="connsiteX2" fmla="*/ 32663 w 65326"/>
                <a:gd name="connsiteY2" fmla="*/ 0 h 18844"/>
                <a:gd name="connsiteX3" fmla="*/ 0 w 65326"/>
                <a:gd name="connsiteY3" fmla="*/ 9422 h 18844"/>
                <a:gd name="connsiteX4" fmla="*/ 32663 w 65326"/>
                <a:gd name="connsiteY4" fmla="*/ 18844 h 18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326" h="18844">
                  <a:moveTo>
                    <a:pt x="32663" y="18844"/>
                  </a:moveTo>
                  <a:cubicBezTo>
                    <a:pt x="50879" y="18844"/>
                    <a:pt x="65326" y="14447"/>
                    <a:pt x="65326" y="9422"/>
                  </a:cubicBezTo>
                  <a:cubicBezTo>
                    <a:pt x="65326" y="4397"/>
                    <a:pt x="50879" y="0"/>
                    <a:pt x="32663" y="0"/>
                  </a:cubicBezTo>
                  <a:cubicBezTo>
                    <a:pt x="14447" y="0"/>
                    <a:pt x="0" y="4397"/>
                    <a:pt x="0" y="9422"/>
                  </a:cubicBezTo>
                  <a:cubicBezTo>
                    <a:pt x="0" y="14447"/>
                    <a:pt x="14447" y="18844"/>
                    <a:pt x="32663" y="18844"/>
                  </a:cubicBezTo>
                </a:path>
              </a:pathLst>
            </a:custGeom>
            <a:solidFill>
              <a:srgbClr val="FFFFFF"/>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 name="Freeform: Shape 218">
              <a:extLst>
                <a:ext uri="{FF2B5EF4-FFF2-40B4-BE49-F238E27FC236}">
                  <a16:creationId xmlns:a16="http://schemas.microsoft.com/office/drawing/2014/main" id="{E9AD85BD-BBF2-4FBA-8597-3D29BC31F89B}"/>
                </a:ext>
              </a:extLst>
            </p:cNvPr>
            <p:cNvSpPr/>
            <p:nvPr/>
          </p:nvSpPr>
          <p:spPr>
            <a:xfrm>
              <a:off x="3520642" y="2318479"/>
              <a:ext cx="326004" cy="189698"/>
            </a:xfrm>
            <a:custGeom>
              <a:avLst/>
              <a:gdLst>
                <a:gd name="connsiteX0" fmla="*/ 326004 w 326004"/>
                <a:gd name="connsiteY0" fmla="*/ 189698 h 189698"/>
                <a:gd name="connsiteX1" fmla="*/ 0 w 326004"/>
                <a:gd name="connsiteY1" fmla="*/ 94849 h 189698"/>
                <a:gd name="connsiteX2" fmla="*/ 326004 w 326004"/>
                <a:gd name="connsiteY2" fmla="*/ 0 h 189698"/>
                <a:gd name="connsiteX3" fmla="*/ 326004 w 326004"/>
                <a:gd name="connsiteY3" fmla="*/ 189698 h 189698"/>
              </a:gdLst>
              <a:ahLst/>
              <a:cxnLst>
                <a:cxn ang="0">
                  <a:pos x="connsiteX0" y="connsiteY0"/>
                </a:cxn>
                <a:cxn ang="0">
                  <a:pos x="connsiteX1" y="connsiteY1"/>
                </a:cxn>
                <a:cxn ang="0">
                  <a:pos x="connsiteX2" y="connsiteY2"/>
                </a:cxn>
                <a:cxn ang="0">
                  <a:pos x="connsiteX3" y="connsiteY3"/>
                </a:cxn>
              </a:cxnLst>
              <a:rect l="l" t="t" r="r" b="b"/>
              <a:pathLst>
                <a:path w="326004" h="189698">
                  <a:moveTo>
                    <a:pt x="326004" y="189698"/>
                  </a:moveTo>
                  <a:lnTo>
                    <a:pt x="0" y="94849"/>
                  </a:lnTo>
                  <a:lnTo>
                    <a:pt x="326004" y="0"/>
                  </a:lnTo>
                  <a:lnTo>
                    <a:pt x="326004" y="189698"/>
                  </a:lnTo>
                </a:path>
              </a:pathLst>
            </a:custGeom>
            <a:solidFill>
              <a:srgbClr val="FFFFFF"/>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 name="Freeform: Shape 219">
              <a:extLst>
                <a:ext uri="{FF2B5EF4-FFF2-40B4-BE49-F238E27FC236}">
                  <a16:creationId xmlns:a16="http://schemas.microsoft.com/office/drawing/2014/main" id="{D958DB2E-ADB6-4D83-92C2-E23C43BE10E2}"/>
                </a:ext>
              </a:extLst>
            </p:cNvPr>
            <p:cNvSpPr/>
            <p:nvPr/>
          </p:nvSpPr>
          <p:spPr>
            <a:xfrm>
              <a:off x="3813983" y="2398253"/>
              <a:ext cx="32663" cy="18844"/>
            </a:xfrm>
            <a:custGeom>
              <a:avLst/>
              <a:gdLst>
                <a:gd name="connsiteX0" fmla="*/ 32663 w 32663"/>
                <a:gd name="connsiteY0" fmla="*/ 18844 h 18844"/>
                <a:gd name="connsiteX1" fmla="*/ 0 w 32663"/>
                <a:gd name="connsiteY1" fmla="*/ 9422 h 18844"/>
                <a:gd name="connsiteX2" fmla="*/ 32663 w 32663"/>
                <a:gd name="connsiteY2" fmla="*/ 0 h 18844"/>
                <a:gd name="connsiteX3" fmla="*/ 32663 w 32663"/>
                <a:gd name="connsiteY3" fmla="*/ 18844 h 18844"/>
              </a:gdLst>
              <a:ahLst/>
              <a:cxnLst>
                <a:cxn ang="0">
                  <a:pos x="connsiteX0" y="connsiteY0"/>
                </a:cxn>
                <a:cxn ang="0">
                  <a:pos x="connsiteX1" y="connsiteY1"/>
                </a:cxn>
                <a:cxn ang="0">
                  <a:pos x="connsiteX2" y="connsiteY2"/>
                </a:cxn>
                <a:cxn ang="0">
                  <a:pos x="connsiteX3" y="connsiteY3"/>
                </a:cxn>
              </a:cxnLst>
              <a:rect l="l" t="t" r="r" b="b"/>
              <a:pathLst>
                <a:path w="32663" h="18844">
                  <a:moveTo>
                    <a:pt x="32663" y="18844"/>
                  </a:moveTo>
                  <a:cubicBezTo>
                    <a:pt x="14447" y="18844"/>
                    <a:pt x="0" y="14447"/>
                    <a:pt x="0" y="9422"/>
                  </a:cubicBezTo>
                  <a:cubicBezTo>
                    <a:pt x="0" y="4397"/>
                    <a:pt x="14447" y="0"/>
                    <a:pt x="32663" y="0"/>
                  </a:cubicBezTo>
                  <a:lnTo>
                    <a:pt x="32663" y="18844"/>
                  </a:lnTo>
                </a:path>
              </a:pathLst>
            </a:custGeom>
            <a:solidFill>
              <a:schemeClr val="accent2"/>
            </a:solidFill>
            <a:ln w="6274"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01" name="TextBox 200">
            <a:extLst>
              <a:ext uri="{FF2B5EF4-FFF2-40B4-BE49-F238E27FC236}">
                <a16:creationId xmlns:a16="http://schemas.microsoft.com/office/drawing/2014/main" id="{65D83091-84D0-4D1A-B1E5-BB887F55AC74}"/>
              </a:ext>
            </a:extLst>
          </p:cNvPr>
          <p:cNvSpPr txBox="1"/>
          <p:nvPr/>
        </p:nvSpPr>
        <p:spPr>
          <a:xfrm>
            <a:off x="4878081" y="2101643"/>
            <a:ext cx="1054519" cy="50783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231F20"/>
                </a:solidFill>
                <a:effectLst/>
                <a:uLnTx/>
                <a:uFillTx/>
                <a:latin typeface="Franklin Gothic Book" panose="020B0503020102020204"/>
                <a:ea typeface="+mn-ea"/>
                <a:cs typeface="Arial"/>
                <a:sym typeface="Arial"/>
                <a:rtl val="0"/>
              </a:rPr>
              <a:t>Expertise </a:t>
            </a:r>
            <a:br>
              <a:rPr kumimoji="0" lang="en-GB" sz="1350" b="0" i="0" u="none" strike="noStrike" kern="1200" cap="none" spc="0" normalizeH="0" baseline="0" noProof="0" dirty="0">
                <a:ln>
                  <a:noFill/>
                </a:ln>
                <a:solidFill>
                  <a:srgbClr val="231F20"/>
                </a:solidFill>
                <a:effectLst/>
                <a:uLnTx/>
                <a:uFillTx/>
                <a:latin typeface="Franklin Gothic Book" panose="020B0503020102020204"/>
                <a:ea typeface="+mn-ea"/>
                <a:cs typeface="Arial"/>
                <a:sym typeface="Arial"/>
                <a:rtl val="0"/>
              </a:rPr>
            </a:br>
            <a:r>
              <a:rPr kumimoji="0" lang="en-GB" sz="1350" b="0" i="0" u="none" strike="noStrike" kern="1200" cap="none" spc="0" normalizeH="0" baseline="0" noProof="0" dirty="0">
                <a:ln>
                  <a:noFill/>
                </a:ln>
                <a:solidFill>
                  <a:srgbClr val="231F20"/>
                </a:solidFill>
                <a:effectLst/>
                <a:uLnTx/>
                <a:uFillTx/>
                <a:latin typeface="Franklin Gothic Book" panose="020B0503020102020204"/>
                <a:ea typeface="+mn-ea"/>
                <a:cs typeface="Arial"/>
                <a:sym typeface="Arial"/>
                <a:rtl val="0"/>
              </a:rPr>
              <a:t>in their field</a:t>
            </a:r>
          </a:p>
        </p:txBody>
      </p:sp>
      <p:sp>
        <p:nvSpPr>
          <p:cNvPr id="202" name="TextBox 201">
            <a:extLst>
              <a:ext uri="{FF2B5EF4-FFF2-40B4-BE49-F238E27FC236}">
                <a16:creationId xmlns:a16="http://schemas.microsoft.com/office/drawing/2014/main" id="{365440FC-AE12-4EAC-B8FF-2ECEA01A0882}"/>
              </a:ext>
            </a:extLst>
          </p:cNvPr>
          <p:cNvSpPr txBox="1"/>
          <p:nvPr/>
        </p:nvSpPr>
        <p:spPr>
          <a:xfrm>
            <a:off x="7444235" y="2101643"/>
            <a:ext cx="808235" cy="300082"/>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231F20"/>
                </a:solidFill>
                <a:effectLst/>
                <a:uLnTx/>
                <a:uFillTx/>
                <a:latin typeface="Franklin Gothic Book" panose="020B0503020102020204"/>
                <a:ea typeface="+mn-ea"/>
                <a:cs typeface="Arial"/>
                <a:sym typeface="Arial"/>
                <a:rtl val="0"/>
              </a:rPr>
              <a:t>Location</a:t>
            </a:r>
          </a:p>
        </p:txBody>
      </p:sp>
      <p:sp>
        <p:nvSpPr>
          <p:cNvPr id="203" name="TextBox 202">
            <a:extLst>
              <a:ext uri="{FF2B5EF4-FFF2-40B4-BE49-F238E27FC236}">
                <a16:creationId xmlns:a16="http://schemas.microsoft.com/office/drawing/2014/main" id="{302432AA-95FC-4A33-A2A0-B0ED8FAC279E}"/>
              </a:ext>
            </a:extLst>
          </p:cNvPr>
          <p:cNvSpPr txBox="1"/>
          <p:nvPr/>
        </p:nvSpPr>
        <p:spPr>
          <a:xfrm>
            <a:off x="6149119" y="2101643"/>
            <a:ext cx="979499" cy="50783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231F20"/>
                </a:solidFill>
                <a:effectLst/>
                <a:uLnTx/>
                <a:uFillTx/>
                <a:latin typeface="Franklin Gothic Book" panose="020B0503020102020204"/>
                <a:ea typeface="+mn-ea"/>
                <a:cs typeface="Arial"/>
                <a:sym typeface="Arial"/>
                <a:rtl val="0"/>
              </a:rPr>
              <a:t>Familiarity </a:t>
            </a:r>
            <a:br>
              <a:rPr kumimoji="0" lang="en-GB" sz="1350" b="0" i="0" u="none" strike="noStrike" kern="1200" cap="none" spc="0" normalizeH="0" baseline="0" noProof="0" dirty="0">
                <a:ln>
                  <a:noFill/>
                </a:ln>
                <a:solidFill>
                  <a:srgbClr val="231F20"/>
                </a:solidFill>
                <a:effectLst/>
                <a:uLnTx/>
                <a:uFillTx/>
                <a:latin typeface="Franklin Gothic Book" panose="020B0503020102020204"/>
                <a:ea typeface="+mn-ea"/>
                <a:cs typeface="Arial"/>
                <a:sym typeface="Arial"/>
                <a:rtl val="0"/>
              </a:rPr>
            </a:br>
            <a:r>
              <a:rPr kumimoji="0" lang="en-GB" sz="1350" b="0" i="0" u="none" strike="noStrike" kern="1200" cap="none" spc="0" normalizeH="0" baseline="0" noProof="0" dirty="0">
                <a:ln>
                  <a:noFill/>
                </a:ln>
                <a:solidFill>
                  <a:srgbClr val="231F20"/>
                </a:solidFill>
                <a:effectLst/>
                <a:uLnTx/>
                <a:uFillTx/>
                <a:latin typeface="Franklin Gothic Book" panose="020B0503020102020204"/>
                <a:ea typeface="+mn-ea"/>
                <a:cs typeface="Arial"/>
                <a:sym typeface="Arial"/>
                <a:rtl val="0"/>
              </a:rPr>
              <a:t>with PLS</a:t>
            </a:r>
          </a:p>
        </p:txBody>
      </p:sp>
    </p:spTree>
    <p:extLst>
      <p:ext uri="{BB962C8B-B14F-4D97-AF65-F5344CB8AC3E}">
        <p14:creationId xmlns:p14="http://schemas.microsoft.com/office/powerpoint/2010/main" val="3648547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364296-4F47-4B80-BE8E-709BBE7771E2}"/>
              </a:ext>
            </a:extLst>
          </p:cNvPr>
          <p:cNvSpPr>
            <a:spLocks noGrp="1"/>
          </p:cNvSpPr>
          <p:nvPr>
            <p:ph type="title"/>
          </p:nvPr>
        </p:nvSpPr>
        <p:spPr/>
        <p:txBody>
          <a:bodyPr>
            <a:normAutofit/>
          </a:bodyPr>
          <a:lstStyle/>
          <a:p>
            <a:r>
              <a:rPr lang="en-US" sz="3200" dirty="0"/>
              <a:t>ISMPP Announcements</a:t>
            </a:r>
          </a:p>
        </p:txBody>
      </p:sp>
      <p:sp>
        <p:nvSpPr>
          <p:cNvPr id="37892" name="Slide Number Placeholder 2"/>
          <p:cNvSpPr>
            <a:spLocks noGrp="1"/>
          </p:cNvSpPr>
          <p:nvPr>
            <p:ph type="sldNum" sz="quarter" idx="10"/>
          </p:nvPr>
        </p:nvSpPr>
        <p:spPr bwMode="auto"/>
        <p:txBody>
          <a:bodyPr vert="horz" lIns="91440" tIns="45720" rIns="91440" bIns="45720"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fld id="{11F1F4C4-F463-47E2-84C0-F8B9CB59F585}" type="slidenum">
              <a:rPr kumimoji="0" lang="en-US" altLang="en-US" sz="900" b="0" i="0" u="none" strike="noStrike" kern="1200" cap="none" spc="0" normalizeH="0" baseline="0" noProof="0">
                <a:ln>
                  <a:noFill/>
                </a:ln>
                <a:solidFill>
                  <a:prstClr val="black"/>
                </a:solidFill>
                <a:effectLst/>
                <a:uLnTx/>
                <a:uFillTx/>
                <a:latin typeface="Franklin Gothic Book"/>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altLang="en-US" sz="900" b="0" i="0" u="none" strike="noStrike" kern="1200" cap="none" spc="0" normalizeH="0" baseline="0" noProof="0">
              <a:ln>
                <a:noFill/>
              </a:ln>
              <a:solidFill>
                <a:prstClr val="black"/>
              </a:solidFill>
              <a:effectLst/>
              <a:uLnTx/>
              <a:uFillTx/>
              <a:latin typeface="Franklin Gothic Book"/>
              <a:ea typeface="+mn-ea"/>
              <a:cs typeface="+mn-cs"/>
            </a:endParaRPr>
          </a:p>
        </p:txBody>
      </p:sp>
      <p:sp>
        <p:nvSpPr>
          <p:cNvPr id="8" name="Rectangle 7">
            <a:extLst>
              <a:ext uri="{FF2B5EF4-FFF2-40B4-BE49-F238E27FC236}">
                <a16:creationId xmlns:a16="http://schemas.microsoft.com/office/drawing/2014/main" id="{554B3AC2-C027-437C-9915-938F4F4B87B9}"/>
              </a:ext>
            </a:extLst>
          </p:cNvPr>
          <p:cNvSpPr/>
          <p:nvPr/>
        </p:nvSpPr>
        <p:spPr>
          <a:xfrm>
            <a:off x="465203" y="1190976"/>
            <a:ext cx="5906567" cy="1969770"/>
          </a:xfrm>
          <a:prstGeom prst="rect">
            <a:avLst/>
          </a:prstGeom>
        </p:spPr>
        <p:txBody>
          <a:bodyPr wrap="square">
            <a:spAutoFit/>
          </a:bodyPr>
          <a:lstStyle/>
          <a:p>
            <a:pPr marL="285750" marR="0" lvl="0" indent="-28575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1" i="0" u="none" strike="noStrike" kern="1200" cap="none" spc="-30" normalizeH="0" baseline="0" noProof="0" dirty="0">
                <a:ln>
                  <a:noFill/>
                </a:ln>
                <a:solidFill>
                  <a:srgbClr val="0070C0"/>
                </a:solidFill>
                <a:effectLst/>
                <a:uLnTx/>
                <a:uFillTx/>
                <a:latin typeface="Franklin Gothic Book"/>
                <a:ea typeface="ＭＳ Ｐゴシック" pitchFamily="34" charset="-128"/>
                <a:cs typeface="Calibri" pitchFamily="34" charset="0"/>
              </a:rPr>
              <a:t>This webinar has been approved for </a:t>
            </a:r>
            <a:r>
              <a:rPr kumimoji="0" lang="en-US" sz="1600" b="1" i="0" u="none" strike="noStrike" kern="1200" cap="none" spc="0" normalizeH="0" baseline="0" noProof="0" dirty="0">
                <a:ln>
                  <a:noFill/>
                </a:ln>
                <a:solidFill>
                  <a:srgbClr val="0070C0"/>
                </a:solidFill>
                <a:effectLst/>
                <a:uLnTx/>
                <a:uFillTx/>
                <a:latin typeface="Franklin Gothic Book"/>
                <a:ea typeface="+mn-ea"/>
                <a:cs typeface="+mn-cs"/>
              </a:rPr>
              <a:t>1.5 ISMPP CMPP</a:t>
            </a:r>
            <a:r>
              <a:rPr kumimoji="0" lang="en-US" sz="1600" b="1" i="0" u="none" strike="noStrike" kern="1200" cap="none" spc="0" normalizeH="0" baseline="30000" noProof="0" dirty="0">
                <a:ln>
                  <a:noFill/>
                </a:ln>
                <a:solidFill>
                  <a:srgbClr val="0070C0"/>
                </a:solidFill>
                <a:effectLst/>
                <a:uLnTx/>
                <a:uFillTx/>
                <a:latin typeface="Franklin Gothic Book"/>
                <a:ea typeface="+mn-ea"/>
                <a:cs typeface="+mn-cs"/>
              </a:rPr>
              <a:t>TM</a:t>
            </a:r>
            <a:r>
              <a:rPr kumimoji="0" lang="en-US" sz="1600" b="1" i="0" u="none" strike="noStrike" kern="1200" cap="none" spc="0" normalizeH="0" baseline="0" noProof="0" dirty="0">
                <a:ln>
                  <a:noFill/>
                </a:ln>
                <a:solidFill>
                  <a:srgbClr val="0070C0"/>
                </a:solidFill>
                <a:effectLst/>
                <a:uLnTx/>
                <a:uFillTx/>
                <a:latin typeface="Franklin Gothic Book"/>
                <a:ea typeface="+mn-ea"/>
                <a:cs typeface="+mn-cs"/>
              </a:rPr>
              <a:t> Recertification Credit. </a:t>
            </a:r>
            <a:r>
              <a:rPr kumimoji="0" lang="en-US" sz="1600" b="0" i="1" u="none" strike="noStrike" kern="1200" cap="none" spc="0" normalizeH="0" baseline="0" noProof="0" dirty="0">
                <a:ln>
                  <a:noFill/>
                </a:ln>
                <a:solidFill>
                  <a:prstClr val="black"/>
                </a:solidFill>
                <a:effectLst/>
                <a:uLnTx/>
                <a:uFillTx/>
                <a:latin typeface="Franklin Gothic Book"/>
                <a:ea typeface="+mn-ea"/>
                <a:cs typeface="+mn-cs"/>
              </a:rPr>
              <a:t>Please capture a screenshot to submit for credit</a:t>
            </a:r>
            <a:endParaRPr kumimoji="0" lang="en-US" sz="1600" b="1" i="0" u="none" strike="noStrike" kern="1200" cap="none" spc="-23" normalizeH="0" baseline="0" noProof="0" dirty="0">
              <a:ln>
                <a:noFill/>
              </a:ln>
              <a:solidFill>
                <a:srgbClr val="4472C4"/>
              </a:solidFill>
              <a:effectLst/>
              <a:uLnTx/>
              <a:uFillTx/>
              <a:latin typeface="Franklin Gothic Book"/>
              <a:ea typeface="ＭＳ Ｐゴシック" pitchFamily="34" charset="-128"/>
              <a:cs typeface="Calibri" pitchFamily="34" charset="0"/>
            </a:endParaRPr>
          </a:p>
          <a:p>
            <a:pPr marL="285750" marR="0" lvl="0" indent="-28575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b="1" spc="-23" dirty="0">
                <a:solidFill>
                  <a:srgbClr val="0070C0"/>
                </a:solidFill>
                <a:latin typeface="Franklin Gothic Book"/>
                <a:ea typeface="ＭＳ Ｐゴシック" pitchFamily="34" charset="-128"/>
                <a:cs typeface="Calibri" pitchFamily="34" charset="0"/>
              </a:rPr>
              <a:t>Be sure to enter CMPP credits </a:t>
            </a:r>
            <a:r>
              <a:rPr lang="en-US" sz="1600" spc="-23" dirty="0">
                <a:latin typeface="Franklin Gothic Book"/>
                <a:ea typeface="ＭＳ Ｐゴシック" pitchFamily="34" charset="-128"/>
                <a:cs typeface="Calibri" pitchFamily="34" charset="0"/>
              </a:rPr>
              <a:t>earned at the 2022 European Meeting</a:t>
            </a:r>
            <a:endParaRPr lang="en-US" sz="1600" b="1" spc="-23" dirty="0">
              <a:solidFill>
                <a:srgbClr val="0070C0"/>
              </a:solidFill>
              <a:latin typeface="Franklin Gothic Book"/>
              <a:ea typeface="ＭＳ Ｐゴシック" pitchFamily="34" charset="-128"/>
              <a:cs typeface="Calibri" pitchFamily="34" charset="0"/>
            </a:endParaRPr>
          </a:p>
          <a:p>
            <a:pPr marL="285750" marR="0" lvl="0" indent="-285750" algn="l" defTabSz="6858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b="1" spc="-23" dirty="0">
                <a:solidFill>
                  <a:srgbClr val="0070C0"/>
                </a:solidFill>
                <a:latin typeface="Franklin Gothic Book"/>
                <a:ea typeface="ＭＳ Ｐゴシック" pitchFamily="34" charset="-128"/>
                <a:cs typeface="Calibri" pitchFamily="34" charset="0"/>
              </a:rPr>
              <a:t>Registration NOW OPEN for the 18</a:t>
            </a:r>
            <a:r>
              <a:rPr lang="en-US" sz="1600" b="1" spc="-23" baseline="30000" dirty="0">
                <a:solidFill>
                  <a:srgbClr val="0070C0"/>
                </a:solidFill>
                <a:latin typeface="Franklin Gothic Book"/>
                <a:ea typeface="ＭＳ Ｐゴシック" pitchFamily="34" charset="-128"/>
                <a:cs typeface="Calibri" pitchFamily="34" charset="0"/>
              </a:rPr>
              <a:t>th</a:t>
            </a:r>
            <a:r>
              <a:rPr lang="en-US" sz="1600" b="1" spc="-23" dirty="0">
                <a:solidFill>
                  <a:srgbClr val="0070C0"/>
                </a:solidFill>
                <a:latin typeface="Franklin Gothic Book"/>
                <a:ea typeface="ＭＳ Ｐゴシック" pitchFamily="34" charset="-128"/>
                <a:cs typeface="Calibri" pitchFamily="34" charset="0"/>
              </a:rPr>
              <a:t> Annual Meeting</a:t>
            </a:r>
            <a:r>
              <a:rPr kumimoji="0" lang="en-US" sz="1600" b="0" i="0" u="none" strike="noStrike" kern="1200" cap="none" spc="-23" normalizeH="0" baseline="0" noProof="0" dirty="0">
                <a:ln>
                  <a:noFill/>
                </a:ln>
                <a:solidFill>
                  <a:prstClr val="black"/>
                </a:solidFill>
                <a:effectLst/>
                <a:uLnTx/>
                <a:uFillTx/>
                <a:latin typeface="Franklin Gothic Book"/>
                <a:ea typeface="ＭＳ Ｐゴシック" pitchFamily="34" charset="-128"/>
                <a:cs typeface="Calibri" pitchFamily="34" charset="0"/>
              </a:rPr>
              <a:t>, being held in-person in Washington DC</a:t>
            </a:r>
          </a:p>
        </p:txBody>
      </p:sp>
      <p:pic>
        <p:nvPicPr>
          <p:cNvPr id="7" name="Picture 6" descr="A close up of a logo&#10;&#10;Description automatically generated">
            <a:extLst>
              <a:ext uri="{FF2B5EF4-FFF2-40B4-BE49-F238E27FC236}">
                <a16:creationId xmlns:a16="http://schemas.microsoft.com/office/drawing/2014/main" id="{6B20F712-C960-4EF9-AB98-362B5B17A0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40472" y="1128888"/>
            <a:ext cx="1273715" cy="1280160"/>
          </a:xfrm>
          <a:prstGeom prst="rect">
            <a:avLst/>
          </a:prstGeom>
        </p:spPr>
      </p:pic>
    </p:spTree>
    <p:extLst>
      <p:ext uri="{BB962C8B-B14F-4D97-AF65-F5344CB8AC3E}">
        <p14:creationId xmlns:p14="http://schemas.microsoft.com/office/powerpoint/2010/main" val="10193757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A963AC-DC65-4FB2-9318-1AE55E03699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6" name="Object 5" hidden="1">
                        <a:extLst>
                          <a:ext uri="{FF2B5EF4-FFF2-40B4-BE49-F238E27FC236}">
                            <a16:creationId xmlns:a16="http://schemas.microsoft.com/office/drawing/2014/main" id="{A2A963AC-DC65-4FB2-9318-1AE55E036995}"/>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DD00A6-B442-45B0-9644-3036139CDDA3}"/>
              </a:ext>
            </a:extLst>
          </p:cNvPr>
          <p:cNvSpPr>
            <a:spLocks noGrp="1"/>
          </p:cNvSpPr>
          <p:nvPr>
            <p:ph type="title"/>
          </p:nvPr>
        </p:nvSpPr>
        <p:spPr/>
        <p:txBody>
          <a:bodyPr vert="horz"/>
          <a:lstStyle/>
          <a:p>
            <a:r>
              <a:rPr lang="en-GB" dirty="0"/>
              <a:t>What did we do?</a:t>
            </a:r>
          </a:p>
        </p:txBody>
      </p:sp>
      <p:sp>
        <p:nvSpPr>
          <p:cNvPr id="4" name="Slide Number Placeholder 3">
            <a:extLst>
              <a:ext uri="{FF2B5EF4-FFF2-40B4-BE49-F238E27FC236}">
                <a16:creationId xmlns:a16="http://schemas.microsoft.com/office/drawing/2014/main" id="{26B7017B-6997-4696-8C81-8E4609909E29}"/>
              </a:ext>
            </a:extLst>
          </p:cNvPr>
          <p:cNvSpPr>
            <a:spLocks noGrp="1"/>
          </p:cNvSpPr>
          <p:nvPr>
            <p:ph type="sldNum" sz="quarter" idx="12"/>
          </p:nvPr>
        </p:nvSpPr>
        <p:spPr>
          <a:xfrm>
            <a:off x="8663169" y="4767263"/>
            <a:ext cx="326172" cy="273844"/>
          </a:xfrm>
          <a:prstGeom prst="rect">
            <a:avLst/>
          </a:prstGeom>
        </p:spPr>
        <p:txBody>
          <a:bodyPr vert="horz" lIns="0" tIns="0" rIns="0" bIns="0" rtlCol="0" anchor="b"/>
          <a:lstStyle>
            <a:defPPr>
              <a:defRPr lang="en-US"/>
            </a:defPPr>
            <a:lvl1pPr marL="0" algn="r" defTabSz="685800" rtl="0" eaLnBrk="1" latinLnBrk="0" hangingPunct="1">
              <a:defRPr sz="750" b="1" kern="1200">
                <a:solidFill>
                  <a:schemeClr val="accent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2E661B7E-09F4-4054-B1CE-2DA61D695434}" type="slidenum">
              <a:rPr kumimoji="0" lang="en-GB" sz="750" b="1" i="0" u="none" strike="noStrike" kern="1200" cap="none" spc="0" normalizeH="0" baseline="0" noProof="0" smtClean="0">
                <a:ln>
                  <a:noFill/>
                </a:ln>
                <a:solidFill>
                  <a:srgbClr val="4472C4"/>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0</a:t>
            </a:fld>
            <a:endParaRPr kumimoji="0" lang="en-GB" sz="750" b="1" i="0" u="none" strike="noStrike" kern="1200" cap="none" spc="0" normalizeH="0" baseline="0" noProof="0">
              <a:ln>
                <a:noFill/>
              </a:ln>
              <a:solidFill>
                <a:srgbClr val="77579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155FFDAB-8333-4742-99E3-6252DE8E22D3}"/>
              </a:ext>
            </a:extLst>
          </p:cNvPr>
          <p:cNvSpPr/>
          <p:nvPr/>
        </p:nvSpPr>
        <p:spPr>
          <a:xfrm>
            <a:off x="468804" y="1204666"/>
            <a:ext cx="7851107" cy="2826068"/>
          </a:xfrm>
          <a:prstGeom prst="rect">
            <a:avLst/>
          </a:prstGeom>
          <a:solidFill>
            <a:schemeClr val="accent2">
              <a:lumMod val="20000"/>
              <a:lumOff val="80000"/>
            </a:schemeClr>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 name="Freeform: Shape 10">
            <a:extLst>
              <a:ext uri="{FF2B5EF4-FFF2-40B4-BE49-F238E27FC236}">
                <a16:creationId xmlns:a16="http://schemas.microsoft.com/office/drawing/2014/main" id="{4DDC09F5-822B-4BBF-B33C-630052818F27}"/>
              </a:ext>
            </a:extLst>
          </p:cNvPr>
          <p:cNvSpPr/>
          <p:nvPr/>
        </p:nvSpPr>
        <p:spPr>
          <a:xfrm>
            <a:off x="468804" y="1461445"/>
            <a:ext cx="7838443" cy="634484"/>
          </a:xfrm>
          <a:custGeom>
            <a:avLst/>
            <a:gdLst>
              <a:gd name="connsiteX0" fmla="*/ 9538666 w 9964641"/>
              <a:gd name="connsiteY0" fmla="*/ 845979 h 845979"/>
              <a:gd name="connsiteX1" fmla="*/ 9538666 w 9964641"/>
              <a:gd name="connsiteY1" fmla="*/ 497635 h 845979"/>
              <a:gd name="connsiteX2" fmla="*/ 0 w 9964641"/>
              <a:gd name="connsiteY2" fmla="*/ 497635 h 845979"/>
              <a:gd name="connsiteX3" fmla="*/ 0 w 9964641"/>
              <a:gd name="connsiteY3" fmla="*/ 348344 h 845979"/>
              <a:gd name="connsiteX4" fmla="*/ 9538666 w 9964641"/>
              <a:gd name="connsiteY4" fmla="*/ 348344 h 845979"/>
              <a:gd name="connsiteX5" fmla="*/ 9538666 w 9964641"/>
              <a:gd name="connsiteY5" fmla="*/ 0 h 845979"/>
              <a:gd name="connsiteX6" fmla="*/ 9964642 w 9964641"/>
              <a:gd name="connsiteY6" fmla="*/ 423985 h 84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64641" h="845979">
                <a:moveTo>
                  <a:pt x="9538666" y="845979"/>
                </a:moveTo>
                <a:lnTo>
                  <a:pt x="9538666" y="497635"/>
                </a:lnTo>
                <a:lnTo>
                  <a:pt x="0" y="497635"/>
                </a:lnTo>
                <a:lnTo>
                  <a:pt x="0" y="348344"/>
                </a:lnTo>
                <a:lnTo>
                  <a:pt x="9538666" y="348344"/>
                </a:lnTo>
                <a:lnTo>
                  <a:pt x="9538666" y="0"/>
                </a:lnTo>
                <a:lnTo>
                  <a:pt x="9964642" y="423985"/>
                </a:lnTo>
                <a:close/>
              </a:path>
            </a:pathLst>
          </a:custGeom>
          <a:solidFill>
            <a:schemeClr val="accent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nvGrpSpPr>
          <p:cNvPr id="158" name="Group 157">
            <a:extLst>
              <a:ext uri="{FF2B5EF4-FFF2-40B4-BE49-F238E27FC236}">
                <a16:creationId xmlns:a16="http://schemas.microsoft.com/office/drawing/2014/main" id="{A63E0FF5-B3E1-43FE-B9E5-7DC1E150CEE5}"/>
              </a:ext>
            </a:extLst>
          </p:cNvPr>
          <p:cNvGrpSpPr/>
          <p:nvPr/>
        </p:nvGrpSpPr>
        <p:grpSpPr>
          <a:xfrm>
            <a:off x="6794496" y="1264205"/>
            <a:ext cx="1064441" cy="1027295"/>
            <a:chOff x="9330626" y="1685606"/>
            <a:chExt cx="1419254" cy="1369727"/>
          </a:xfrm>
        </p:grpSpPr>
        <p:sp>
          <p:nvSpPr>
            <p:cNvPr id="13" name="Freeform: Shape 12">
              <a:extLst>
                <a:ext uri="{FF2B5EF4-FFF2-40B4-BE49-F238E27FC236}">
                  <a16:creationId xmlns:a16="http://schemas.microsoft.com/office/drawing/2014/main" id="{6D6FFC84-3A42-4DCE-B253-8CA88D115309}"/>
                </a:ext>
              </a:extLst>
            </p:cNvPr>
            <p:cNvSpPr/>
            <p:nvPr/>
          </p:nvSpPr>
          <p:spPr>
            <a:xfrm>
              <a:off x="9696885" y="2203382"/>
              <a:ext cx="680764" cy="410051"/>
            </a:xfrm>
            <a:custGeom>
              <a:avLst/>
              <a:gdLst>
                <a:gd name="connsiteX0" fmla="*/ 37820 w 680764"/>
                <a:gd name="connsiteY0" fmla="*/ 0 h 410051"/>
                <a:gd name="connsiteX1" fmla="*/ 644935 w 680764"/>
                <a:gd name="connsiteY1" fmla="*/ 0 h 410051"/>
                <a:gd name="connsiteX2" fmla="*/ 680765 w 680764"/>
                <a:gd name="connsiteY2" fmla="*/ 35830 h 410051"/>
                <a:gd name="connsiteX3" fmla="*/ 680765 w 680764"/>
                <a:gd name="connsiteY3" fmla="*/ 410051 h 410051"/>
                <a:gd name="connsiteX4" fmla="*/ 0 w 680764"/>
                <a:gd name="connsiteY4" fmla="*/ 410051 h 410051"/>
                <a:gd name="connsiteX5" fmla="*/ 0 w 680764"/>
                <a:gd name="connsiteY5" fmla="*/ 37820 h 410051"/>
                <a:gd name="connsiteX6" fmla="*/ 37820 w 680764"/>
                <a:gd name="connsiteY6" fmla="*/ 0 h 410051"/>
                <a:gd name="connsiteX7" fmla="*/ 37820 w 680764"/>
                <a:gd name="connsiteY7" fmla="*/ 0 h 410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0764" h="410051">
                  <a:moveTo>
                    <a:pt x="37820" y="0"/>
                  </a:moveTo>
                  <a:lnTo>
                    <a:pt x="644935" y="0"/>
                  </a:lnTo>
                  <a:cubicBezTo>
                    <a:pt x="664840" y="0"/>
                    <a:pt x="680765" y="15924"/>
                    <a:pt x="680765" y="35830"/>
                  </a:cubicBezTo>
                  <a:lnTo>
                    <a:pt x="680765" y="410051"/>
                  </a:lnTo>
                  <a:lnTo>
                    <a:pt x="0" y="410051"/>
                  </a:lnTo>
                  <a:lnTo>
                    <a:pt x="0" y="37820"/>
                  </a:lnTo>
                  <a:cubicBezTo>
                    <a:pt x="1991" y="17915"/>
                    <a:pt x="17915" y="0"/>
                    <a:pt x="37820" y="0"/>
                  </a:cubicBezTo>
                  <a:lnTo>
                    <a:pt x="37820" y="0"/>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4" name="Freeform: Shape 13">
              <a:extLst>
                <a:ext uri="{FF2B5EF4-FFF2-40B4-BE49-F238E27FC236}">
                  <a16:creationId xmlns:a16="http://schemas.microsoft.com/office/drawing/2014/main" id="{9D35CE01-AAC4-4755-96F3-18FA77986E8D}"/>
                </a:ext>
              </a:extLst>
            </p:cNvPr>
            <p:cNvSpPr/>
            <p:nvPr/>
          </p:nvSpPr>
          <p:spPr>
            <a:xfrm>
              <a:off x="9722763" y="2229259"/>
              <a:ext cx="632991" cy="360287"/>
            </a:xfrm>
            <a:custGeom>
              <a:avLst/>
              <a:gdLst>
                <a:gd name="connsiteX0" fmla="*/ 0 w 632991"/>
                <a:gd name="connsiteY0" fmla="*/ 360288 h 360287"/>
                <a:gd name="connsiteX1" fmla="*/ 632991 w 632991"/>
                <a:gd name="connsiteY1" fmla="*/ 360288 h 360287"/>
                <a:gd name="connsiteX2" fmla="*/ 632991 w 632991"/>
                <a:gd name="connsiteY2" fmla="*/ 11943 h 360287"/>
                <a:gd name="connsiteX3" fmla="*/ 621048 w 632991"/>
                <a:gd name="connsiteY3" fmla="*/ 0 h 360287"/>
                <a:gd name="connsiteX4" fmla="*/ 11943 w 632991"/>
                <a:gd name="connsiteY4" fmla="*/ 0 h 360287"/>
                <a:gd name="connsiteX5" fmla="*/ 0 w 632991"/>
                <a:gd name="connsiteY5" fmla="*/ 11943 h 360287"/>
                <a:gd name="connsiteX6" fmla="*/ 0 w 632991"/>
                <a:gd name="connsiteY6" fmla="*/ 360288 h 360287"/>
                <a:gd name="connsiteX7" fmla="*/ 0 w 632991"/>
                <a:gd name="connsiteY7" fmla="*/ 360288 h 360287"/>
                <a:gd name="connsiteX8" fmla="*/ 0 w 632991"/>
                <a:gd name="connsiteY8" fmla="*/ 360288 h 360287"/>
                <a:gd name="connsiteX9" fmla="*/ 0 w 632991"/>
                <a:gd name="connsiteY9" fmla="*/ 360288 h 360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2991" h="360287">
                  <a:moveTo>
                    <a:pt x="0" y="360288"/>
                  </a:moveTo>
                  <a:lnTo>
                    <a:pt x="632991" y="360288"/>
                  </a:lnTo>
                  <a:lnTo>
                    <a:pt x="632991" y="11943"/>
                  </a:lnTo>
                  <a:cubicBezTo>
                    <a:pt x="632991" y="5972"/>
                    <a:pt x="627020" y="0"/>
                    <a:pt x="621048" y="0"/>
                  </a:cubicBezTo>
                  <a:lnTo>
                    <a:pt x="11943" y="0"/>
                  </a:lnTo>
                  <a:cubicBezTo>
                    <a:pt x="5971" y="0"/>
                    <a:pt x="0" y="5972"/>
                    <a:pt x="0" y="11943"/>
                  </a:cubicBezTo>
                  <a:lnTo>
                    <a:pt x="0" y="360288"/>
                  </a:lnTo>
                  <a:lnTo>
                    <a:pt x="0" y="360288"/>
                  </a:lnTo>
                  <a:lnTo>
                    <a:pt x="0" y="360288"/>
                  </a:lnTo>
                  <a:lnTo>
                    <a:pt x="0" y="360288"/>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5" name="Freeform: Shape 14">
              <a:extLst>
                <a:ext uri="{FF2B5EF4-FFF2-40B4-BE49-F238E27FC236}">
                  <a16:creationId xmlns:a16="http://schemas.microsoft.com/office/drawing/2014/main" id="{513198DD-922C-4C01-AA61-E50D6788B621}"/>
                </a:ext>
              </a:extLst>
            </p:cNvPr>
            <p:cNvSpPr/>
            <p:nvPr/>
          </p:nvSpPr>
          <p:spPr>
            <a:xfrm>
              <a:off x="9698876" y="2615424"/>
              <a:ext cx="678774" cy="75640"/>
            </a:xfrm>
            <a:custGeom>
              <a:avLst/>
              <a:gdLst>
                <a:gd name="connsiteX0" fmla="*/ 678774 w 678774"/>
                <a:gd name="connsiteY0" fmla="*/ 0 h 75640"/>
                <a:gd name="connsiteX1" fmla="*/ 678774 w 678774"/>
                <a:gd name="connsiteY1" fmla="*/ 39811 h 75640"/>
                <a:gd name="connsiteX2" fmla="*/ 638963 w 678774"/>
                <a:gd name="connsiteY2" fmla="*/ 75641 h 75640"/>
                <a:gd name="connsiteX3" fmla="*/ 39811 w 678774"/>
                <a:gd name="connsiteY3" fmla="*/ 75641 h 75640"/>
                <a:gd name="connsiteX4" fmla="*/ 0 w 678774"/>
                <a:gd name="connsiteY4" fmla="*/ 39811 h 75640"/>
                <a:gd name="connsiteX5" fmla="*/ 0 w 678774"/>
                <a:gd name="connsiteY5" fmla="*/ 0 h 75640"/>
                <a:gd name="connsiteX6" fmla="*/ 678774 w 678774"/>
                <a:gd name="connsiteY6" fmla="*/ 0 h 75640"/>
                <a:gd name="connsiteX7" fmla="*/ 678774 w 678774"/>
                <a:gd name="connsiteY7" fmla="*/ 0 h 75640"/>
                <a:gd name="connsiteX8" fmla="*/ 678774 w 678774"/>
                <a:gd name="connsiteY8" fmla="*/ 0 h 7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774" h="75640">
                  <a:moveTo>
                    <a:pt x="678774" y="0"/>
                  </a:moveTo>
                  <a:lnTo>
                    <a:pt x="678774" y="39811"/>
                  </a:lnTo>
                  <a:cubicBezTo>
                    <a:pt x="678774" y="59716"/>
                    <a:pt x="660859" y="75641"/>
                    <a:pt x="638963" y="75641"/>
                  </a:cubicBezTo>
                  <a:lnTo>
                    <a:pt x="39811" y="75641"/>
                  </a:lnTo>
                  <a:cubicBezTo>
                    <a:pt x="17915" y="75641"/>
                    <a:pt x="0" y="59716"/>
                    <a:pt x="0" y="39811"/>
                  </a:cubicBezTo>
                  <a:lnTo>
                    <a:pt x="0" y="0"/>
                  </a:lnTo>
                  <a:lnTo>
                    <a:pt x="678774" y="0"/>
                  </a:lnTo>
                  <a:lnTo>
                    <a:pt x="678774" y="0"/>
                  </a:lnTo>
                  <a:lnTo>
                    <a:pt x="678774" y="0"/>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6" name="Freeform: Shape 15">
              <a:extLst>
                <a:ext uri="{FF2B5EF4-FFF2-40B4-BE49-F238E27FC236}">
                  <a16:creationId xmlns:a16="http://schemas.microsoft.com/office/drawing/2014/main" id="{125E3CB4-CCE8-4A95-8A93-C97A82591DA9}"/>
                </a:ext>
              </a:extLst>
            </p:cNvPr>
            <p:cNvSpPr/>
            <p:nvPr/>
          </p:nvSpPr>
          <p:spPr>
            <a:xfrm>
              <a:off x="9806365" y="2269070"/>
              <a:ext cx="463796" cy="320476"/>
            </a:xfrm>
            <a:custGeom>
              <a:avLst/>
              <a:gdLst>
                <a:gd name="connsiteX0" fmla="*/ 61707 w 463796"/>
                <a:gd name="connsiteY0" fmla="*/ 0 h 320476"/>
                <a:gd name="connsiteX1" fmla="*/ 402089 w 463796"/>
                <a:gd name="connsiteY1" fmla="*/ 0 h 320476"/>
                <a:gd name="connsiteX2" fmla="*/ 451853 w 463796"/>
                <a:gd name="connsiteY2" fmla="*/ 0 h 320476"/>
                <a:gd name="connsiteX3" fmla="*/ 463796 w 463796"/>
                <a:gd name="connsiteY3" fmla="*/ 11943 h 320476"/>
                <a:gd name="connsiteX4" fmla="*/ 463796 w 463796"/>
                <a:gd name="connsiteY4" fmla="*/ 77631 h 320476"/>
                <a:gd name="connsiteX5" fmla="*/ 463796 w 463796"/>
                <a:gd name="connsiteY5" fmla="*/ 320477 h 320476"/>
                <a:gd name="connsiteX6" fmla="*/ 0 w 463796"/>
                <a:gd name="connsiteY6" fmla="*/ 320477 h 320476"/>
                <a:gd name="connsiteX7" fmla="*/ 0 w 463796"/>
                <a:gd name="connsiteY7" fmla="*/ 320477 h 320476"/>
                <a:gd name="connsiteX8" fmla="*/ 0 w 463796"/>
                <a:gd name="connsiteY8" fmla="*/ 77631 h 320476"/>
                <a:gd name="connsiteX9" fmla="*/ 0 w 463796"/>
                <a:gd name="connsiteY9" fmla="*/ 11943 h 320476"/>
                <a:gd name="connsiteX10" fmla="*/ 11943 w 463796"/>
                <a:gd name="connsiteY10" fmla="*/ 0 h 320476"/>
                <a:gd name="connsiteX11" fmla="*/ 61707 w 463796"/>
                <a:gd name="connsiteY11" fmla="*/ 0 h 320476"/>
                <a:gd name="connsiteX12" fmla="*/ 61707 w 463796"/>
                <a:gd name="connsiteY12" fmla="*/ 0 h 320476"/>
                <a:gd name="connsiteX13" fmla="*/ 61707 w 463796"/>
                <a:gd name="connsiteY13" fmla="*/ 0 h 320476"/>
                <a:gd name="connsiteX14" fmla="*/ 61707 w 463796"/>
                <a:gd name="connsiteY14" fmla="*/ 0 h 320476"/>
                <a:gd name="connsiteX15" fmla="*/ 61707 w 463796"/>
                <a:gd name="connsiteY15" fmla="*/ 0 h 320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63796" h="320476">
                  <a:moveTo>
                    <a:pt x="61707" y="0"/>
                  </a:moveTo>
                  <a:lnTo>
                    <a:pt x="402089" y="0"/>
                  </a:lnTo>
                  <a:lnTo>
                    <a:pt x="451853" y="0"/>
                  </a:lnTo>
                  <a:cubicBezTo>
                    <a:pt x="457824" y="0"/>
                    <a:pt x="463796" y="5972"/>
                    <a:pt x="463796" y="11943"/>
                  </a:cubicBezTo>
                  <a:lnTo>
                    <a:pt x="463796" y="77631"/>
                  </a:lnTo>
                  <a:lnTo>
                    <a:pt x="463796" y="320477"/>
                  </a:lnTo>
                  <a:lnTo>
                    <a:pt x="0" y="320477"/>
                  </a:lnTo>
                  <a:lnTo>
                    <a:pt x="0" y="320477"/>
                  </a:lnTo>
                  <a:lnTo>
                    <a:pt x="0" y="77631"/>
                  </a:lnTo>
                  <a:lnTo>
                    <a:pt x="0" y="11943"/>
                  </a:lnTo>
                  <a:cubicBezTo>
                    <a:pt x="0" y="5972"/>
                    <a:pt x="5972" y="0"/>
                    <a:pt x="11943" y="0"/>
                  </a:cubicBezTo>
                  <a:lnTo>
                    <a:pt x="61707" y="0"/>
                  </a:lnTo>
                  <a:lnTo>
                    <a:pt x="61707" y="0"/>
                  </a:lnTo>
                  <a:lnTo>
                    <a:pt x="61707" y="0"/>
                  </a:lnTo>
                  <a:lnTo>
                    <a:pt x="61707" y="0"/>
                  </a:lnTo>
                  <a:lnTo>
                    <a:pt x="61707" y="0"/>
                  </a:lnTo>
                  <a:close/>
                </a:path>
              </a:pathLst>
            </a:custGeom>
            <a:solidFill>
              <a:srgbClr val="D1DBE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7" name="Freeform: Shape 16">
              <a:extLst>
                <a:ext uri="{FF2B5EF4-FFF2-40B4-BE49-F238E27FC236}">
                  <a16:creationId xmlns:a16="http://schemas.microsoft.com/office/drawing/2014/main" id="{E6A7568B-495B-4387-98B6-534B722D0AA5}"/>
                </a:ext>
              </a:extLst>
            </p:cNvPr>
            <p:cNvSpPr/>
            <p:nvPr/>
          </p:nvSpPr>
          <p:spPr>
            <a:xfrm>
              <a:off x="9807848" y="2269070"/>
              <a:ext cx="464302" cy="33839"/>
            </a:xfrm>
            <a:custGeom>
              <a:avLst/>
              <a:gdLst>
                <a:gd name="connsiteX0" fmla="*/ 10460 w 464302"/>
                <a:gd name="connsiteY0" fmla="*/ 0 h 33839"/>
                <a:gd name="connsiteX1" fmla="*/ 452360 w 464302"/>
                <a:gd name="connsiteY1" fmla="*/ 0 h 33839"/>
                <a:gd name="connsiteX2" fmla="*/ 464303 w 464302"/>
                <a:gd name="connsiteY2" fmla="*/ 11943 h 33839"/>
                <a:gd name="connsiteX3" fmla="*/ 464303 w 464302"/>
                <a:gd name="connsiteY3" fmla="*/ 33839 h 33839"/>
                <a:gd name="connsiteX4" fmla="*/ 507 w 464302"/>
                <a:gd name="connsiteY4" fmla="*/ 33839 h 33839"/>
                <a:gd name="connsiteX5" fmla="*/ 507 w 464302"/>
                <a:gd name="connsiteY5" fmla="*/ 11943 h 33839"/>
                <a:gd name="connsiteX6" fmla="*/ 10460 w 464302"/>
                <a:gd name="connsiteY6" fmla="*/ 0 h 33839"/>
                <a:gd name="connsiteX7" fmla="*/ 10460 w 464302"/>
                <a:gd name="connsiteY7" fmla="*/ 0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4302" h="33839">
                  <a:moveTo>
                    <a:pt x="10460" y="0"/>
                  </a:moveTo>
                  <a:lnTo>
                    <a:pt x="452360" y="0"/>
                  </a:lnTo>
                  <a:cubicBezTo>
                    <a:pt x="458331" y="0"/>
                    <a:pt x="464303" y="5972"/>
                    <a:pt x="464303" y="11943"/>
                  </a:cubicBezTo>
                  <a:lnTo>
                    <a:pt x="464303" y="33839"/>
                  </a:lnTo>
                  <a:lnTo>
                    <a:pt x="507" y="33839"/>
                  </a:lnTo>
                  <a:lnTo>
                    <a:pt x="507" y="11943"/>
                  </a:lnTo>
                  <a:cubicBezTo>
                    <a:pt x="-1483" y="5972"/>
                    <a:pt x="2498" y="0"/>
                    <a:pt x="10460" y="0"/>
                  </a:cubicBezTo>
                  <a:lnTo>
                    <a:pt x="10460" y="0"/>
                  </a:lnTo>
                  <a:close/>
                </a:path>
              </a:pathLst>
            </a:custGeom>
            <a:solidFill>
              <a:srgbClr val="0177A3"/>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8" name="Freeform: Shape 17">
              <a:extLst>
                <a:ext uri="{FF2B5EF4-FFF2-40B4-BE49-F238E27FC236}">
                  <a16:creationId xmlns:a16="http://schemas.microsoft.com/office/drawing/2014/main" id="{94A01908-4A8C-4DF1-9EEF-8793ED1A3C32}"/>
                </a:ext>
              </a:extLst>
            </p:cNvPr>
            <p:cNvSpPr/>
            <p:nvPr/>
          </p:nvSpPr>
          <p:spPr>
            <a:xfrm>
              <a:off x="10009400" y="2281014"/>
              <a:ext cx="232892" cy="9952"/>
            </a:xfrm>
            <a:custGeom>
              <a:avLst/>
              <a:gdLst>
                <a:gd name="connsiteX0" fmla="*/ 3981 w 232892"/>
                <a:gd name="connsiteY0" fmla="*/ 0 h 9952"/>
                <a:gd name="connsiteX1" fmla="*/ 228912 w 232892"/>
                <a:gd name="connsiteY1" fmla="*/ 0 h 9952"/>
                <a:gd name="connsiteX2" fmla="*/ 232893 w 232892"/>
                <a:gd name="connsiteY2" fmla="*/ 1991 h 9952"/>
                <a:gd name="connsiteX3" fmla="*/ 232893 w 232892"/>
                <a:gd name="connsiteY3" fmla="*/ 7962 h 9952"/>
                <a:gd name="connsiteX4" fmla="*/ 228912 w 232892"/>
                <a:gd name="connsiteY4" fmla="*/ 9953 h 9952"/>
                <a:gd name="connsiteX5" fmla="*/ 3981 w 232892"/>
                <a:gd name="connsiteY5" fmla="*/ 9953 h 9952"/>
                <a:gd name="connsiteX6" fmla="*/ 0 w 232892"/>
                <a:gd name="connsiteY6" fmla="*/ 7962 h 9952"/>
                <a:gd name="connsiteX7" fmla="*/ 0 w 232892"/>
                <a:gd name="connsiteY7" fmla="*/ 1991 h 9952"/>
                <a:gd name="connsiteX8" fmla="*/ 3981 w 232892"/>
                <a:gd name="connsiteY8" fmla="*/ 0 h 9952"/>
                <a:gd name="connsiteX9" fmla="*/ 3981 w 232892"/>
                <a:gd name="connsiteY9" fmla="*/ 0 h 9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892" h="9952">
                  <a:moveTo>
                    <a:pt x="3981" y="0"/>
                  </a:moveTo>
                  <a:lnTo>
                    <a:pt x="228912" y="0"/>
                  </a:lnTo>
                  <a:cubicBezTo>
                    <a:pt x="230903" y="0"/>
                    <a:pt x="232893" y="1991"/>
                    <a:pt x="232893" y="1991"/>
                  </a:cubicBezTo>
                  <a:lnTo>
                    <a:pt x="232893" y="7962"/>
                  </a:lnTo>
                  <a:cubicBezTo>
                    <a:pt x="232893" y="9953"/>
                    <a:pt x="230903" y="9953"/>
                    <a:pt x="228912" y="9953"/>
                  </a:cubicBezTo>
                  <a:lnTo>
                    <a:pt x="3981" y="9953"/>
                  </a:lnTo>
                  <a:cubicBezTo>
                    <a:pt x="1991" y="9953"/>
                    <a:pt x="0" y="7962"/>
                    <a:pt x="0" y="7962"/>
                  </a:cubicBezTo>
                  <a:lnTo>
                    <a:pt x="0" y="1991"/>
                  </a:lnTo>
                  <a:cubicBezTo>
                    <a:pt x="0" y="1991"/>
                    <a:pt x="1991" y="0"/>
                    <a:pt x="3981" y="0"/>
                  </a:cubicBezTo>
                  <a:lnTo>
                    <a:pt x="3981" y="0"/>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9" name="Freeform: Shape 18">
              <a:extLst>
                <a:ext uri="{FF2B5EF4-FFF2-40B4-BE49-F238E27FC236}">
                  <a16:creationId xmlns:a16="http://schemas.microsoft.com/office/drawing/2014/main" id="{E8C3E239-DF9E-4208-BFF3-51FA42401918}"/>
                </a:ext>
              </a:extLst>
            </p:cNvPr>
            <p:cNvSpPr/>
            <p:nvPr/>
          </p:nvSpPr>
          <p:spPr>
            <a:xfrm>
              <a:off x="9822290" y="2279023"/>
              <a:ext cx="11942" cy="11943"/>
            </a:xfrm>
            <a:custGeom>
              <a:avLst/>
              <a:gdLst>
                <a:gd name="connsiteX0" fmla="*/ 5971 w 11942"/>
                <a:gd name="connsiteY0" fmla="*/ 0 h 11943"/>
                <a:gd name="connsiteX1" fmla="*/ 11943 w 11942"/>
                <a:gd name="connsiteY1" fmla="*/ 5972 h 11943"/>
                <a:gd name="connsiteX2" fmla="*/ 5971 w 11942"/>
                <a:gd name="connsiteY2" fmla="*/ 11943 h 11943"/>
                <a:gd name="connsiteX3" fmla="*/ 0 w 11942"/>
                <a:gd name="connsiteY3" fmla="*/ 5972 h 11943"/>
                <a:gd name="connsiteX4" fmla="*/ 5971 w 11942"/>
                <a:gd name="connsiteY4" fmla="*/ 0 h 11943"/>
                <a:gd name="connsiteX5" fmla="*/ 5971 w 11942"/>
                <a:gd name="connsiteY5" fmla="*/ 0 h 1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42" h="11943">
                  <a:moveTo>
                    <a:pt x="5971" y="0"/>
                  </a:moveTo>
                  <a:cubicBezTo>
                    <a:pt x="9953" y="0"/>
                    <a:pt x="11943" y="3981"/>
                    <a:pt x="11943" y="5972"/>
                  </a:cubicBezTo>
                  <a:cubicBezTo>
                    <a:pt x="11943" y="9953"/>
                    <a:pt x="7962" y="11943"/>
                    <a:pt x="5971" y="11943"/>
                  </a:cubicBezTo>
                  <a:cubicBezTo>
                    <a:pt x="1990" y="11943"/>
                    <a:pt x="0" y="7962"/>
                    <a:pt x="0" y="5972"/>
                  </a:cubicBezTo>
                  <a:cubicBezTo>
                    <a:pt x="0" y="1991"/>
                    <a:pt x="1990" y="0"/>
                    <a:pt x="5971" y="0"/>
                  </a:cubicBezTo>
                  <a:lnTo>
                    <a:pt x="5971" y="0"/>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0" name="Freeform: Shape 19">
              <a:extLst>
                <a:ext uri="{FF2B5EF4-FFF2-40B4-BE49-F238E27FC236}">
                  <a16:creationId xmlns:a16="http://schemas.microsoft.com/office/drawing/2014/main" id="{636545DB-52DE-4AAE-A86B-79DDE7AA9B4E}"/>
                </a:ext>
              </a:extLst>
            </p:cNvPr>
            <p:cNvSpPr/>
            <p:nvPr/>
          </p:nvSpPr>
          <p:spPr>
            <a:xfrm>
              <a:off x="9848166" y="2279023"/>
              <a:ext cx="11943" cy="11943"/>
            </a:xfrm>
            <a:custGeom>
              <a:avLst/>
              <a:gdLst>
                <a:gd name="connsiteX0" fmla="*/ 5971 w 11943"/>
                <a:gd name="connsiteY0" fmla="*/ 0 h 11943"/>
                <a:gd name="connsiteX1" fmla="*/ 11943 w 11943"/>
                <a:gd name="connsiteY1" fmla="*/ 5972 h 11943"/>
                <a:gd name="connsiteX2" fmla="*/ 5971 w 11943"/>
                <a:gd name="connsiteY2" fmla="*/ 11943 h 11943"/>
                <a:gd name="connsiteX3" fmla="*/ 0 w 11943"/>
                <a:gd name="connsiteY3" fmla="*/ 5972 h 11943"/>
                <a:gd name="connsiteX4" fmla="*/ 5971 w 11943"/>
                <a:gd name="connsiteY4" fmla="*/ 0 h 11943"/>
                <a:gd name="connsiteX5" fmla="*/ 5971 w 11943"/>
                <a:gd name="connsiteY5" fmla="*/ 0 h 1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43" h="11943">
                  <a:moveTo>
                    <a:pt x="5971" y="0"/>
                  </a:moveTo>
                  <a:cubicBezTo>
                    <a:pt x="9953" y="0"/>
                    <a:pt x="11943" y="3981"/>
                    <a:pt x="11943" y="5972"/>
                  </a:cubicBezTo>
                  <a:cubicBezTo>
                    <a:pt x="11943" y="9953"/>
                    <a:pt x="7962" y="11943"/>
                    <a:pt x="5971" y="11943"/>
                  </a:cubicBezTo>
                  <a:cubicBezTo>
                    <a:pt x="1991" y="11943"/>
                    <a:pt x="0" y="7962"/>
                    <a:pt x="0" y="5972"/>
                  </a:cubicBezTo>
                  <a:cubicBezTo>
                    <a:pt x="0" y="1991"/>
                    <a:pt x="1991" y="0"/>
                    <a:pt x="5971" y="0"/>
                  </a:cubicBezTo>
                  <a:lnTo>
                    <a:pt x="5971" y="0"/>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1" name="Freeform: Shape 20">
              <a:extLst>
                <a:ext uri="{FF2B5EF4-FFF2-40B4-BE49-F238E27FC236}">
                  <a16:creationId xmlns:a16="http://schemas.microsoft.com/office/drawing/2014/main" id="{1C9B14F6-F65B-4833-9B08-A83483DF37A4}"/>
                </a:ext>
              </a:extLst>
            </p:cNvPr>
            <p:cNvSpPr/>
            <p:nvPr/>
          </p:nvSpPr>
          <p:spPr>
            <a:xfrm>
              <a:off x="9874043" y="2279023"/>
              <a:ext cx="11943" cy="11943"/>
            </a:xfrm>
            <a:custGeom>
              <a:avLst/>
              <a:gdLst>
                <a:gd name="connsiteX0" fmla="*/ 5972 w 11943"/>
                <a:gd name="connsiteY0" fmla="*/ 0 h 11943"/>
                <a:gd name="connsiteX1" fmla="*/ 11943 w 11943"/>
                <a:gd name="connsiteY1" fmla="*/ 5972 h 11943"/>
                <a:gd name="connsiteX2" fmla="*/ 5972 w 11943"/>
                <a:gd name="connsiteY2" fmla="*/ 11943 h 11943"/>
                <a:gd name="connsiteX3" fmla="*/ 0 w 11943"/>
                <a:gd name="connsiteY3" fmla="*/ 5972 h 11943"/>
                <a:gd name="connsiteX4" fmla="*/ 5972 w 11943"/>
                <a:gd name="connsiteY4" fmla="*/ 0 h 11943"/>
                <a:gd name="connsiteX5" fmla="*/ 5972 w 11943"/>
                <a:gd name="connsiteY5" fmla="*/ 0 h 1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43" h="11943">
                  <a:moveTo>
                    <a:pt x="5972" y="0"/>
                  </a:moveTo>
                  <a:cubicBezTo>
                    <a:pt x="9953" y="0"/>
                    <a:pt x="11943" y="3981"/>
                    <a:pt x="11943" y="5972"/>
                  </a:cubicBezTo>
                  <a:cubicBezTo>
                    <a:pt x="11943" y="9953"/>
                    <a:pt x="7963" y="11943"/>
                    <a:pt x="5972" y="11943"/>
                  </a:cubicBezTo>
                  <a:cubicBezTo>
                    <a:pt x="1991" y="11943"/>
                    <a:pt x="0" y="7962"/>
                    <a:pt x="0" y="5972"/>
                  </a:cubicBezTo>
                  <a:cubicBezTo>
                    <a:pt x="0" y="1991"/>
                    <a:pt x="1991" y="0"/>
                    <a:pt x="5972" y="0"/>
                  </a:cubicBezTo>
                  <a:lnTo>
                    <a:pt x="5972" y="0"/>
                  </a:lnTo>
                  <a:close/>
                </a:path>
              </a:pathLst>
            </a:custGeom>
            <a:solidFill>
              <a:srgbClr val="837CBA"/>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2" name="Freeform: Shape 21">
              <a:extLst>
                <a:ext uri="{FF2B5EF4-FFF2-40B4-BE49-F238E27FC236}">
                  <a16:creationId xmlns:a16="http://schemas.microsoft.com/office/drawing/2014/main" id="{4AB76E8F-B9A6-446B-97C9-2649B33DC932}"/>
                </a:ext>
              </a:extLst>
            </p:cNvPr>
            <p:cNvSpPr/>
            <p:nvPr/>
          </p:nvSpPr>
          <p:spPr>
            <a:xfrm>
              <a:off x="9832242" y="2314853"/>
              <a:ext cx="414032" cy="137347"/>
            </a:xfrm>
            <a:custGeom>
              <a:avLst/>
              <a:gdLst>
                <a:gd name="connsiteX0" fmla="*/ 0 w 414032"/>
                <a:gd name="connsiteY0" fmla="*/ 0 h 137347"/>
                <a:gd name="connsiteX1" fmla="*/ 414032 w 414032"/>
                <a:gd name="connsiteY1" fmla="*/ 0 h 137347"/>
                <a:gd name="connsiteX2" fmla="*/ 414032 w 414032"/>
                <a:gd name="connsiteY2" fmla="*/ 137347 h 137347"/>
                <a:gd name="connsiteX3" fmla="*/ 0 w 414032"/>
                <a:gd name="connsiteY3" fmla="*/ 137347 h 137347"/>
                <a:gd name="connsiteX4" fmla="*/ 0 w 414032"/>
                <a:gd name="connsiteY4" fmla="*/ 0 h 1373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032" h="137347">
                  <a:moveTo>
                    <a:pt x="0" y="0"/>
                  </a:moveTo>
                  <a:lnTo>
                    <a:pt x="414032" y="0"/>
                  </a:lnTo>
                  <a:lnTo>
                    <a:pt x="414032" y="137347"/>
                  </a:lnTo>
                  <a:lnTo>
                    <a:pt x="0" y="137347"/>
                  </a:lnTo>
                  <a:lnTo>
                    <a:pt x="0" y="0"/>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3" name="Freeform: Shape 22">
              <a:extLst>
                <a:ext uri="{FF2B5EF4-FFF2-40B4-BE49-F238E27FC236}">
                  <a16:creationId xmlns:a16="http://schemas.microsoft.com/office/drawing/2014/main" id="{0BD811F1-8180-490E-93EF-E72239F87D58}"/>
                </a:ext>
              </a:extLst>
            </p:cNvPr>
            <p:cNvSpPr/>
            <p:nvPr/>
          </p:nvSpPr>
          <p:spPr>
            <a:xfrm>
              <a:off x="9864090" y="2472105"/>
              <a:ext cx="55735" cy="55735"/>
            </a:xfrm>
            <a:custGeom>
              <a:avLst/>
              <a:gdLst>
                <a:gd name="connsiteX0" fmla="*/ 27868 w 55735"/>
                <a:gd name="connsiteY0" fmla="*/ 0 h 55735"/>
                <a:gd name="connsiteX1" fmla="*/ 55735 w 55735"/>
                <a:gd name="connsiteY1" fmla="*/ 27868 h 55735"/>
                <a:gd name="connsiteX2" fmla="*/ 27868 w 55735"/>
                <a:gd name="connsiteY2" fmla="*/ 55735 h 55735"/>
                <a:gd name="connsiteX3" fmla="*/ 0 w 55735"/>
                <a:gd name="connsiteY3" fmla="*/ 27868 h 55735"/>
                <a:gd name="connsiteX4" fmla="*/ 27868 w 55735"/>
                <a:gd name="connsiteY4" fmla="*/ 0 h 55735"/>
                <a:gd name="connsiteX5" fmla="*/ 27868 w 55735"/>
                <a:gd name="connsiteY5" fmla="*/ 0 h 5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35" h="55735">
                  <a:moveTo>
                    <a:pt x="27868" y="0"/>
                  </a:moveTo>
                  <a:cubicBezTo>
                    <a:pt x="43792" y="0"/>
                    <a:pt x="55735" y="11943"/>
                    <a:pt x="55735" y="27868"/>
                  </a:cubicBezTo>
                  <a:cubicBezTo>
                    <a:pt x="55735" y="43792"/>
                    <a:pt x="43792" y="55735"/>
                    <a:pt x="27868" y="55735"/>
                  </a:cubicBezTo>
                  <a:cubicBezTo>
                    <a:pt x="11943" y="55735"/>
                    <a:pt x="0" y="43792"/>
                    <a:pt x="0" y="27868"/>
                  </a:cubicBezTo>
                  <a:cubicBezTo>
                    <a:pt x="0" y="11943"/>
                    <a:pt x="13934" y="0"/>
                    <a:pt x="27868" y="0"/>
                  </a:cubicBezTo>
                  <a:lnTo>
                    <a:pt x="27868" y="0"/>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4" name="Freeform: Shape 23">
              <a:extLst>
                <a:ext uri="{FF2B5EF4-FFF2-40B4-BE49-F238E27FC236}">
                  <a16:creationId xmlns:a16="http://schemas.microsoft.com/office/drawing/2014/main" id="{C7570125-D496-4AA2-8E2F-269231BD365E}"/>
                </a:ext>
              </a:extLst>
            </p:cNvPr>
            <p:cNvSpPr/>
            <p:nvPr/>
          </p:nvSpPr>
          <p:spPr>
            <a:xfrm>
              <a:off x="10011391" y="2472105"/>
              <a:ext cx="55734" cy="55735"/>
            </a:xfrm>
            <a:custGeom>
              <a:avLst/>
              <a:gdLst>
                <a:gd name="connsiteX0" fmla="*/ 27867 w 55734"/>
                <a:gd name="connsiteY0" fmla="*/ 0 h 55735"/>
                <a:gd name="connsiteX1" fmla="*/ 55735 w 55734"/>
                <a:gd name="connsiteY1" fmla="*/ 27868 h 55735"/>
                <a:gd name="connsiteX2" fmla="*/ 27867 w 55734"/>
                <a:gd name="connsiteY2" fmla="*/ 55735 h 55735"/>
                <a:gd name="connsiteX3" fmla="*/ 0 w 55734"/>
                <a:gd name="connsiteY3" fmla="*/ 27868 h 55735"/>
                <a:gd name="connsiteX4" fmla="*/ 27867 w 55734"/>
                <a:gd name="connsiteY4" fmla="*/ 0 h 55735"/>
                <a:gd name="connsiteX5" fmla="*/ 27867 w 55734"/>
                <a:gd name="connsiteY5" fmla="*/ 0 h 5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34" h="55735">
                  <a:moveTo>
                    <a:pt x="27867" y="0"/>
                  </a:moveTo>
                  <a:cubicBezTo>
                    <a:pt x="43792" y="0"/>
                    <a:pt x="55735" y="11943"/>
                    <a:pt x="55735" y="27868"/>
                  </a:cubicBezTo>
                  <a:cubicBezTo>
                    <a:pt x="55735" y="43792"/>
                    <a:pt x="43792" y="55735"/>
                    <a:pt x="27867" y="55735"/>
                  </a:cubicBezTo>
                  <a:cubicBezTo>
                    <a:pt x="11943" y="55735"/>
                    <a:pt x="0" y="43792"/>
                    <a:pt x="0" y="27868"/>
                  </a:cubicBezTo>
                  <a:cubicBezTo>
                    <a:pt x="0" y="11943"/>
                    <a:pt x="11943" y="0"/>
                    <a:pt x="27867" y="0"/>
                  </a:cubicBezTo>
                  <a:lnTo>
                    <a:pt x="27867" y="0"/>
                  </a:lnTo>
                  <a:close/>
                </a:path>
              </a:pathLst>
            </a:custGeom>
            <a:solidFill>
              <a:srgbClr val="0177A3"/>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5" name="Freeform: Shape 24">
              <a:extLst>
                <a:ext uri="{FF2B5EF4-FFF2-40B4-BE49-F238E27FC236}">
                  <a16:creationId xmlns:a16="http://schemas.microsoft.com/office/drawing/2014/main" id="{A5FCEE93-BD59-48C0-B899-24EC3ADB8DF8}"/>
                </a:ext>
              </a:extLst>
            </p:cNvPr>
            <p:cNvSpPr/>
            <p:nvPr/>
          </p:nvSpPr>
          <p:spPr>
            <a:xfrm>
              <a:off x="10156700" y="2472105"/>
              <a:ext cx="55734" cy="55735"/>
            </a:xfrm>
            <a:custGeom>
              <a:avLst/>
              <a:gdLst>
                <a:gd name="connsiteX0" fmla="*/ 27867 w 55734"/>
                <a:gd name="connsiteY0" fmla="*/ 0 h 55735"/>
                <a:gd name="connsiteX1" fmla="*/ 55735 w 55734"/>
                <a:gd name="connsiteY1" fmla="*/ 27868 h 55735"/>
                <a:gd name="connsiteX2" fmla="*/ 27867 w 55734"/>
                <a:gd name="connsiteY2" fmla="*/ 55735 h 55735"/>
                <a:gd name="connsiteX3" fmla="*/ 0 w 55734"/>
                <a:gd name="connsiteY3" fmla="*/ 27868 h 55735"/>
                <a:gd name="connsiteX4" fmla="*/ 27867 w 55734"/>
                <a:gd name="connsiteY4" fmla="*/ 0 h 55735"/>
                <a:gd name="connsiteX5" fmla="*/ 27867 w 55734"/>
                <a:gd name="connsiteY5" fmla="*/ 0 h 5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734" h="55735">
                  <a:moveTo>
                    <a:pt x="27867" y="0"/>
                  </a:moveTo>
                  <a:cubicBezTo>
                    <a:pt x="43792" y="0"/>
                    <a:pt x="55735" y="11943"/>
                    <a:pt x="55735" y="27868"/>
                  </a:cubicBezTo>
                  <a:cubicBezTo>
                    <a:pt x="55735" y="43792"/>
                    <a:pt x="43792" y="55735"/>
                    <a:pt x="27867" y="55735"/>
                  </a:cubicBezTo>
                  <a:cubicBezTo>
                    <a:pt x="11943" y="55735"/>
                    <a:pt x="0" y="43792"/>
                    <a:pt x="0" y="27868"/>
                  </a:cubicBezTo>
                  <a:cubicBezTo>
                    <a:pt x="0" y="11943"/>
                    <a:pt x="11943" y="0"/>
                    <a:pt x="27867" y="0"/>
                  </a:cubicBezTo>
                  <a:lnTo>
                    <a:pt x="27867" y="0"/>
                  </a:lnTo>
                  <a:close/>
                </a:path>
              </a:pathLst>
            </a:custGeom>
            <a:solidFill>
              <a:srgbClr val="837CBA"/>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6" name="Freeform: Shape 25">
              <a:extLst>
                <a:ext uri="{FF2B5EF4-FFF2-40B4-BE49-F238E27FC236}">
                  <a16:creationId xmlns:a16="http://schemas.microsoft.com/office/drawing/2014/main" id="{B127440D-4EF1-4C31-881A-5C8F9ABD0280}"/>
                </a:ext>
              </a:extLst>
            </p:cNvPr>
            <p:cNvSpPr/>
            <p:nvPr/>
          </p:nvSpPr>
          <p:spPr>
            <a:xfrm>
              <a:off x="9854138" y="2535803"/>
              <a:ext cx="79621" cy="29858"/>
            </a:xfrm>
            <a:custGeom>
              <a:avLst/>
              <a:gdLst>
                <a:gd name="connsiteX0" fmla="*/ 0 w 79621"/>
                <a:gd name="connsiteY0" fmla="*/ 0 h 29858"/>
                <a:gd name="connsiteX1" fmla="*/ 79622 w 79621"/>
                <a:gd name="connsiteY1" fmla="*/ 0 h 29858"/>
                <a:gd name="connsiteX2" fmla="*/ 79622 w 79621"/>
                <a:gd name="connsiteY2" fmla="*/ 3981 h 29858"/>
                <a:gd name="connsiteX3" fmla="*/ 0 w 79621"/>
                <a:gd name="connsiteY3" fmla="*/ 3981 h 29858"/>
                <a:gd name="connsiteX4" fmla="*/ 0 w 79621"/>
                <a:gd name="connsiteY4" fmla="*/ 0 h 29858"/>
                <a:gd name="connsiteX5" fmla="*/ 0 w 79621"/>
                <a:gd name="connsiteY5" fmla="*/ 0 h 29858"/>
                <a:gd name="connsiteX6" fmla="*/ 0 w 79621"/>
                <a:gd name="connsiteY6" fmla="*/ 0 h 29858"/>
                <a:gd name="connsiteX7" fmla="*/ 0 w 79621"/>
                <a:gd name="connsiteY7" fmla="*/ 0 h 29858"/>
                <a:gd name="connsiteX8" fmla="*/ 0 w 79621"/>
                <a:gd name="connsiteY8" fmla="*/ 25877 h 29858"/>
                <a:gd name="connsiteX9" fmla="*/ 53745 w 79621"/>
                <a:gd name="connsiteY9" fmla="*/ 25877 h 29858"/>
                <a:gd name="connsiteX10" fmla="*/ 53745 w 79621"/>
                <a:gd name="connsiteY10" fmla="*/ 29858 h 29858"/>
                <a:gd name="connsiteX11" fmla="*/ 0 w 79621"/>
                <a:gd name="connsiteY11" fmla="*/ 29858 h 29858"/>
                <a:gd name="connsiteX12" fmla="*/ 0 w 79621"/>
                <a:gd name="connsiteY12" fmla="*/ 25877 h 29858"/>
                <a:gd name="connsiteX13" fmla="*/ 0 w 79621"/>
                <a:gd name="connsiteY13" fmla="*/ 25877 h 29858"/>
                <a:gd name="connsiteX14" fmla="*/ 0 w 79621"/>
                <a:gd name="connsiteY14" fmla="*/ 25877 h 29858"/>
                <a:gd name="connsiteX15" fmla="*/ 0 w 79621"/>
                <a:gd name="connsiteY15" fmla="*/ 13934 h 29858"/>
                <a:gd name="connsiteX16" fmla="*/ 79622 w 79621"/>
                <a:gd name="connsiteY16" fmla="*/ 13934 h 29858"/>
                <a:gd name="connsiteX17" fmla="*/ 79622 w 79621"/>
                <a:gd name="connsiteY17" fmla="*/ 17915 h 29858"/>
                <a:gd name="connsiteX18" fmla="*/ 0 w 79621"/>
                <a:gd name="connsiteY18" fmla="*/ 17915 h 29858"/>
                <a:gd name="connsiteX19" fmla="*/ 0 w 79621"/>
                <a:gd name="connsiteY19" fmla="*/ 13934 h 29858"/>
                <a:gd name="connsiteX20" fmla="*/ 0 w 79621"/>
                <a:gd name="connsiteY20" fmla="*/ 13934 h 29858"/>
                <a:gd name="connsiteX21" fmla="*/ 0 w 79621"/>
                <a:gd name="connsiteY21" fmla="*/ 13934 h 29858"/>
                <a:gd name="connsiteX22" fmla="*/ 0 w 79621"/>
                <a:gd name="connsiteY22" fmla="*/ 13934 h 29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621" h="29858">
                  <a:moveTo>
                    <a:pt x="0" y="0"/>
                  </a:moveTo>
                  <a:lnTo>
                    <a:pt x="79622" y="0"/>
                  </a:lnTo>
                  <a:lnTo>
                    <a:pt x="79622" y="3981"/>
                  </a:lnTo>
                  <a:lnTo>
                    <a:pt x="0" y="3981"/>
                  </a:lnTo>
                  <a:lnTo>
                    <a:pt x="0" y="0"/>
                  </a:lnTo>
                  <a:lnTo>
                    <a:pt x="0" y="0"/>
                  </a:lnTo>
                  <a:lnTo>
                    <a:pt x="0" y="0"/>
                  </a:lnTo>
                  <a:lnTo>
                    <a:pt x="0" y="0"/>
                  </a:lnTo>
                  <a:close/>
                  <a:moveTo>
                    <a:pt x="0" y="25877"/>
                  </a:moveTo>
                  <a:lnTo>
                    <a:pt x="53745" y="25877"/>
                  </a:lnTo>
                  <a:lnTo>
                    <a:pt x="53745" y="29858"/>
                  </a:lnTo>
                  <a:lnTo>
                    <a:pt x="0" y="29858"/>
                  </a:lnTo>
                  <a:lnTo>
                    <a:pt x="0" y="25877"/>
                  </a:lnTo>
                  <a:lnTo>
                    <a:pt x="0" y="25877"/>
                  </a:lnTo>
                  <a:lnTo>
                    <a:pt x="0" y="25877"/>
                  </a:lnTo>
                  <a:close/>
                  <a:moveTo>
                    <a:pt x="0" y="13934"/>
                  </a:moveTo>
                  <a:lnTo>
                    <a:pt x="79622" y="13934"/>
                  </a:lnTo>
                  <a:lnTo>
                    <a:pt x="79622" y="17915"/>
                  </a:lnTo>
                  <a:lnTo>
                    <a:pt x="0" y="17915"/>
                  </a:lnTo>
                  <a:lnTo>
                    <a:pt x="0" y="13934"/>
                  </a:lnTo>
                  <a:lnTo>
                    <a:pt x="0" y="13934"/>
                  </a:lnTo>
                  <a:lnTo>
                    <a:pt x="0" y="13934"/>
                  </a:lnTo>
                  <a:lnTo>
                    <a:pt x="0" y="13934"/>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7" name="Freeform: Shape 26">
              <a:extLst>
                <a:ext uri="{FF2B5EF4-FFF2-40B4-BE49-F238E27FC236}">
                  <a16:creationId xmlns:a16="http://schemas.microsoft.com/office/drawing/2014/main" id="{B161627C-9A59-4080-AD9E-1EF80A7DC0DE}"/>
                </a:ext>
              </a:extLst>
            </p:cNvPr>
            <p:cNvSpPr/>
            <p:nvPr/>
          </p:nvSpPr>
          <p:spPr>
            <a:xfrm>
              <a:off x="9997457" y="2535803"/>
              <a:ext cx="79621" cy="29858"/>
            </a:xfrm>
            <a:custGeom>
              <a:avLst/>
              <a:gdLst>
                <a:gd name="connsiteX0" fmla="*/ 0 w 79621"/>
                <a:gd name="connsiteY0" fmla="*/ 0 h 29858"/>
                <a:gd name="connsiteX1" fmla="*/ 79622 w 79621"/>
                <a:gd name="connsiteY1" fmla="*/ 0 h 29858"/>
                <a:gd name="connsiteX2" fmla="*/ 79622 w 79621"/>
                <a:gd name="connsiteY2" fmla="*/ 3981 h 29858"/>
                <a:gd name="connsiteX3" fmla="*/ 0 w 79621"/>
                <a:gd name="connsiteY3" fmla="*/ 3981 h 29858"/>
                <a:gd name="connsiteX4" fmla="*/ 0 w 79621"/>
                <a:gd name="connsiteY4" fmla="*/ 0 h 29858"/>
                <a:gd name="connsiteX5" fmla="*/ 0 w 79621"/>
                <a:gd name="connsiteY5" fmla="*/ 0 h 29858"/>
                <a:gd name="connsiteX6" fmla="*/ 0 w 79621"/>
                <a:gd name="connsiteY6" fmla="*/ 0 h 29858"/>
                <a:gd name="connsiteX7" fmla="*/ 0 w 79621"/>
                <a:gd name="connsiteY7" fmla="*/ 25877 h 29858"/>
                <a:gd name="connsiteX8" fmla="*/ 53745 w 79621"/>
                <a:gd name="connsiteY8" fmla="*/ 25877 h 29858"/>
                <a:gd name="connsiteX9" fmla="*/ 53745 w 79621"/>
                <a:gd name="connsiteY9" fmla="*/ 29858 h 29858"/>
                <a:gd name="connsiteX10" fmla="*/ 0 w 79621"/>
                <a:gd name="connsiteY10" fmla="*/ 29858 h 29858"/>
                <a:gd name="connsiteX11" fmla="*/ 0 w 79621"/>
                <a:gd name="connsiteY11" fmla="*/ 25877 h 29858"/>
                <a:gd name="connsiteX12" fmla="*/ 0 w 79621"/>
                <a:gd name="connsiteY12" fmla="*/ 25877 h 29858"/>
                <a:gd name="connsiteX13" fmla="*/ 0 w 79621"/>
                <a:gd name="connsiteY13" fmla="*/ 25877 h 29858"/>
                <a:gd name="connsiteX14" fmla="*/ 0 w 79621"/>
                <a:gd name="connsiteY14" fmla="*/ 25877 h 29858"/>
                <a:gd name="connsiteX15" fmla="*/ 0 w 79621"/>
                <a:gd name="connsiteY15" fmla="*/ 13934 h 29858"/>
                <a:gd name="connsiteX16" fmla="*/ 79622 w 79621"/>
                <a:gd name="connsiteY16" fmla="*/ 13934 h 29858"/>
                <a:gd name="connsiteX17" fmla="*/ 79622 w 79621"/>
                <a:gd name="connsiteY17" fmla="*/ 17915 h 29858"/>
                <a:gd name="connsiteX18" fmla="*/ 0 w 79621"/>
                <a:gd name="connsiteY18" fmla="*/ 17915 h 29858"/>
                <a:gd name="connsiteX19" fmla="*/ 0 w 79621"/>
                <a:gd name="connsiteY19" fmla="*/ 13934 h 29858"/>
                <a:gd name="connsiteX20" fmla="*/ 0 w 79621"/>
                <a:gd name="connsiteY20" fmla="*/ 13934 h 29858"/>
                <a:gd name="connsiteX21" fmla="*/ 0 w 79621"/>
                <a:gd name="connsiteY21" fmla="*/ 13934 h 29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9621" h="29858">
                  <a:moveTo>
                    <a:pt x="0" y="0"/>
                  </a:moveTo>
                  <a:lnTo>
                    <a:pt x="79622" y="0"/>
                  </a:lnTo>
                  <a:lnTo>
                    <a:pt x="79622" y="3981"/>
                  </a:lnTo>
                  <a:lnTo>
                    <a:pt x="0" y="3981"/>
                  </a:lnTo>
                  <a:lnTo>
                    <a:pt x="0" y="0"/>
                  </a:lnTo>
                  <a:lnTo>
                    <a:pt x="0" y="0"/>
                  </a:lnTo>
                  <a:lnTo>
                    <a:pt x="0" y="0"/>
                  </a:lnTo>
                  <a:close/>
                  <a:moveTo>
                    <a:pt x="0" y="25877"/>
                  </a:moveTo>
                  <a:lnTo>
                    <a:pt x="53745" y="25877"/>
                  </a:lnTo>
                  <a:lnTo>
                    <a:pt x="53745" y="29858"/>
                  </a:lnTo>
                  <a:lnTo>
                    <a:pt x="0" y="29858"/>
                  </a:lnTo>
                  <a:lnTo>
                    <a:pt x="0" y="25877"/>
                  </a:lnTo>
                  <a:lnTo>
                    <a:pt x="0" y="25877"/>
                  </a:lnTo>
                  <a:lnTo>
                    <a:pt x="0" y="25877"/>
                  </a:lnTo>
                  <a:lnTo>
                    <a:pt x="0" y="25877"/>
                  </a:lnTo>
                  <a:close/>
                  <a:moveTo>
                    <a:pt x="0" y="13934"/>
                  </a:moveTo>
                  <a:lnTo>
                    <a:pt x="79622" y="13934"/>
                  </a:lnTo>
                  <a:lnTo>
                    <a:pt x="79622" y="17915"/>
                  </a:lnTo>
                  <a:lnTo>
                    <a:pt x="0" y="17915"/>
                  </a:lnTo>
                  <a:lnTo>
                    <a:pt x="0" y="13934"/>
                  </a:lnTo>
                  <a:lnTo>
                    <a:pt x="0" y="13934"/>
                  </a:lnTo>
                  <a:lnTo>
                    <a:pt x="0" y="13934"/>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8" name="Freeform: Shape 27">
              <a:extLst>
                <a:ext uri="{FF2B5EF4-FFF2-40B4-BE49-F238E27FC236}">
                  <a16:creationId xmlns:a16="http://schemas.microsoft.com/office/drawing/2014/main" id="{492E57E1-4349-4987-BDB9-D46F498D15E2}"/>
                </a:ext>
              </a:extLst>
            </p:cNvPr>
            <p:cNvSpPr/>
            <p:nvPr/>
          </p:nvSpPr>
          <p:spPr>
            <a:xfrm>
              <a:off x="10144757" y="2535803"/>
              <a:ext cx="79621" cy="29858"/>
            </a:xfrm>
            <a:custGeom>
              <a:avLst/>
              <a:gdLst>
                <a:gd name="connsiteX0" fmla="*/ 0 w 79621"/>
                <a:gd name="connsiteY0" fmla="*/ 0 h 29858"/>
                <a:gd name="connsiteX1" fmla="*/ 79622 w 79621"/>
                <a:gd name="connsiteY1" fmla="*/ 0 h 29858"/>
                <a:gd name="connsiteX2" fmla="*/ 79622 w 79621"/>
                <a:gd name="connsiteY2" fmla="*/ 3981 h 29858"/>
                <a:gd name="connsiteX3" fmla="*/ 0 w 79621"/>
                <a:gd name="connsiteY3" fmla="*/ 3981 h 29858"/>
                <a:gd name="connsiteX4" fmla="*/ 0 w 79621"/>
                <a:gd name="connsiteY4" fmla="*/ 0 h 29858"/>
                <a:gd name="connsiteX5" fmla="*/ 0 w 79621"/>
                <a:gd name="connsiteY5" fmla="*/ 0 h 29858"/>
                <a:gd name="connsiteX6" fmla="*/ 0 w 79621"/>
                <a:gd name="connsiteY6" fmla="*/ 0 h 29858"/>
                <a:gd name="connsiteX7" fmla="*/ 0 w 79621"/>
                <a:gd name="connsiteY7" fmla="*/ 25877 h 29858"/>
                <a:gd name="connsiteX8" fmla="*/ 53745 w 79621"/>
                <a:gd name="connsiteY8" fmla="*/ 25877 h 29858"/>
                <a:gd name="connsiteX9" fmla="*/ 53745 w 79621"/>
                <a:gd name="connsiteY9" fmla="*/ 29858 h 29858"/>
                <a:gd name="connsiteX10" fmla="*/ 0 w 79621"/>
                <a:gd name="connsiteY10" fmla="*/ 29858 h 29858"/>
                <a:gd name="connsiteX11" fmla="*/ 0 w 79621"/>
                <a:gd name="connsiteY11" fmla="*/ 25877 h 29858"/>
                <a:gd name="connsiteX12" fmla="*/ 0 w 79621"/>
                <a:gd name="connsiteY12" fmla="*/ 25877 h 29858"/>
                <a:gd name="connsiteX13" fmla="*/ 0 w 79621"/>
                <a:gd name="connsiteY13" fmla="*/ 25877 h 29858"/>
                <a:gd name="connsiteX14" fmla="*/ 0 w 79621"/>
                <a:gd name="connsiteY14" fmla="*/ 13934 h 29858"/>
                <a:gd name="connsiteX15" fmla="*/ 79622 w 79621"/>
                <a:gd name="connsiteY15" fmla="*/ 13934 h 29858"/>
                <a:gd name="connsiteX16" fmla="*/ 79622 w 79621"/>
                <a:gd name="connsiteY16" fmla="*/ 17915 h 29858"/>
                <a:gd name="connsiteX17" fmla="*/ 0 w 79621"/>
                <a:gd name="connsiteY17" fmla="*/ 17915 h 29858"/>
                <a:gd name="connsiteX18" fmla="*/ 0 w 79621"/>
                <a:gd name="connsiteY18" fmla="*/ 13934 h 29858"/>
                <a:gd name="connsiteX19" fmla="*/ 0 w 79621"/>
                <a:gd name="connsiteY19" fmla="*/ 13934 h 29858"/>
                <a:gd name="connsiteX20" fmla="*/ 0 w 79621"/>
                <a:gd name="connsiteY20" fmla="*/ 13934 h 29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621" h="29858">
                  <a:moveTo>
                    <a:pt x="0" y="0"/>
                  </a:moveTo>
                  <a:lnTo>
                    <a:pt x="79622" y="0"/>
                  </a:lnTo>
                  <a:lnTo>
                    <a:pt x="79622" y="3981"/>
                  </a:lnTo>
                  <a:lnTo>
                    <a:pt x="0" y="3981"/>
                  </a:lnTo>
                  <a:lnTo>
                    <a:pt x="0" y="0"/>
                  </a:lnTo>
                  <a:lnTo>
                    <a:pt x="0" y="0"/>
                  </a:lnTo>
                  <a:lnTo>
                    <a:pt x="0" y="0"/>
                  </a:lnTo>
                  <a:close/>
                  <a:moveTo>
                    <a:pt x="0" y="25877"/>
                  </a:moveTo>
                  <a:lnTo>
                    <a:pt x="53745" y="25877"/>
                  </a:lnTo>
                  <a:lnTo>
                    <a:pt x="53745" y="29858"/>
                  </a:lnTo>
                  <a:lnTo>
                    <a:pt x="0" y="29858"/>
                  </a:lnTo>
                  <a:lnTo>
                    <a:pt x="0" y="25877"/>
                  </a:lnTo>
                  <a:lnTo>
                    <a:pt x="0" y="25877"/>
                  </a:lnTo>
                  <a:lnTo>
                    <a:pt x="0" y="25877"/>
                  </a:lnTo>
                  <a:close/>
                  <a:moveTo>
                    <a:pt x="0" y="13934"/>
                  </a:moveTo>
                  <a:lnTo>
                    <a:pt x="79622" y="13934"/>
                  </a:lnTo>
                  <a:lnTo>
                    <a:pt x="79622" y="17915"/>
                  </a:lnTo>
                  <a:lnTo>
                    <a:pt x="0" y="17915"/>
                  </a:lnTo>
                  <a:lnTo>
                    <a:pt x="0" y="13934"/>
                  </a:lnTo>
                  <a:lnTo>
                    <a:pt x="0" y="13934"/>
                  </a:lnTo>
                  <a:lnTo>
                    <a:pt x="0" y="13934"/>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9" name="Freeform: Shape 28">
              <a:extLst>
                <a:ext uri="{FF2B5EF4-FFF2-40B4-BE49-F238E27FC236}">
                  <a16:creationId xmlns:a16="http://schemas.microsoft.com/office/drawing/2014/main" id="{410FD279-FA44-40A7-88D4-B0FD6BD44BAD}"/>
                </a:ext>
              </a:extLst>
            </p:cNvPr>
            <p:cNvSpPr/>
            <p:nvPr/>
          </p:nvSpPr>
          <p:spPr>
            <a:xfrm>
              <a:off x="9830252" y="2460162"/>
              <a:ext cx="416022" cy="1990"/>
            </a:xfrm>
            <a:custGeom>
              <a:avLst/>
              <a:gdLst>
                <a:gd name="connsiteX0" fmla="*/ 0 w 416022"/>
                <a:gd name="connsiteY0" fmla="*/ 0 h 1990"/>
                <a:gd name="connsiteX1" fmla="*/ 416023 w 416022"/>
                <a:gd name="connsiteY1" fmla="*/ 0 h 1990"/>
                <a:gd name="connsiteX2" fmla="*/ 416023 w 416022"/>
                <a:gd name="connsiteY2" fmla="*/ 1991 h 1990"/>
                <a:gd name="connsiteX3" fmla="*/ 0 w 416022"/>
                <a:gd name="connsiteY3" fmla="*/ 1991 h 1990"/>
                <a:gd name="connsiteX4" fmla="*/ 0 w 416022"/>
                <a:gd name="connsiteY4" fmla="*/ 0 h 1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022" h="1990">
                  <a:moveTo>
                    <a:pt x="0" y="0"/>
                  </a:moveTo>
                  <a:lnTo>
                    <a:pt x="416023" y="0"/>
                  </a:lnTo>
                  <a:lnTo>
                    <a:pt x="416023" y="1991"/>
                  </a:lnTo>
                  <a:lnTo>
                    <a:pt x="0" y="1991"/>
                  </a:lnTo>
                  <a:lnTo>
                    <a:pt x="0" y="0"/>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0" name="Freeform: Shape 29">
              <a:extLst>
                <a:ext uri="{FF2B5EF4-FFF2-40B4-BE49-F238E27FC236}">
                  <a16:creationId xmlns:a16="http://schemas.microsoft.com/office/drawing/2014/main" id="{29120D76-EEAB-48B4-BC82-820256BF54A1}"/>
                </a:ext>
              </a:extLst>
            </p:cNvPr>
            <p:cNvSpPr/>
            <p:nvPr/>
          </p:nvSpPr>
          <p:spPr>
            <a:xfrm>
              <a:off x="10027315" y="2639311"/>
              <a:ext cx="23886" cy="23886"/>
            </a:xfrm>
            <a:custGeom>
              <a:avLst/>
              <a:gdLst>
                <a:gd name="connsiteX0" fmla="*/ 23887 w 23886"/>
                <a:gd name="connsiteY0" fmla="*/ 11943 h 23886"/>
                <a:gd name="connsiteX1" fmla="*/ 11943 w 23886"/>
                <a:gd name="connsiteY1" fmla="*/ 23886 h 23886"/>
                <a:gd name="connsiteX2" fmla="*/ 0 w 23886"/>
                <a:gd name="connsiteY2" fmla="*/ 11943 h 23886"/>
                <a:gd name="connsiteX3" fmla="*/ 11943 w 23886"/>
                <a:gd name="connsiteY3" fmla="*/ 0 h 23886"/>
                <a:gd name="connsiteX4" fmla="*/ 23887 w 23886"/>
                <a:gd name="connsiteY4" fmla="*/ 11943 h 23886"/>
                <a:gd name="connsiteX5" fmla="*/ 23887 w 23886"/>
                <a:gd name="connsiteY5" fmla="*/ 11943 h 23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86" h="23886">
                  <a:moveTo>
                    <a:pt x="23887" y="11943"/>
                  </a:moveTo>
                  <a:cubicBezTo>
                    <a:pt x="23887" y="17915"/>
                    <a:pt x="17915" y="23886"/>
                    <a:pt x="11943" y="23886"/>
                  </a:cubicBezTo>
                  <a:cubicBezTo>
                    <a:pt x="5971" y="23886"/>
                    <a:pt x="0" y="17915"/>
                    <a:pt x="0" y="11943"/>
                  </a:cubicBezTo>
                  <a:cubicBezTo>
                    <a:pt x="0" y="5972"/>
                    <a:pt x="5971" y="0"/>
                    <a:pt x="11943" y="0"/>
                  </a:cubicBezTo>
                  <a:cubicBezTo>
                    <a:pt x="17915" y="0"/>
                    <a:pt x="23887" y="5972"/>
                    <a:pt x="23887" y="11943"/>
                  </a:cubicBezTo>
                  <a:lnTo>
                    <a:pt x="23887" y="11943"/>
                  </a:lnTo>
                  <a:close/>
                </a:path>
              </a:pathLst>
            </a:custGeom>
            <a:solidFill>
              <a:srgbClr val="0177A3"/>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1" name="Freeform: Shape 30">
              <a:extLst>
                <a:ext uri="{FF2B5EF4-FFF2-40B4-BE49-F238E27FC236}">
                  <a16:creationId xmlns:a16="http://schemas.microsoft.com/office/drawing/2014/main" id="{428F6928-A5CE-4274-AC69-9255AB4064AC}"/>
                </a:ext>
              </a:extLst>
            </p:cNvPr>
            <p:cNvSpPr/>
            <p:nvPr/>
          </p:nvSpPr>
          <p:spPr>
            <a:xfrm>
              <a:off x="9901911" y="2691065"/>
              <a:ext cx="272703" cy="75640"/>
            </a:xfrm>
            <a:custGeom>
              <a:avLst/>
              <a:gdLst>
                <a:gd name="connsiteX0" fmla="*/ 214978 w 272703"/>
                <a:gd name="connsiteY0" fmla="*/ 55735 h 75640"/>
                <a:gd name="connsiteX1" fmla="*/ 272704 w 272703"/>
                <a:gd name="connsiteY1" fmla="*/ 75641 h 75640"/>
                <a:gd name="connsiteX2" fmla="*/ 0 w 272703"/>
                <a:gd name="connsiteY2" fmla="*/ 75641 h 75640"/>
                <a:gd name="connsiteX3" fmla="*/ 45782 w 272703"/>
                <a:gd name="connsiteY3" fmla="*/ 55735 h 75640"/>
                <a:gd name="connsiteX4" fmla="*/ 45782 w 272703"/>
                <a:gd name="connsiteY4" fmla="*/ 0 h 75640"/>
                <a:gd name="connsiteX5" fmla="*/ 214978 w 272703"/>
                <a:gd name="connsiteY5" fmla="*/ 0 h 75640"/>
                <a:gd name="connsiteX6" fmla="*/ 214978 w 272703"/>
                <a:gd name="connsiteY6" fmla="*/ 55735 h 75640"/>
                <a:gd name="connsiteX7" fmla="*/ 214978 w 272703"/>
                <a:gd name="connsiteY7" fmla="*/ 55735 h 75640"/>
                <a:gd name="connsiteX8" fmla="*/ 214978 w 272703"/>
                <a:gd name="connsiteY8" fmla="*/ 55735 h 7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03" h="75640">
                  <a:moveTo>
                    <a:pt x="214978" y="55735"/>
                  </a:moveTo>
                  <a:lnTo>
                    <a:pt x="272704" y="75641"/>
                  </a:lnTo>
                  <a:lnTo>
                    <a:pt x="0" y="75641"/>
                  </a:lnTo>
                  <a:lnTo>
                    <a:pt x="45782" y="55735"/>
                  </a:lnTo>
                  <a:lnTo>
                    <a:pt x="45782" y="0"/>
                  </a:lnTo>
                  <a:lnTo>
                    <a:pt x="214978" y="0"/>
                  </a:lnTo>
                  <a:lnTo>
                    <a:pt x="214978" y="55735"/>
                  </a:lnTo>
                  <a:lnTo>
                    <a:pt x="214978" y="55735"/>
                  </a:lnTo>
                  <a:lnTo>
                    <a:pt x="214978" y="55735"/>
                  </a:lnTo>
                  <a:close/>
                </a:path>
              </a:pathLst>
            </a:custGeom>
            <a:solidFill>
              <a:srgbClr val="0177A3"/>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2" name="Freeform: Shape 31">
              <a:extLst>
                <a:ext uri="{FF2B5EF4-FFF2-40B4-BE49-F238E27FC236}">
                  <a16:creationId xmlns:a16="http://schemas.microsoft.com/office/drawing/2014/main" id="{63759A00-8235-47FC-95EF-EE7889F81982}"/>
                </a:ext>
              </a:extLst>
            </p:cNvPr>
            <p:cNvSpPr/>
            <p:nvPr/>
          </p:nvSpPr>
          <p:spPr>
            <a:xfrm>
              <a:off x="9949684" y="2691065"/>
              <a:ext cx="167205" cy="57725"/>
            </a:xfrm>
            <a:custGeom>
              <a:avLst/>
              <a:gdLst>
                <a:gd name="connsiteX0" fmla="*/ 167205 w 167205"/>
                <a:gd name="connsiteY0" fmla="*/ 57726 h 57725"/>
                <a:gd name="connsiteX1" fmla="*/ 0 w 167205"/>
                <a:gd name="connsiteY1" fmla="*/ 0 h 57725"/>
                <a:gd name="connsiteX2" fmla="*/ 167205 w 167205"/>
                <a:gd name="connsiteY2" fmla="*/ 0 h 57725"/>
                <a:gd name="connsiteX3" fmla="*/ 167205 w 167205"/>
                <a:gd name="connsiteY3" fmla="*/ 57726 h 57725"/>
                <a:gd name="connsiteX4" fmla="*/ 167205 w 167205"/>
                <a:gd name="connsiteY4" fmla="*/ 57726 h 57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205" h="57725">
                  <a:moveTo>
                    <a:pt x="167205" y="57726"/>
                  </a:moveTo>
                  <a:lnTo>
                    <a:pt x="0" y="0"/>
                  </a:lnTo>
                  <a:lnTo>
                    <a:pt x="167205" y="0"/>
                  </a:lnTo>
                  <a:lnTo>
                    <a:pt x="167205" y="57726"/>
                  </a:lnTo>
                  <a:lnTo>
                    <a:pt x="167205" y="57726"/>
                  </a:lnTo>
                  <a:close/>
                </a:path>
              </a:pathLst>
            </a:custGeom>
            <a:solidFill>
              <a:srgbClr val="0177A3"/>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3" name="Freeform: Shape 32">
              <a:extLst>
                <a:ext uri="{FF2B5EF4-FFF2-40B4-BE49-F238E27FC236}">
                  <a16:creationId xmlns:a16="http://schemas.microsoft.com/office/drawing/2014/main" id="{59925955-34DF-4E18-9D5B-E2425550FB63}"/>
                </a:ext>
              </a:extLst>
            </p:cNvPr>
            <p:cNvSpPr/>
            <p:nvPr/>
          </p:nvSpPr>
          <p:spPr>
            <a:xfrm>
              <a:off x="9901911" y="2748790"/>
              <a:ext cx="272703" cy="25877"/>
            </a:xfrm>
            <a:custGeom>
              <a:avLst/>
              <a:gdLst>
                <a:gd name="connsiteX0" fmla="*/ 45782 w 272703"/>
                <a:gd name="connsiteY0" fmla="*/ 0 h 25877"/>
                <a:gd name="connsiteX1" fmla="*/ 214978 w 272703"/>
                <a:gd name="connsiteY1" fmla="*/ 0 h 25877"/>
                <a:gd name="connsiteX2" fmla="*/ 272704 w 272703"/>
                <a:gd name="connsiteY2" fmla="*/ 17915 h 25877"/>
                <a:gd name="connsiteX3" fmla="*/ 272704 w 272703"/>
                <a:gd name="connsiteY3" fmla="*/ 25877 h 25877"/>
                <a:gd name="connsiteX4" fmla="*/ 135356 w 272703"/>
                <a:gd name="connsiteY4" fmla="*/ 25877 h 25877"/>
                <a:gd name="connsiteX5" fmla="*/ 0 w 272703"/>
                <a:gd name="connsiteY5" fmla="*/ 25877 h 25877"/>
                <a:gd name="connsiteX6" fmla="*/ 0 w 272703"/>
                <a:gd name="connsiteY6" fmla="*/ 17915 h 25877"/>
                <a:gd name="connsiteX7" fmla="*/ 45782 w 272703"/>
                <a:gd name="connsiteY7" fmla="*/ 0 h 25877"/>
                <a:gd name="connsiteX8" fmla="*/ 45782 w 272703"/>
                <a:gd name="connsiteY8" fmla="*/ 0 h 25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03" h="25877">
                  <a:moveTo>
                    <a:pt x="45782" y="0"/>
                  </a:moveTo>
                  <a:lnTo>
                    <a:pt x="214978" y="0"/>
                  </a:lnTo>
                  <a:lnTo>
                    <a:pt x="272704" y="17915"/>
                  </a:lnTo>
                  <a:lnTo>
                    <a:pt x="272704" y="25877"/>
                  </a:lnTo>
                  <a:lnTo>
                    <a:pt x="135356" y="25877"/>
                  </a:lnTo>
                  <a:lnTo>
                    <a:pt x="0" y="25877"/>
                  </a:lnTo>
                  <a:lnTo>
                    <a:pt x="0" y="17915"/>
                  </a:lnTo>
                  <a:lnTo>
                    <a:pt x="45782" y="0"/>
                  </a:lnTo>
                  <a:lnTo>
                    <a:pt x="45782" y="0"/>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4" name="Freeform: Shape 33">
              <a:extLst>
                <a:ext uri="{FF2B5EF4-FFF2-40B4-BE49-F238E27FC236}">
                  <a16:creationId xmlns:a16="http://schemas.microsoft.com/office/drawing/2014/main" id="{47A99FB7-5312-4FE5-9BB0-64641D180BF3}"/>
                </a:ext>
              </a:extLst>
            </p:cNvPr>
            <p:cNvSpPr/>
            <p:nvPr/>
          </p:nvSpPr>
          <p:spPr>
            <a:xfrm>
              <a:off x="9330626" y="2605236"/>
              <a:ext cx="394126" cy="447979"/>
            </a:xfrm>
            <a:custGeom>
              <a:avLst/>
              <a:gdLst>
                <a:gd name="connsiteX0" fmla="*/ 93556 w 394126"/>
                <a:gd name="connsiteY0" fmla="*/ 302798 h 447979"/>
                <a:gd name="connsiteX1" fmla="*/ 101518 w 394126"/>
                <a:gd name="connsiteY1" fmla="*/ 302798 h 447979"/>
                <a:gd name="connsiteX2" fmla="*/ 145309 w 394126"/>
                <a:gd name="connsiteY2" fmla="*/ 278911 h 447979"/>
                <a:gd name="connsiteX3" fmla="*/ 153272 w 394126"/>
                <a:gd name="connsiteY3" fmla="*/ 251044 h 447979"/>
                <a:gd name="connsiteX4" fmla="*/ 121423 w 394126"/>
                <a:gd name="connsiteY4" fmla="*/ 201280 h 447979"/>
                <a:gd name="connsiteX5" fmla="*/ 119432 w 394126"/>
                <a:gd name="connsiteY5" fmla="*/ 201280 h 447979"/>
                <a:gd name="connsiteX6" fmla="*/ 93556 w 394126"/>
                <a:gd name="connsiteY6" fmla="*/ 173413 h 447979"/>
                <a:gd name="connsiteX7" fmla="*/ 103508 w 394126"/>
                <a:gd name="connsiteY7" fmla="*/ 147536 h 447979"/>
                <a:gd name="connsiteX8" fmla="*/ 173177 w 394126"/>
                <a:gd name="connsiteY8" fmla="*/ 2226 h 447979"/>
                <a:gd name="connsiteX9" fmla="*/ 244836 w 394126"/>
                <a:gd name="connsiteY9" fmla="*/ 34075 h 447979"/>
                <a:gd name="connsiteX10" fmla="*/ 300572 w 394126"/>
                <a:gd name="connsiteY10" fmla="*/ 55971 h 447979"/>
                <a:gd name="connsiteX11" fmla="*/ 302562 w 394126"/>
                <a:gd name="connsiteY11" fmla="*/ 147536 h 447979"/>
                <a:gd name="connsiteX12" fmla="*/ 308534 w 394126"/>
                <a:gd name="connsiteY12" fmla="*/ 171422 h 447979"/>
                <a:gd name="connsiteX13" fmla="*/ 282657 w 394126"/>
                <a:gd name="connsiteY13" fmla="*/ 199290 h 447979"/>
                <a:gd name="connsiteX14" fmla="*/ 248817 w 394126"/>
                <a:gd name="connsiteY14" fmla="*/ 249053 h 447979"/>
                <a:gd name="connsiteX15" fmla="*/ 256780 w 394126"/>
                <a:gd name="connsiteY15" fmla="*/ 276921 h 447979"/>
                <a:gd name="connsiteX16" fmla="*/ 256780 w 394126"/>
                <a:gd name="connsiteY16" fmla="*/ 276921 h 447979"/>
                <a:gd name="connsiteX17" fmla="*/ 298581 w 394126"/>
                <a:gd name="connsiteY17" fmla="*/ 300807 h 447979"/>
                <a:gd name="connsiteX18" fmla="*/ 306543 w 394126"/>
                <a:gd name="connsiteY18" fmla="*/ 300807 h 447979"/>
                <a:gd name="connsiteX19" fmla="*/ 394127 w 394126"/>
                <a:gd name="connsiteY19" fmla="*/ 348580 h 447979"/>
                <a:gd name="connsiteX20" fmla="*/ 0 w 394126"/>
                <a:gd name="connsiteY20" fmla="*/ 360524 h 447979"/>
                <a:gd name="connsiteX21" fmla="*/ 93556 w 394126"/>
                <a:gd name="connsiteY21" fmla="*/ 302798 h 447979"/>
                <a:gd name="connsiteX22" fmla="*/ 93556 w 394126"/>
                <a:gd name="connsiteY22" fmla="*/ 302798 h 447979"/>
                <a:gd name="connsiteX23" fmla="*/ 93556 w 394126"/>
                <a:gd name="connsiteY23" fmla="*/ 302798 h 447979"/>
                <a:gd name="connsiteX24" fmla="*/ 93556 w 394126"/>
                <a:gd name="connsiteY24" fmla="*/ 302798 h 447979"/>
                <a:gd name="connsiteX25" fmla="*/ 93556 w 394126"/>
                <a:gd name="connsiteY25" fmla="*/ 302798 h 44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4126" h="447979">
                  <a:moveTo>
                    <a:pt x="93556" y="302798"/>
                  </a:moveTo>
                  <a:lnTo>
                    <a:pt x="101518" y="302798"/>
                  </a:lnTo>
                  <a:lnTo>
                    <a:pt x="145309" y="278911"/>
                  </a:lnTo>
                  <a:lnTo>
                    <a:pt x="153272" y="251044"/>
                  </a:lnTo>
                  <a:cubicBezTo>
                    <a:pt x="143319" y="241091"/>
                    <a:pt x="131376" y="223176"/>
                    <a:pt x="121423" y="201280"/>
                  </a:cubicBezTo>
                  <a:cubicBezTo>
                    <a:pt x="121423" y="201280"/>
                    <a:pt x="119432" y="201280"/>
                    <a:pt x="119432" y="201280"/>
                  </a:cubicBezTo>
                  <a:cubicBezTo>
                    <a:pt x="107489" y="201280"/>
                    <a:pt x="95546" y="189337"/>
                    <a:pt x="93556" y="173413"/>
                  </a:cubicBezTo>
                  <a:cubicBezTo>
                    <a:pt x="91565" y="161470"/>
                    <a:pt x="95546" y="151517"/>
                    <a:pt x="103508" y="147536"/>
                  </a:cubicBezTo>
                  <a:cubicBezTo>
                    <a:pt x="93556" y="97772"/>
                    <a:pt x="87584" y="22132"/>
                    <a:pt x="173177" y="2226"/>
                  </a:cubicBezTo>
                  <a:cubicBezTo>
                    <a:pt x="224931" y="-9717"/>
                    <a:pt x="242846" y="30094"/>
                    <a:pt x="244836" y="34075"/>
                  </a:cubicBezTo>
                  <a:cubicBezTo>
                    <a:pt x="276685" y="16160"/>
                    <a:pt x="296590" y="42037"/>
                    <a:pt x="300572" y="55971"/>
                  </a:cubicBezTo>
                  <a:cubicBezTo>
                    <a:pt x="310524" y="81848"/>
                    <a:pt x="306543" y="127630"/>
                    <a:pt x="302562" y="147536"/>
                  </a:cubicBezTo>
                  <a:cubicBezTo>
                    <a:pt x="308534" y="151517"/>
                    <a:pt x="310524" y="161470"/>
                    <a:pt x="308534" y="171422"/>
                  </a:cubicBezTo>
                  <a:cubicBezTo>
                    <a:pt x="306543" y="187347"/>
                    <a:pt x="294600" y="199290"/>
                    <a:pt x="282657" y="199290"/>
                  </a:cubicBezTo>
                  <a:cubicBezTo>
                    <a:pt x="272704" y="219195"/>
                    <a:pt x="260761" y="237110"/>
                    <a:pt x="248817" y="249053"/>
                  </a:cubicBezTo>
                  <a:lnTo>
                    <a:pt x="256780" y="276921"/>
                  </a:lnTo>
                  <a:lnTo>
                    <a:pt x="256780" y="276921"/>
                  </a:lnTo>
                  <a:lnTo>
                    <a:pt x="298581" y="300807"/>
                  </a:lnTo>
                  <a:lnTo>
                    <a:pt x="306543" y="300807"/>
                  </a:lnTo>
                  <a:cubicBezTo>
                    <a:pt x="344363" y="300807"/>
                    <a:pt x="376212" y="320713"/>
                    <a:pt x="394127" y="348580"/>
                  </a:cubicBezTo>
                  <a:cubicBezTo>
                    <a:pt x="296590" y="475975"/>
                    <a:pt x="103508" y="481947"/>
                    <a:pt x="0" y="360524"/>
                  </a:cubicBezTo>
                  <a:cubicBezTo>
                    <a:pt x="13934" y="328675"/>
                    <a:pt x="51754" y="302798"/>
                    <a:pt x="93556" y="302798"/>
                  </a:cubicBezTo>
                  <a:lnTo>
                    <a:pt x="93556" y="302798"/>
                  </a:lnTo>
                  <a:lnTo>
                    <a:pt x="93556" y="302798"/>
                  </a:lnTo>
                  <a:lnTo>
                    <a:pt x="93556" y="302798"/>
                  </a:lnTo>
                  <a:lnTo>
                    <a:pt x="93556" y="302798"/>
                  </a:lnTo>
                  <a:close/>
                </a:path>
              </a:pathLst>
            </a:custGeom>
            <a:solidFill>
              <a:schemeClr val="accent2"/>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5" name="Freeform: Shape 34">
              <a:extLst>
                <a:ext uri="{FF2B5EF4-FFF2-40B4-BE49-F238E27FC236}">
                  <a16:creationId xmlns:a16="http://schemas.microsoft.com/office/drawing/2014/main" id="{CDD052A1-6A84-4212-A8B8-D76F82B4B4BB}"/>
                </a:ext>
              </a:extLst>
            </p:cNvPr>
            <p:cNvSpPr/>
            <p:nvPr/>
          </p:nvSpPr>
          <p:spPr>
            <a:xfrm>
              <a:off x="10357745" y="2605236"/>
              <a:ext cx="392135" cy="450097"/>
            </a:xfrm>
            <a:custGeom>
              <a:avLst/>
              <a:gdLst>
                <a:gd name="connsiteX0" fmla="*/ 87584 w 392135"/>
                <a:gd name="connsiteY0" fmla="*/ 302798 h 450097"/>
                <a:gd name="connsiteX1" fmla="*/ 95546 w 392135"/>
                <a:gd name="connsiteY1" fmla="*/ 302798 h 450097"/>
                <a:gd name="connsiteX2" fmla="*/ 139338 w 392135"/>
                <a:gd name="connsiteY2" fmla="*/ 278911 h 450097"/>
                <a:gd name="connsiteX3" fmla="*/ 147300 w 392135"/>
                <a:gd name="connsiteY3" fmla="*/ 251044 h 450097"/>
                <a:gd name="connsiteX4" fmla="*/ 117442 w 392135"/>
                <a:gd name="connsiteY4" fmla="*/ 201280 h 450097"/>
                <a:gd name="connsiteX5" fmla="*/ 115451 w 392135"/>
                <a:gd name="connsiteY5" fmla="*/ 201280 h 450097"/>
                <a:gd name="connsiteX6" fmla="*/ 89574 w 392135"/>
                <a:gd name="connsiteY6" fmla="*/ 173413 h 450097"/>
                <a:gd name="connsiteX7" fmla="*/ 99527 w 392135"/>
                <a:gd name="connsiteY7" fmla="*/ 147536 h 450097"/>
                <a:gd name="connsiteX8" fmla="*/ 169196 w 392135"/>
                <a:gd name="connsiteY8" fmla="*/ 2226 h 450097"/>
                <a:gd name="connsiteX9" fmla="*/ 240855 w 392135"/>
                <a:gd name="connsiteY9" fmla="*/ 34075 h 450097"/>
                <a:gd name="connsiteX10" fmla="*/ 296590 w 392135"/>
                <a:gd name="connsiteY10" fmla="*/ 55971 h 450097"/>
                <a:gd name="connsiteX11" fmla="*/ 298581 w 392135"/>
                <a:gd name="connsiteY11" fmla="*/ 147536 h 450097"/>
                <a:gd name="connsiteX12" fmla="*/ 304552 w 392135"/>
                <a:gd name="connsiteY12" fmla="*/ 171422 h 450097"/>
                <a:gd name="connsiteX13" fmla="*/ 280666 w 392135"/>
                <a:gd name="connsiteY13" fmla="*/ 199290 h 450097"/>
                <a:gd name="connsiteX14" fmla="*/ 246827 w 392135"/>
                <a:gd name="connsiteY14" fmla="*/ 249053 h 450097"/>
                <a:gd name="connsiteX15" fmla="*/ 254789 w 392135"/>
                <a:gd name="connsiteY15" fmla="*/ 276921 h 450097"/>
                <a:gd name="connsiteX16" fmla="*/ 254789 w 392135"/>
                <a:gd name="connsiteY16" fmla="*/ 276921 h 450097"/>
                <a:gd name="connsiteX17" fmla="*/ 296590 w 392135"/>
                <a:gd name="connsiteY17" fmla="*/ 300807 h 450097"/>
                <a:gd name="connsiteX18" fmla="*/ 304552 w 392135"/>
                <a:gd name="connsiteY18" fmla="*/ 300807 h 450097"/>
                <a:gd name="connsiteX19" fmla="*/ 392136 w 392135"/>
                <a:gd name="connsiteY19" fmla="*/ 348580 h 450097"/>
                <a:gd name="connsiteX20" fmla="*/ 191092 w 392135"/>
                <a:gd name="connsiteY20" fmla="*/ 450098 h 450097"/>
                <a:gd name="connsiteX21" fmla="*/ 0 w 392135"/>
                <a:gd name="connsiteY21" fmla="*/ 360524 h 450097"/>
                <a:gd name="connsiteX22" fmla="*/ 87584 w 392135"/>
                <a:gd name="connsiteY22" fmla="*/ 302798 h 450097"/>
                <a:gd name="connsiteX23" fmla="*/ 87584 w 392135"/>
                <a:gd name="connsiteY23" fmla="*/ 302798 h 450097"/>
                <a:gd name="connsiteX24" fmla="*/ 87584 w 392135"/>
                <a:gd name="connsiteY24" fmla="*/ 302798 h 450097"/>
                <a:gd name="connsiteX25" fmla="*/ 87584 w 392135"/>
                <a:gd name="connsiteY25" fmla="*/ 302798 h 450097"/>
                <a:gd name="connsiteX26" fmla="*/ 87584 w 392135"/>
                <a:gd name="connsiteY26" fmla="*/ 302798 h 45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135" h="450097">
                  <a:moveTo>
                    <a:pt x="87584" y="302798"/>
                  </a:moveTo>
                  <a:lnTo>
                    <a:pt x="95546" y="302798"/>
                  </a:lnTo>
                  <a:lnTo>
                    <a:pt x="139338" y="278911"/>
                  </a:lnTo>
                  <a:lnTo>
                    <a:pt x="147300" y="251044"/>
                  </a:lnTo>
                  <a:cubicBezTo>
                    <a:pt x="137347" y="241091"/>
                    <a:pt x="125404" y="223176"/>
                    <a:pt x="117442" y="201280"/>
                  </a:cubicBezTo>
                  <a:cubicBezTo>
                    <a:pt x="117442" y="201280"/>
                    <a:pt x="115451" y="201280"/>
                    <a:pt x="115451" y="201280"/>
                  </a:cubicBezTo>
                  <a:cubicBezTo>
                    <a:pt x="103508" y="201280"/>
                    <a:pt x="93555" y="189337"/>
                    <a:pt x="89574" y="173413"/>
                  </a:cubicBezTo>
                  <a:cubicBezTo>
                    <a:pt x="87584" y="161470"/>
                    <a:pt x="91565" y="151517"/>
                    <a:pt x="99527" y="147536"/>
                  </a:cubicBezTo>
                  <a:cubicBezTo>
                    <a:pt x="89574" y="97772"/>
                    <a:pt x="83602" y="22132"/>
                    <a:pt x="169196" y="2226"/>
                  </a:cubicBezTo>
                  <a:cubicBezTo>
                    <a:pt x="220950" y="-9717"/>
                    <a:pt x="238865" y="30094"/>
                    <a:pt x="240855" y="34075"/>
                  </a:cubicBezTo>
                  <a:cubicBezTo>
                    <a:pt x="272704" y="16160"/>
                    <a:pt x="290619" y="42037"/>
                    <a:pt x="296590" y="55971"/>
                  </a:cubicBezTo>
                  <a:cubicBezTo>
                    <a:pt x="306543" y="81848"/>
                    <a:pt x="302562" y="127630"/>
                    <a:pt x="298581" y="147536"/>
                  </a:cubicBezTo>
                  <a:cubicBezTo>
                    <a:pt x="304552" y="151517"/>
                    <a:pt x="306543" y="161470"/>
                    <a:pt x="304552" y="171422"/>
                  </a:cubicBezTo>
                  <a:cubicBezTo>
                    <a:pt x="302562" y="187347"/>
                    <a:pt x="290619" y="199290"/>
                    <a:pt x="280666" y="199290"/>
                  </a:cubicBezTo>
                  <a:cubicBezTo>
                    <a:pt x="270714" y="219195"/>
                    <a:pt x="258770" y="237110"/>
                    <a:pt x="246827" y="249053"/>
                  </a:cubicBezTo>
                  <a:lnTo>
                    <a:pt x="254789" y="276921"/>
                  </a:lnTo>
                  <a:lnTo>
                    <a:pt x="254789" y="276921"/>
                  </a:lnTo>
                  <a:lnTo>
                    <a:pt x="296590" y="300807"/>
                  </a:lnTo>
                  <a:lnTo>
                    <a:pt x="304552" y="300807"/>
                  </a:lnTo>
                  <a:cubicBezTo>
                    <a:pt x="342372" y="300807"/>
                    <a:pt x="374221" y="320713"/>
                    <a:pt x="392136" y="348580"/>
                  </a:cubicBezTo>
                  <a:cubicBezTo>
                    <a:pt x="346354" y="410287"/>
                    <a:pt x="272704" y="450098"/>
                    <a:pt x="191092" y="450098"/>
                  </a:cubicBezTo>
                  <a:cubicBezTo>
                    <a:pt x="113460" y="450098"/>
                    <a:pt x="45782" y="416259"/>
                    <a:pt x="0" y="360524"/>
                  </a:cubicBezTo>
                  <a:cubicBezTo>
                    <a:pt x="9953" y="328675"/>
                    <a:pt x="45782" y="302798"/>
                    <a:pt x="87584" y="302798"/>
                  </a:cubicBezTo>
                  <a:lnTo>
                    <a:pt x="87584" y="302798"/>
                  </a:lnTo>
                  <a:lnTo>
                    <a:pt x="87584" y="302798"/>
                  </a:lnTo>
                  <a:lnTo>
                    <a:pt x="87584" y="302798"/>
                  </a:lnTo>
                  <a:lnTo>
                    <a:pt x="87584" y="302798"/>
                  </a:lnTo>
                  <a:close/>
                </a:path>
              </a:pathLst>
            </a:custGeom>
            <a:solidFill>
              <a:schemeClr val="accent2"/>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6" name="Freeform: Shape 35">
              <a:extLst>
                <a:ext uri="{FF2B5EF4-FFF2-40B4-BE49-F238E27FC236}">
                  <a16:creationId xmlns:a16="http://schemas.microsoft.com/office/drawing/2014/main" id="{2B4ED5DE-EA98-4146-824C-07FF84B02A81}"/>
                </a:ext>
              </a:extLst>
            </p:cNvPr>
            <p:cNvSpPr/>
            <p:nvPr/>
          </p:nvSpPr>
          <p:spPr>
            <a:xfrm>
              <a:off x="9848166" y="1685606"/>
              <a:ext cx="392136" cy="450097"/>
            </a:xfrm>
            <a:custGeom>
              <a:avLst/>
              <a:gdLst>
                <a:gd name="connsiteX0" fmla="*/ 87584 w 392136"/>
                <a:gd name="connsiteY0" fmla="*/ 302798 h 450097"/>
                <a:gd name="connsiteX1" fmla="*/ 95546 w 392136"/>
                <a:gd name="connsiteY1" fmla="*/ 302798 h 450097"/>
                <a:gd name="connsiteX2" fmla="*/ 139338 w 392136"/>
                <a:gd name="connsiteY2" fmla="*/ 278911 h 450097"/>
                <a:gd name="connsiteX3" fmla="*/ 147300 w 392136"/>
                <a:gd name="connsiteY3" fmla="*/ 251044 h 450097"/>
                <a:gd name="connsiteX4" fmla="*/ 117442 w 392136"/>
                <a:gd name="connsiteY4" fmla="*/ 201280 h 450097"/>
                <a:gd name="connsiteX5" fmla="*/ 115451 w 392136"/>
                <a:gd name="connsiteY5" fmla="*/ 201280 h 450097"/>
                <a:gd name="connsiteX6" fmla="*/ 89574 w 392136"/>
                <a:gd name="connsiteY6" fmla="*/ 173413 h 450097"/>
                <a:gd name="connsiteX7" fmla="*/ 99527 w 392136"/>
                <a:gd name="connsiteY7" fmla="*/ 147536 h 450097"/>
                <a:gd name="connsiteX8" fmla="*/ 169196 w 392136"/>
                <a:gd name="connsiteY8" fmla="*/ 2226 h 450097"/>
                <a:gd name="connsiteX9" fmla="*/ 240855 w 392136"/>
                <a:gd name="connsiteY9" fmla="*/ 34075 h 450097"/>
                <a:gd name="connsiteX10" fmla="*/ 296590 w 392136"/>
                <a:gd name="connsiteY10" fmla="*/ 55971 h 450097"/>
                <a:gd name="connsiteX11" fmla="*/ 298581 w 392136"/>
                <a:gd name="connsiteY11" fmla="*/ 147536 h 450097"/>
                <a:gd name="connsiteX12" fmla="*/ 304552 w 392136"/>
                <a:gd name="connsiteY12" fmla="*/ 171422 h 450097"/>
                <a:gd name="connsiteX13" fmla="*/ 280666 w 392136"/>
                <a:gd name="connsiteY13" fmla="*/ 199290 h 450097"/>
                <a:gd name="connsiteX14" fmla="*/ 246827 w 392136"/>
                <a:gd name="connsiteY14" fmla="*/ 249053 h 450097"/>
                <a:gd name="connsiteX15" fmla="*/ 254789 w 392136"/>
                <a:gd name="connsiteY15" fmla="*/ 276921 h 450097"/>
                <a:gd name="connsiteX16" fmla="*/ 254789 w 392136"/>
                <a:gd name="connsiteY16" fmla="*/ 276921 h 450097"/>
                <a:gd name="connsiteX17" fmla="*/ 296590 w 392136"/>
                <a:gd name="connsiteY17" fmla="*/ 300807 h 450097"/>
                <a:gd name="connsiteX18" fmla="*/ 304552 w 392136"/>
                <a:gd name="connsiteY18" fmla="*/ 300807 h 450097"/>
                <a:gd name="connsiteX19" fmla="*/ 392137 w 392136"/>
                <a:gd name="connsiteY19" fmla="*/ 348580 h 450097"/>
                <a:gd name="connsiteX20" fmla="*/ 191092 w 392136"/>
                <a:gd name="connsiteY20" fmla="*/ 450098 h 450097"/>
                <a:gd name="connsiteX21" fmla="*/ 0 w 392136"/>
                <a:gd name="connsiteY21" fmla="*/ 360524 h 450097"/>
                <a:gd name="connsiteX22" fmla="*/ 87584 w 392136"/>
                <a:gd name="connsiteY22" fmla="*/ 302798 h 450097"/>
                <a:gd name="connsiteX23" fmla="*/ 87584 w 392136"/>
                <a:gd name="connsiteY23" fmla="*/ 302798 h 450097"/>
                <a:gd name="connsiteX24" fmla="*/ 87584 w 392136"/>
                <a:gd name="connsiteY24" fmla="*/ 302798 h 450097"/>
                <a:gd name="connsiteX25" fmla="*/ 87584 w 392136"/>
                <a:gd name="connsiteY25" fmla="*/ 302798 h 450097"/>
                <a:gd name="connsiteX26" fmla="*/ 87584 w 392136"/>
                <a:gd name="connsiteY26" fmla="*/ 302798 h 450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136" h="450097">
                  <a:moveTo>
                    <a:pt x="87584" y="302798"/>
                  </a:moveTo>
                  <a:lnTo>
                    <a:pt x="95546" y="302798"/>
                  </a:lnTo>
                  <a:lnTo>
                    <a:pt x="139338" y="278911"/>
                  </a:lnTo>
                  <a:lnTo>
                    <a:pt x="147300" y="251044"/>
                  </a:lnTo>
                  <a:cubicBezTo>
                    <a:pt x="137347" y="241091"/>
                    <a:pt x="125404" y="223176"/>
                    <a:pt x="117442" y="201280"/>
                  </a:cubicBezTo>
                  <a:cubicBezTo>
                    <a:pt x="117442" y="201280"/>
                    <a:pt x="115451" y="201280"/>
                    <a:pt x="115451" y="201280"/>
                  </a:cubicBezTo>
                  <a:cubicBezTo>
                    <a:pt x="103508" y="201280"/>
                    <a:pt x="93556" y="189337"/>
                    <a:pt x="89574" y="173413"/>
                  </a:cubicBezTo>
                  <a:cubicBezTo>
                    <a:pt x="87584" y="161470"/>
                    <a:pt x="91565" y="151517"/>
                    <a:pt x="99527" y="147536"/>
                  </a:cubicBezTo>
                  <a:cubicBezTo>
                    <a:pt x="89574" y="97772"/>
                    <a:pt x="83603" y="22132"/>
                    <a:pt x="169196" y="2226"/>
                  </a:cubicBezTo>
                  <a:cubicBezTo>
                    <a:pt x="220950" y="-9717"/>
                    <a:pt x="238865" y="30094"/>
                    <a:pt x="240855" y="34075"/>
                  </a:cubicBezTo>
                  <a:cubicBezTo>
                    <a:pt x="272704" y="16160"/>
                    <a:pt x="290619" y="42037"/>
                    <a:pt x="296590" y="55971"/>
                  </a:cubicBezTo>
                  <a:cubicBezTo>
                    <a:pt x="306543" y="81848"/>
                    <a:pt x="302562" y="127630"/>
                    <a:pt x="298581" y="147536"/>
                  </a:cubicBezTo>
                  <a:cubicBezTo>
                    <a:pt x="304552" y="151517"/>
                    <a:pt x="306543" y="161470"/>
                    <a:pt x="304552" y="171422"/>
                  </a:cubicBezTo>
                  <a:cubicBezTo>
                    <a:pt x="302562" y="187347"/>
                    <a:pt x="290619" y="199290"/>
                    <a:pt x="280666" y="199290"/>
                  </a:cubicBezTo>
                  <a:cubicBezTo>
                    <a:pt x="270714" y="219195"/>
                    <a:pt x="258770" y="237110"/>
                    <a:pt x="246827" y="249053"/>
                  </a:cubicBezTo>
                  <a:lnTo>
                    <a:pt x="254789" y="276921"/>
                  </a:lnTo>
                  <a:lnTo>
                    <a:pt x="254789" y="276921"/>
                  </a:lnTo>
                  <a:lnTo>
                    <a:pt x="296590" y="300807"/>
                  </a:lnTo>
                  <a:lnTo>
                    <a:pt x="304552" y="300807"/>
                  </a:lnTo>
                  <a:cubicBezTo>
                    <a:pt x="342373" y="300807"/>
                    <a:pt x="374221" y="320713"/>
                    <a:pt x="392137" y="348580"/>
                  </a:cubicBezTo>
                  <a:cubicBezTo>
                    <a:pt x="346354" y="410287"/>
                    <a:pt x="272704" y="450098"/>
                    <a:pt x="191092" y="450098"/>
                  </a:cubicBezTo>
                  <a:cubicBezTo>
                    <a:pt x="113461" y="450098"/>
                    <a:pt x="45782" y="416259"/>
                    <a:pt x="0" y="360524"/>
                  </a:cubicBezTo>
                  <a:cubicBezTo>
                    <a:pt x="7962" y="326684"/>
                    <a:pt x="43792" y="302798"/>
                    <a:pt x="87584" y="302798"/>
                  </a:cubicBezTo>
                  <a:lnTo>
                    <a:pt x="87584" y="302798"/>
                  </a:lnTo>
                  <a:lnTo>
                    <a:pt x="87584" y="302798"/>
                  </a:lnTo>
                  <a:lnTo>
                    <a:pt x="87584" y="302798"/>
                  </a:lnTo>
                  <a:lnTo>
                    <a:pt x="87584" y="302798"/>
                  </a:lnTo>
                  <a:close/>
                </a:path>
              </a:pathLst>
            </a:custGeom>
            <a:solidFill>
              <a:schemeClr val="accent2"/>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7" name="Freeform: Shape 36">
              <a:extLst>
                <a:ext uri="{FF2B5EF4-FFF2-40B4-BE49-F238E27FC236}">
                  <a16:creationId xmlns:a16="http://schemas.microsoft.com/office/drawing/2014/main" id="{78410D37-8736-4713-8C14-E924CBFD6B2D}"/>
                </a:ext>
              </a:extLst>
            </p:cNvPr>
            <p:cNvSpPr/>
            <p:nvPr/>
          </p:nvSpPr>
          <p:spPr>
            <a:xfrm>
              <a:off x="10037268" y="2056083"/>
              <a:ext cx="9952" cy="125403"/>
            </a:xfrm>
            <a:custGeom>
              <a:avLst/>
              <a:gdLst>
                <a:gd name="connsiteX0" fmla="*/ 0 w 9952"/>
                <a:gd name="connsiteY0" fmla="*/ 0 h 125403"/>
                <a:gd name="connsiteX1" fmla="*/ 9953 w 9952"/>
                <a:gd name="connsiteY1" fmla="*/ 0 h 125403"/>
                <a:gd name="connsiteX2" fmla="*/ 9953 w 9952"/>
                <a:gd name="connsiteY2" fmla="*/ 125404 h 125403"/>
                <a:gd name="connsiteX3" fmla="*/ 0 w 9952"/>
                <a:gd name="connsiteY3" fmla="*/ 125404 h 125403"/>
                <a:gd name="connsiteX4" fmla="*/ 0 w 9952"/>
                <a:gd name="connsiteY4" fmla="*/ 0 h 125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2" h="125403">
                  <a:moveTo>
                    <a:pt x="0" y="0"/>
                  </a:moveTo>
                  <a:lnTo>
                    <a:pt x="9953" y="0"/>
                  </a:lnTo>
                  <a:lnTo>
                    <a:pt x="9953" y="125404"/>
                  </a:lnTo>
                  <a:lnTo>
                    <a:pt x="0" y="125404"/>
                  </a:lnTo>
                  <a:lnTo>
                    <a:pt x="0" y="0"/>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8" name="Freeform: Shape 37">
              <a:extLst>
                <a:ext uri="{FF2B5EF4-FFF2-40B4-BE49-F238E27FC236}">
                  <a16:creationId xmlns:a16="http://schemas.microsoft.com/office/drawing/2014/main" id="{B69DE169-7116-47D2-A047-B6E428777055}"/>
                </a:ext>
              </a:extLst>
            </p:cNvPr>
            <p:cNvSpPr/>
            <p:nvPr/>
          </p:nvSpPr>
          <p:spPr>
            <a:xfrm>
              <a:off x="10021344" y="2036177"/>
              <a:ext cx="39810" cy="39810"/>
            </a:xfrm>
            <a:custGeom>
              <a:avLst/>
              <a:gdLst>
                <a:gd name="connsiteX0" fmla="*/ 39811 w 39810"/>
                <a:gd name="connsiteY0" fmla="*/ 19905 h 39810"/>
                <a:gd name="connsiteX1" fmla="*/ 19905 w 39810"/>
                <a:gd name="connsiteY1" fmla="*/ 39811 h 39810"/>
                <a:gd name="connsiteX2" fmla="*/ 0 w 39810"/>
                <a:gd name="connsiteY2" fmla="*/ 19905 h 39810"/>
                <a:gd name="connsiteX3" fmla="*/ 19905 w 39810"/>
                <a:gd name="connsiteY3" fmla="*/ 0 h 39810"/>
                <a:gd name="connsiteX4" fmla="*/ 39811 w 39810"/>
                <a:gd name="connsiteY4" fmla="*/ 19905 h 39810"/>
                <a:gd name="connsiteX5" fmla="*/ 39811 w 39810"/>
                <a:gd name="connsiteY5" fmla="*/ 19905 h 3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10" h="39810">
                  <a:moveTo>
                    <a:pt x="39811" y="19905"/>
                  </a:moveTo>
                  <a:cubicBezTo>
                    <a:pt x="39811" y="29858"/>
                    <a:pt x="31848" y="39811"/>
                    <a:pt x="19905" y="39811"/>
                  </a:cubicBezTo>
                  <a:cubicBezTo>
                    <a:pt x="9953" y="39811"/>
                    <a:pt x="0" y="31849"/>
                    <a:pt x="0" y="19905"/>
                  </a:cubicBezTo>
                  <a:cubicBezTo>
                    <a:pt x="0" y="9953"/>
                    <a:pt x="7962" y="0"/>
                    <a:pt x="19905" y="0"/>
                  </a:cubicBezTo>
                  <a:cubicBezTo>
                    <a:pt x="31848" y="1991"/>
                    <a:pt x="39811" y="9953"/>
                    <a:pt x="39811" y="19905"/>
                  </a:cubicBezTo>
                  <a:lnTo>
                    <a:pt x="39811" y="19905"/>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39" name="Freeform: Shape 38">
              <a:extLst>
                <a:ext uri="{FF2B5EF4-FFF2-40B4-BE49-F238E27FC236}">
                  <a16:creationId xmlns:a16="http://schemas.microsoft.com/office/drawing/2014/main" id="{C7A5C1D9-E172-43A4-B184-C2D136772EAB}"/>
                </a:ext>
              </a:extLst>
            </p:cNvPr>
            <p:cNvSpPr/>
            <p:nvPr/>
          </p:nvSpPr>
          <p:spPr>
            <a:xfrm>
              <a:off x="9511765" y="2414380"/>
              <a:ext cx="1052995" cy="312514"/>
            </a:xfrm>
            <a:custGeom>
              <a:avLst/>
              <a:gdLst>
                <a:gd name="connsiteX0" fmla="*/ 0 w 1052995"/>
                <a:gd name="connsiteY0" fmla="*/ 310524 h 312514"/>
                <a:gd name="connsiteX1" fmla="*/ 0 w 1052995"/>
                <a:gd name="connsiteY1" fmla="*/ 3981 h 312514"/>
                <a:gd name="connsiteX2" fmla="*/ 0 w 1052995"/>
                <a:gd name="connsiteY2" fmla="*/ 0 h 312514"/>
                <a:gd name="connsiteX3" fmla="*/ 3981 w 1052995"/>
                <a:gd name="connsiteY3" fmla="*/ 0 h 312514"/>
                <a:gd name="connsiteX4" fmla="*/ 153271 w 1052995"/>
                <a:gd name="connsiteY4" fmla="*/ 0 h 312514"/>
                <a:gd name="connsiteX5" fmla="*/ 153271 w 1052995"/>
                <a:gd name="connsiteY5" fmla="*/ 7962 h 312514"/>
                <a:gd name="connsiteX6" fmla="*/ 7962 w 1052995"/>
                <a:gd name="connsiteY6" fmla="*/ 7962 h 312514"/>
                <a:gd name="connsiteX7" fmla="*/ 7962 w 1052995"/>
                <a:gd name="connsiteY7" fmla="*/ 310524 h 312514"/>
                <a:gd name="connsiteX8" fmla="*/ 0 w 1052995"/>
                <a:gd name="connsiteY8" fmla="*/ 310524 h 312514"/>
                <a:gd name="connsiteX9" fmla="*/ 0 w 1052995"/>
                <a:gd name="connsiteY9" fmla="*/ 310524 h 312514"/>
                <a:gd name="connsiteX10" fmla="*/ 0 w 1052995"/>
                <a:gd name="connsiteY10" fmla="*/ 310524 h 312514"/>
                <a:gd name="connsiteX11" fmla="*/ 0 w 1052995"/>
                <a:gd name="connsiteY11" fmla="*/ 310524 h 312514"/>
                <a:gd name="connsiteX12" fmla="*/ 0 w 1052995"/>
                <a:gd name="connsiteY12" fmla="*/ 310524 h 312514"/>
                <a:gd name="connsiteX13" fmla="*/ 1045033 w 1052995"/>
                <a:gd name="connsiteY13" fmla="*/ 310524 h 312514"/>
                <a:gd name="connsiteX14" fmla="*/ 1045033 w 1052995"/>
                <a:gd name="connsiteY14" fmla="*/ 7962 h 312514"/>
                <a:gd name="connsiteX15" fmla="*/ 887781 w 1052995"/>
                <a:gd name="connsiteY15" fmla="*/ 7962 h 312514"/>
                <a:gd name="connsiteX16" fmla="*/ 887781 w 1052995"/>
                <a:gd name="connsiteY16" fmla="*/ 0 h 312514"/>
                <a:gd name="connsiteX17" fmla="*/ 1049014 w 1052995"/>
                <a:gd name="connsiteY17" fmla="*/ 0 h 312514"/>
                <a:gd name="connsiteX18" fmla="*/ 1052995 w 1052995"/>
                <a:gd name="connsiteY18" fmla="*/ 0 h 312514"/>
                <a:gd name="connsiteX19" fmla="*/ 1052995 w 1052995"/>
                <a:gd name="connsiteY19" fmla="*/ 3981 h 312514"/>
                <a:gd name="connsiteX20" fmla="*/ 1052995 w 1052995"/>
                <a:gd name="connsiteY20" fmla="*/ 312515 h 312514"/>
                <a:gd name="connsiteX21" fmla="*/ 1045033 w 1052995"/>
                <a:gd name="connsiteY21" fmla="*/ 310524 h 312514"/>
                <a:gd name="connsiteX22" fmla="*/ 1045033 w 1052995"/>
                <a:gd name="connsiteY22" fmla="*/ 310524 h 312514"/>
                <a:gd name="connsiteX23" fmla="*/ 1045033 w 1052995"/>
                <a:gd name="connsiteY23" fmla="*/ 310524 h 312514"/>
                <a:gd name="connsiteX24" fmla="*/ 1045033 w 1052995"/>
                <a:gd name="connsiteY24" fmla="*/ 310524 h 31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52995" h="312514">
                  <a:moveTo>
                    <a:pt x="0" y="310524"/>
                  </a:moveTo>
                  <a:lnTo>
                    <a:pt x="0" y="3981"/>
                  </a:lnTo>
                  <a:lnTo>
                    <a:pt x="0" y="0"/>
                  </a:lnTo>
                  <a:lnTo>
                    <a:pt x="3981" y="0"/>
                  </a:lnTo>
                  <a:lnTo>
                    <a:pt x="153271" y="0"/>
                  </a:lnTo>
                  <a:lnTo>
                    <a:pt x="153271" y="7962"/>
                  </a:lnTo>
                  <a:lnTo>
                    <a:pt x="7962" y="7962"/>
                  </a:lnTo>
                  <a:lnTo>
                    <a:pt x="7962" y="310524"/>
                  </a:lnTo>
                  <a:lnTo>
                    <a:pt x="0" y="310524"/>
                  </a:lnTo>
                  <a:lnTo>
                    <a:pt x="0" y="310524"/>
                  </a:lnTo>
                  <a:lnTo>
                    <a:pt x="0" y="310524"/>
                  </a:lnTo>
                  <a:lnTo>
                    <a:pt x="0" y="310524"/>
                  </a:lnTo>
                  <a:lnTo>
                    <a:pt x="0" y="310524"/>
                  </a:lnTo>
                  <a:close/>
                  <a:moveTo>
                    <a:pt x="1045033" y="310524"/>
                  </a:moveTo>
                  <a:lnTo>
                    <a:pt x="1045033" y="7962"/>
                  </a:lnTo>
                  <a:lnTo>
                    <a:pt x="887781" y="7962"/>
                  </a:lnTo>
                  <a:lnTo>
                    <a:pt x="887781" y="0"/>
                  </a:lnTo>
                  <a:lnTo>
                    <a:pt x="1049014" y="0"/>
                  </a:lnTo>
                  <a:lnTo>
                    <a:pt x="1052995" y="0"/>
                  </a:lnTo>
                  <a:lnTo>
                    <a:pt x="1052995" y="3981"/>
                  </a:lnTo>
                  <a:lnTo>
                    <a:pt x="1052995" y="312515"/>
                  </a:lnTo>
                  <a:lnTo>
                    <a:pt x="1045033" y="310524"/>
                  </a:lnTo>
                  <a:lnTo>
                    <a:pt x="1045033" y="310524"/>
                  </a:lnTo>
                  <a:lnTo>
                    <a:pt x="1045033" y="310524"/>
                  </a:lnTo>
                  <a:lnTo>
                    <a:pt x="1045033" y="310524"/>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0" name="Freeform: Shape 39">
              <a:extLst>
                <a:ext uri="{FF2B5EF4-FFF2-40B4-BE49-F238E27FC236}">
                  <a16:creationId xmlns:a16="http://schemas.microsoft.com/office/drawing/2014/main" id="{A6302164-7280-4A09-8EAD-9F2EEE12C1B2}"/>
                </a:ext>
              </a:extLst>
            </p:cNvPr>
            <p:cNvSpPr/>
            <p:nvPr/>
          </p:nvSpPr>
          <p:spPr>
            <a:xfrm>
              <a:off x="9497831" y="2706734"/>
              <a:ext cx="39810" cy="40065"/>
            </a:xfrm>
            <a:custGeom>
              <a:avLst/>
              <a:gdLst>
                <a:gd name="connsiteX0" fmla="*/ 39811 w 39810"/>
                <a:gd name="connsiteY0" fmla="*/ 20160 h 40065"/>
                <a:gd name="connsiteX1" fmla="*/ 19905 w 39810"/>
                <a:gd name="connsiteY1" fmla="*/ 40066 h 40065"/>
                <a:gd name="connsiteX2" fmla="*/ 0 w 39810"/>
                <a:gd name="connsiteY2" fmla="*/ 20160 h 40065"/>
                <a:gd name="connsiteX3" fmla="*/ 19905 w 39810"/>
                <a:gd name="connsiteY3" fmla="*/ 255 h 40065"/>
                <a:gd name="connsiteX4" fmla="*/ 39811 w 39810"/>
                <a:gd name="connsiteY4" fmla="*/ 20160 h 40065"/>
                <a:gd name="connsiteX5" fmla="*/ 39811 w 39810"/>
                <a:gd name="connsiteY5" fmla="*/ 20160 h 4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10" h="40065">
                  <a:moveTo>
                    <a:pt x="39811" y="20160"/>
                  </a:moveTo>
                  <a:cubicBezTo>
                    <a:pt x="39811" y="32104"/>
                    <a:pt x="29858" y="40066"/>
                    <a:pt x="19905" y="40066"/>
                  </a:cubicBezTo>
                  <a:cubicBezTo>
                    <a:pt x="7962" y="40066"/>
                    <a:pt x="0" y="30113"/>
                    <a:pt x="0" y="20160"/>
                  </a:cubicBezTo>
                  <a:cubicBezTo>
                    <a:pt x="0" y="8217"/>
                    <a:pt x="9953" y="255"/>
                    <a:pt x="19905" y="255"/>
                  </a:cubicBezTo>
                  <a:cubicBezTo>
                    <a:pt x="29858" y="-1736"/>
                    <a:pt x="39811" y="8217"/>
                    <a:pt x="39811" y="20160"/>
                  </a:cubicBezTo>
                  <a:lnTo>
                    <a:pt x="39811" y="20160"/>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1" name="Freeform: Shape 40">
              <a:extLst>
                <a:ext uri="{FF2B5EF4-FFF2-40B4-BE49-F238E27FC236}">
                  <a16:creationId xmlns:a16="http://schemas.microsoft.com/office/drawing/2014/main" id="{48EA7067-62F3-4922-8CA2-D0E6D11E8568}"/>
                </a:ext>
              </a:extLst>
            </p:cNvPr>
            <p:cNvSpPr/>
            <p:nvPr/>
          </p:nvSpPr>
          <p:spPr>
            <a:xfrm>
              <a:off x="10540874" y="2706734"/>
              <a:ext cx="39810" cy="40065"/>
            </a:xfrm>
            <a:custGeom>
              <a:avLst/>
              <a:gdLst>
                <a:gd name="connsiteX0" fmla="*/ 39811 w 39810"/>
                <a:gd name="connsiteY0" fmla="*/ 20160 h 40065"/>
                <a:gd name="connsiteX1" fmla="*/ 19905 w 39810"/>
                <a:gd name="connsiteY1" fmla="*/ 40066 h 40065"/>
                <a:gd name="connsiteX2" fmla="*/ 0 w 39810"/>
                <a:gd name="connsiteY2" fmla="*/ 20160 h 40065"/>
                <a:gd name="connsiteX3" fmla="*/ 19905 w 39810"/>
                <a:gd name="connsiteY3" fmla="*/ 255 h 40065"/>
                <a:gd name="connsiteX4" fmla="*/ 39811 w 39810"/>
                <a:gd name="connsiteY4" fmla="*/ 20160 h 40065"/>
                <a:gd name="connsiteX5" fmla="*/ 39811 w 39810"/>
                <a:gd name="connsiteY5" fmla="*/ 20160 h 4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10" h="40065">
                  <a:moveTo>
                    <a:pt x="39811" y="20160"/>
                  </a:moveTo>
                  <a:cubicBezTo>
                    <a:pt x="39811" y="32104"/>
                    <a:pt x="29858" y="40066"/>
                    <a:pt x="19905" y="40066"/>
                  </a:cubicBezTo>
                  <a:cubicBezTo>
                    <a:pt x="7963" y="40066"/>
                    <a:pt x="0" y="30113"/>
                    <a:pt x="0" y="20160"/>
                  </a:cubicBezTo>
                  <a:cubicBezTo>
                    <a:pt x="0" y="8217"/>
                    <a:pt x="9953" y="255"/>
                    <a:pt x="19905" y="255"/>
                  </a:cubicBezTo>
                  <a:cubicBezTo>
                    <a:pt x="29858" y="-1736"/>
                    <a:pt x="39811" y="8217"/>
                    <a:pt x="39811" y="20160"/>
                  </a:cubicBezTo>
                  <a:lnTo>
                    <a:pt x="39811" y="20160"/>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sp>
        <p:nvSpPr>
          <p:cNvPr id="44" name="TextBox 43">
            <a:extLst>
              <a:ext uri="{FF2B5EF4-FFF2-40B4-BE49-F238E27FC236}">
                <a16:creationId xmlns:a16="http://schemas.microsoft.com/office/drawing/2014/main" id="{CC8F3BC9-6955-4618-B40E-DD1B276E627B}"/>
              </a:ext>
            </a:extLst>
          </p:cNvPr>
          <p:cNvSpPr txBox="1"/>
          <p:nvPr/>
        </p:nvSpPr>
        <p:spPr>
          <a:xfrm>
            <a:off x="6638806" y="2414960"/>
            <a:ext cx="1437280" cy="58073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8" b="0" i="0" u="none" strike="noStrike" kern="1200" cap="none" spc="0" normalizeH="0" baseline="0" noProof="0" dirty="0">
                <a:ln>
                  <a:noFill/>
                </a:ln>
                <a:solidFill>
                  <a:srgbClr val="1D1D1B"/>
                </a:solidFill>
                <a:effectLst/>
                <a:uLnTx/>
                <a:uFillTx/>
                <a:latin typeface="Franklin Gothic Book" panose="020B0503020102020204"/>
                <a:ea typeface="+mn-ea"/>
                <a:cs typeface="Arial"/>
                <a:sym typeface="Arial"/>
                <a:rtl val="0"/>
              </a:rPr>
              <a:t>27/29 stakeholders discussed in online</a:t>
            </a:r>
            <a:br>
              <a:rPr kumimoji="0" lang="en-GB" sz="1058" b="0" i="0" u="none" strike="noStrike" kern="1200" cap="none" spc="0" normalizeH="0" baseline="0" noProof="0" dirty="0">
                <a:ln>
                  <a:noFill/>
                </a:ln>
                <a:solidFill>
                  <a:srgbClr val="1D1D1B"/>
                </a:solidFill>
                <a:effectLst/>
                <a:uLnTx/>
                <a:uFillTx/>
                <a:latin typeface="Franklin Gothic Book" panose="020B0503020102020204"/>
                <a:ea typeface="+mn-ea"/>
                <a:cs typeface="Arial"/>
                <a:sym typeface="Arial"/>
                <a:rtl val="0"/>
              </a:rPr>
            </a:br>
            <a:r>
              <a:rPr kumimoji="0" lang="en-GB" sz="1058" b="0" i="0" u="none" strike="noStrike" kern="1200" cap="none" spc="0" normalizeH="0" baseline="0" noProof="0" dirty="0">
                <a:ln>
                  <a:noFill/>
                </a:ln>
                <a:solidFill>
                  <a:srgbClr val="1D1D1B"/>
                </a:solidFill>
                <a:effectLst/>
                <a:uLnTx/>
                <a:uFillTx/>
                <a:latin typeface="Franklin Gothic Book" panose="020B0503020102020204"/>
                <a:ea typeface="+mn-ea"/>
                <a:cs typeface="Arial"/>
                <a:sym typeface="Arial"/>
                <a:rtl val="0"/>
              </a:rPr>
              <a:t>meetings  </a:t>
            </a:r>
          </a:p>
        </p:txBody>
      </p:sp>
      <p:sp>
        <p:nvSpPr>
          <p:cNvPr id="50" name="TextBox 49">
            <a:extLst>
              <a:ext uri="{FF2B5EF4-FFF2-40B4-BE49-F238E27FC236}">
                <a16:creationId xmlns:a16="http://schemas.microsoft.com/office/drawing/2014/main" id="{CF4D9038-9E69-4762-953C-A6F36F1968EE}"/>
              </a:ext>
            </a:extLst>
          </p:cNvPr>
          <p:cNvSpPr txBox="1"/>
          <p:nvPr/>
        </p:nvSpPr>
        <p:spPr>
          <a:xfrm>
            <a:off x="4822294" y="2435802"/>
            <a:ext cx="1550424" cy="417935"/>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8" b="0" i="0" u="none" strike="noStrike" kern="1200" cap="none" spc="0" normalizeH="0" baseline="0" noProof="0" dirty="0">
                <a:ln>
                  <a:noFill/>
                </a:ln>
                <a:solidFill>
                  <a:srgbClr val="1D1D1B"/>
                </a:solidFill>
                <a:effectLst/>
                <a:uLnTx/>
                <a:uFillTx/>
                <a:latin typeface="Franklin Gothic Book" panose="020B0503020102020204"/>
                <a:ea typeface="+mn-ea"/>
                <a:cs typeface="Arial"/>
                <a:sym typeface="Arial"/>
                <a:rtl val="0"/>
              </a:rPr>
              <a:t>Stakeholders agreed 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8" b="0" i="0" u="none" strike="noStrike" kern="1200" cap="none" spc="0" normalizeH="0" baseline="0" noProof="0" dirty="0">
                <a:ln>
                  <a:noFill/>
                </a:ln>
                <a:solidFill>
                  <a:srgbClr val="1D1D1B"/>
                </a:solidFill>
                <a:effectLst/>
                <a:uLnTx/>
                <a:uFillTx/>
                <a:latin typeface="Franklin Gothic Book" panose="020B0503020102020204"/>
                <a:ea typeface="+mn-ea"/>
                <a:cs typeface="Arial"/>
                <a:sym typeface="Arial"/>
                <a:rtl val="0"/>
              </a:rPr>
              <a:t>the final list</a:t>
            </a:r>
          </a:p>
        </p:txBody>
      </p:sp>
      <p:sp>
        <p:nvSpPr>
          <p:cNvPr id="55" name="TextBox 54">
            <a:extLst>
              <a:ext uri="{FF2B5EF4-FFF2-40B4-BE49-F238E27FC236}">
                <a16:creationId xmlns:a16="http://schemas.microsoft.com/office/drawing/2014/main" id="{45D6A80B-9EF2-46E2-B6D6-830133F20CD5}"/>
              </a:ext>
            </a:extLst>
          </p:cNvPr>
          <p:cNvSpPr txBox="1"/>
          <p:nvPr/>
        </p:nvSpPr>
        <p:spPr>
          <a:xfrm>
            <a:off x="2911889" y="2435802"/>
            <a:ext cx="1511663" cy="58073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8" b="0" i="0" u="none" strike="noStrike" kern="1200" cap="none" spc="0" normalizeH="0" baseline="0" noProof="0" dirty="0">
                <a:ln>
                  <a:noFill/>
                </a:ln>
                <a:solidFill>
                  <a:srgbClr val="1D1D1B"/>
                </a:solidFill>
                <a:effectLst/>
                <a:uLnTx/>
                <a:uFillTx/>
                <a:latin typeface="Franklin Gothic Book" panose="020B0503020102020204"/>
                <a:ea typeface="+mn-ea"/>
                <a:cs typeface="Arial"/>
                <a:sym typeface="Arial"/>
                <a:rtl val="0"/>
              </a:rPr>
              <a:t>Modified Delphi approach to prioritis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8" b="0" i="0" u="none" strike="noStrike" kern="1200" cap="none" spc="0" normalizeH="0" baseline="0" noProof="0" dirty="0">
                <a:ln>
                  <a:noFill/>
                </a:ln>
                <a:solidFill>
                  <a:srgbClr val="1D1D1B"/>
                </a:solidFill>
                <a:effectLst/>
                <a:uLnTx/>
                <a:uFillTx/>
                <a:latin typeface="Franklin Gothic Book" panose="020B0503020102020204"/>
                <a:ea typeface="+mn-ea"/>
                <a:cs typeface="Arial"/>
                <a:sym typeface="Arial"/>
                <a:rtl val="0"/>
              </a:rPr>
              <a:t>the list  </a:t>
            </a:r>
          </a:p>
        </p:txBody>
      </p:sp>
      <p:sp>
        <p:nvSpPr>
          <p:cNvPr id="62" name="TextBox 61">
            <a:extLst>
              <a:ext uri="{FF2B5EF4-FFF2-40B4-BE49-F238E27FC236}">
                <a16:creationId xmlns:a16="http://schemas.microsoft.com/office/drawing/2014/main" id="{29B4074A-8129-4996-8A0D-32EE8E4D70BB}"/>
              </a:ext>
            </a:extLst>
          </p:cNvPr>
          <p:cNvSpPr txBox="1"/>
          <p:nvPr/>
        </p:nvSpPr>
        <p:spPr>
          <a:xfrm>
            <a:off x="688916" y="2441954"/>
            <a:ext cx="1848292" cy="580736"/>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8" b="0" i="0" u="none" strike="noStrike" kern="1200" cap="none" spc="0" normalizeH="0" baseline="0" noProof="0" dirty="0">
                <a:ln>
                  <a:noFill/>
                </a:ln>
                <a:solidFill>
                  <a:srgbClr val="1D1D1B"/>
                </a:solidFill>
                <a:effectLst/>
                <a:uLnTx/>
                <a:uFillTx/>
                <a:latin typeface="Franklin Gothic Book" panose="020B0503020102020204"/>
                <a:ea typeface="+mn-ea"/>
                <a:cs typeface="Arial"/>
                <a:sym typeface="Arial"/>
                <a:rtl val="0"/>
              </a:rPr>
              <a:t>Initial list of</a:t>
            </a:r>
            <a:br>
              <a:rPr kumimoji="0" lang="en-GB" sz="1058" b="0" i="0" u="none" strike="noStrike" kern="1200" cap="none" spc="0" normalizeH="0" baseline="0" noProof="0" dirty="0">
                <a:ln>
                  <a:noFill/>
                </a:ln>
                <a:solidFill>
                  <a:srgbClr val="1D1D1B"/>
                </a:solidFill>
                <a:effectLst/>
                <a:uLnTx/>
                <a:uFillTx/>
                <a:latin typeface="Franklin Gothic Book" panose="020B0503020102020204"/>
                <a:ea typeface="+mn-ea"/>
                <a:cs typeface="Arial"/>
                <a:sym typeface="Arial"/>
                <a:rtl val="0"/>
              </a:rPr>
            </a:br>
            <a:r>
              <a:rPr kumimoji="0" lang="en-GB" sz="1058" b="0" i="0" u="none" strike="noStrike" kern="1200" cap="none" spc="0" normalizeH="0" baseline="0" noProof="0" dirty="0">
                <a:ln>
                  <a:noFill/>
                </a:ln>
                <a:solidFill>
                  <a:srgbClr val="1D1D1B"/>
                </a:solidFill>
                <a:effectLst/>
                <a:uLnTx/>
                <a:uFillTx/>
                <a:latin typeface="Franklin Gothic Book" panose="020B0503020102020204"/>
                <a:ea typeface="+mn-ea"/>
                <a:cs typeface="Arial"/>
                <a:sym typeface="Arial"/>
                <a:rtl val="0"/>
              </a:rPr>
              <a:t>issues that may prevent publications including a PLS</a:t>
            </a:r>
          </a:p>
        </p:txBody>
      </p:sp>
      <p:sp>
        <p:nvSpPr>
          <p:cNvPr id="69" name="TextBox 68">
            <a:extLst>
              <a:ext uri="{FF2B5EF4-FFF2-40B4-BE49-F238E27FC236}">
                <a16:creationId xmlns:a16="http://schemas.microsoft.com/office/drawing/2014/main" id="{9B90352F-BB12-4F2B-AEFC-BE3BA4E0B813}"/>
              </a:ext>
            </a:extLst>
          </p:cNvPr>
          <p:cNvSpPr txBox="1"/>
          <p:nvPr/>
        </p:nvSpPr>
        <p:spPr>
          <a:xfrm>
            <a:off x="1325555" y="2156436"/>
            <a:ext cx="598242" cy="27699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D7D31"/>
                </a:solidFill>
                <a:effectLst/>
                <a:uLnTx/>
                <a:uFillTx/>
                <a:latin typeface="Franklin Gothic Medium" panose="020B0603020102020204"/>
                <a:ea typeface="+mn-ea"/>
                <a:cs typeface="Arial"/>
                <a:sym typeface="Arial"/>
                <a:rtl val="0"/>
              </a:rPr>
              <a:t>issues</a:t>
            </a:r>
          </a:p>
        </p:txBody>
      </p:sp>
      <p:sp>
        <p:nvSpPr>
          <p:cNvPr id="71" name="TextBox 70">
            <a:extLst>
              <a:ext uri="{FF2B5EF4-FFF2-40B4-BE49-F238E27FC236}">
                <a16:creationId xmlns:a16="http://schemas.microsoft.com/office/drawing/2014/main" id="{31BB1131-74ED-400C-BDF1-EE1BC28429AF}"/>
              </a:ext>
            </a:extLst>
          </p:cNvPr>
          <p:cNvSpPr txBox="1"/>
          <p:nvPr/>
        </p:nvSpPr>
        <p:spPr>
          <a:xfrm>
            <a:off x="3058372" y="2156436"/>
            <a:ext cx="1120371" cy="27699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D7D31"/>
                </a:solidFill>
                <a:effectLst/>
                <a:uLnTx/>
                <a:uFillTx/>
                <a:latin typeface="Franklin Gothic Medium" panose="020B0603020102020204"/>
                <a:ea typeface="+mn-ea"/>
                <a:cs typeface="Arial"/>
                <a:sym typeface="Arial"/>
                <a:rtl val="0"/>
              </a:rPr>
              <a:t>online surveys</a:t>
            </a:r>
          </a:p>
        </p:txBody>
      </p:sp>
      <p:sp>
        <p:nvSpPr>
          <p:cNvPr id="73" name="TextBox 72">
            <a:extLst>
              <a:ext uri="{FF2B5EF4-FFF2-40B4-BE49-F238E27FC236}">
                <a16:creationId xmlns:a16="http://schemas.microsoft.com/office/drawing/2014/main" id="{C651FB6B-30F8-44C9-A100-9621892C7CEC}"/>
              </a:ext>
            </a:extLst>
          </p:cNvPr>
          <p:cNvSpPr txBox="1"/>
          <p:nvPr/>
        </p:nvSpPr>
        <p:spPr>
          <a:xfrm>
            <a:off x="5155967" y="2156436"/>
            <a:ext cx="861133" cy="27699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ED7D31"/>
                </a:solidFill>
                <a:effectLst/>
                <a:uLnTx/>
                <a:uFillTx/>
                <a:latin typeface="Franklin Gothic Medium" panose="020B0603020102020204"/>
                <a:ea typeface="+mn-ea"/>
                <a:cs typeface="Arial"/>
                <a:sym typeface="Arial"/>
                <a:rtl val="0"/>
              </a:rPr>
              <a:t>key issues</a:t>
            </a:r>
          </a:p>
        </p:txBody>
      </p:sp>
      <p:sp>
        <p:nvSpPr>
          <p:cNvPr id="75" name="Freeform: Shape 74">
            <a:extLst>
              <a:ext uri="{FF2B5EF4-FFF2-40B4-BE49-F238E27FC236}">
                <a16:creationId xmlns:a16="http://schemas.microsoft.com/office/drawing/2014/main" id="{1FC517B4-1873-4546-BF2E-20FA125F972B}"/>
              </a:ext>
            </a:extLst>
          </p:cNvPr>
          <p:cNvSpPr/>
          <p:nvPr/>
        </p:nvSpPr>
        <p:spPr>
          <a:xfrm>
            <a:off x="1971217" y="3796348"/>
            <a:ext cx="1704897" cy="185120"/>
          </a:xfrm>
          <a:custGeom>
            <a:avLst/>
            <a:gdLst>
              <a:gd name="connsiteX0" fmla="*/ 0 w 2273196"/>
              <a:gd name="connsiteY0" fmla="*/ 0 h 246826"/>
              <a:gd name="connsiteX1" fmla="*/ 2273196 w 2273196"/>
              <a:gd name="connsiteY1" fmla="*/ 0 h 246826"/>
              <a:gd name="connsiteX2" fmla="*/ 2273196 w 2273196"/>
              <a:gd name="connsiteY2" fmla="*/ 246827 h 246826"/>
              <a:gd name="connsiteX3" fmla="*/ 0 w 2273196"/>
              <a:gd name="connsiteY3" fmla="*/ 246827 h 246826"/>
            </a:gdLst>
            <a:ahLst/>
            <a:cxnLst>
              <a:cxn ang="0">
                <a:pos x="connsiteX0" y="connsiteY0"/>
              </a:cxn>
              <a:cxn ang="0">
                <a:pos x="connsiteX1" y="connsiteY1"/>
              </a:cxn>
              <a:cxn ang="0">
                <a:pos x="connsiteX2" y="connsiteY2"/>
              </a:cxn>
              <a:cxn ang="0">
                <a:pos x="connsiteX3" y="connsiteY3"/>
              </a:cxn>
            </a:cxnLst>
            <a:rect l="l" t="t" r="r" b="b"/>
            <a:pathLst>
              <a:path w="2273196" h="246826">
                <a:moveTo>
                  <a:pt x="0" y="0"/>
                </a:moveTo>
                <a:lnTo>
                  <a:pt x="2273196" y="0"/>
                </a:lnTo>
                <a:lnTo>
                  <a:pt x="2273196" y="246827"/>
                </a:lnTo>
                <a:lnTo>
                  <a:pt x="0" y="246827"/>
                </a:lnTo>
                <a:close/>
              </a:path>
            </a:pathLst>
          </a:custGeom>
          <a:no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76" name="TextBox 75">
            <a:extLst>
              <a:ext uri="{FF2B5EF4-FFF2-40B4-BE49-F238E27FC236}">
                <a16:creationId xmlns:a16="http://schemas.microsoft.com/office/drawing/2014/main" id="{8B7DB41F-4386-41C6-898E-DB5C614D3721}"/>
              </a:ext>
            </a:extLst>
          </p:cNvPr>
          <p:cNvSpPr txBox="1"/>
          <p:nvPr/>
        </p:nvSpPr>
        <p:spPr>
          <a:xfrm>
            <a:off x="1903069" y="3792424"/>
            <a:ext cx="1204176" cy="236988"/>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40" b="1" i="0" u="none" strike="noStrike" kern="1200" cap="none" spc="0" normalizeH="0" baseline="0" noProof="0" dirty="0">
                <a:ln>
                  <a:noFill/>
                </a:ln>
                <a:solidFill>
                  <a:srgbClr val="000000"/>
                </a:solidFill>
                <a:effectLst/>
                <a:uLnTx/>
                <a:uFillTx/>
                <a:latin typeface="Franklin Gothic Medium" panose="020B0603020102020204"/>
                <a:ea typeface="+mn-ea"/>
                <a:cs typeface="Arial"/>
                <a:sym typeface="Arial"/>
                <a:rtl val="0"/>
              </a:rPr>
              <a:t>August - September</a:t>
            </a:r>
          </a:p>
        </p:txBody>
      </p:sp>
      <p:sp>
        <p:nvSpPr>
          <p:cNvPr id="77" name="Freeform: Shape 76">
            <a:extLst>
              <a:ext uri="{FF2B5EF4-FFF2-40B4-BE49-F238E27FC236}">
                <a16:creationId xmlns:a16="http://schemas.microsoft.com/office/drawing/2014/main" id="{FC4F9F28-C886-44A9-AC9F-15828BE09281}"/>
              </a:ext>
            </a:extLst>
          </p:cNvPr>
          <p:cNvSpPr/>
          <p:nvPr/>
        </p:nvSpPr>
        <p:spPr>
          <a:xfrm>
            <a:off x="678361" y="3845614"/>
            <a:ext cx="1704897" cy="368747"/>
          </a:xfrm>
          <a:custGeom>
            <a:avLst/>
            <a:gdLst>
              <a:gd name="connsiteX0" fmla="*/ 0 w 2273196"/>
              <a:gd name="connsiteY0" fmla="*/ 0 h 491663"/>
              <a:gd name="connsiteX1" fmla="*/ 2273197 w 2273196"/>
              <a:gd name="connsiteY1" fmla="*/ 0 h 491663"/>
              <a:gd name="connsiteX2" fmla="*/ 2273197 w 2273196"/>
              <a:gd name="connsiteY2" fmla="*/ 491663 h 491663"/>
              <a:gd name="connsiteX3" fmla="*/ 0 w 2273196"/>
              <a:gd name="connsiteY3" fmla="*/ 491663 h 491663"/>
            </a:gdLst>
            <a:ahLst/>
            <a:cxnLst>
              <a:cxn ang="0">
                <a:pos x="connsiteX0" y="connsiteY0"/>
              </a:cxn>
              <a:cxn ang="0">
                <a:pos x="connsiteX1" y="connsiteY1"/>
              </a:cxn>
              <a:cxn ang="0">
                <a:pos x="connsiteX2" y="connsiteY2"/>
              </a:cxn>
              <a:cxn ang="0">
                <a:pos x="connsiteX3" y="connsiteY3"/>
              </a:cxn>
            </a:cxnLst>
            <a:rect l="l" t="t" r="r" b="b"/>
            <a:pathLst>
              <a:path w="2273196" h="491663">
                <a:moveTo>
                  <a:pt x="0" y="0"/>
                </a:moveTo>
                <a:lnTo>
                  <a:pt x="2273197" y="0"/>
                </a:lnTo>
                <a:lnTo>
                  <a:pt x="2273197" y="491663"/>
                </a:lnTo>
                <a:lnTo>
                  <a:pt x="0" y="491663"/>
                </a:lnTo>
                <a:close/>
              </a:path>
            </a:pathLst>
          </a:custGeom>
          <a:no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78" name="TextBox 77">
            <a:extLst>
              <a:ext uri="{FF2B5EF4-FFF2-40B4-BE49-F238E27FC236}">
                <a16:creationId xmlns:a16="http://schemas.microsoft.com/office/drawing/2014/main" id="{2C00BA2B-C664-4992-8D5F-7402424F0027}"/>
              </a:ext>
            </a:extLst>
          </p:cNvPr>
          <p:cNvSpPr txBox="1"/>
          <p:nvPr/>
        </p:nvSpPr>
        <p:spPr>
          <a:xfrm>
            <a:off x="577658" y="3691226"/>
            <a:ext cx="678391" cy="34547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645" b="1" i="0" u="none" strike="noStrike" kern="1200" cap="none" spc="0" normalizeH="0" baseline="0" noProof="0" dirty="0">
                <a:ln>
                  <a:noFill/>
                </a:ln>
                <a:solidFill>
                  <a:srgbClr val="1D1D1B"/>
                </a:solidFill>
                <a:effectLst/>
                <a:uLnTx/>
                <a:uFillTx/>
                <a:latin typeface="Franklin Gothic Medium" panose="020B0603020102020204"/>
                <a:ea typeface="+mn-ea"/>
                <a:cs typeface="Arial"/>
                <a:sym typeface="Arial"/>
                <a:rtl val="0"/>
              </a:rPr>
              <a:t>2020</a:t>
            </a:r>
          </a:p>
        </p:txBody>
      </p:sp>
      <p:sp>
        <p:nvSpPr>
          <p:cNvPr id="80" name="TextBox 79">
            <a:extLst>
              <a:ext uri="{FF2B5EF4-FFF2-40B4-BE49-F238E27FC236}">
                <a16:creationId xmlns:a16="http://schemas.microsoft.com/office/drawing/2014/main" id="{6CA5C548-BD38-4456-A688-34D0353DA293}"/>
              </a:ext>
            </a:extLst>
          </p:cNvPr>
          <p:cNvSpPr txBox="1"/>
          <p:nvPr/>
        </p:nvSpPr>
        <p:spPr>
          <a:xfrm>
            <a:off x="5512143" y="3691226"/>
            <a:ext cx="678391" cy="34547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645" b="1" i="0" u="none" strike="noStrike" kern="1200" cap="none" spc="0" normalizeH="0" baseline="0" noProof="0" dirty="0">
                <a:ln>
                  <a:noFill/>
                </a:ln>
                <a:solidFill>
                  <a:srgbClr val="1D1D1B"/>
                </a:solidFill>
                <a:effectLst/>
                <a:uLnTx/>
                <a:uFillTx/>
                <a:latin typeface="Franklin Gothic Medium" panose="020B0603020102020204"/>
                <a:ea typeface="+mn-ea"/>
                <a:cs typeface="Arial"/>
                <a:sym typeface="Arial"/>
                <a:rtl val="0"/>
              </a:rPr>
              <a:t>2020</a:t>
            </a:r>
          </a:p>
        </p:txBody>
      </p:sp>
      <p:sp>
        <p:nvSpPr>
          <p:cNvPr id="81" name="Freeform: Shape 80">
            <a:extLst>
              <a:ext uri="{FF2B5EF4-FFF2-40B4-BE49-F238E27FC236}">
                <a16:creationId xmlns:a16="http://schemas.microsoft.com/office/drawing/2014/main" id="{AD59960D-3052-4139-85F6-D3802B94D2C8}"/>
              </a:ext>
            </a:extLst>
          </p:cNvPr>
          <p:cNvSpPr/>
          <p:nvPr/>
        </p:nvSpPr>
        <p:spPr>
          <a:xfrm>
            <a:off x="6882532" y="3796348"/>
            <a:ext cx="1377951" cy="185120"/>
          </a:xfrm>
          <a:custGeom>
            <a:avLst/>
            <a:gdLst>
              <a:gd name="connsiteX0" fmla="*/ 0 w 1837268"/>
              <a:gd name="connsiteY0" fmla="*/ 0 h 246826"/>
              <a:gd name="connsiteX1" fmla="*/ 1837268 w 1837268"/>
              <a:gd name="connsiteY1" fmla="*/ 0 h 246826"/>
              <a:gd name="connsiteX2" fmla="*/ 1837268 w 1837268"/>
              <a:gd name="connsiteY2" fmla="*/ 246827 h 246826"/>
              <a:gd name="connsiteX3" fmla="*/ 0 w 1837268"/>
              <a:gd name="connsiteY3" fmla="*/ 246827 h 246826"/>
            </a:gdLst>
            <a:ahLst/>
            <a:cxnLst>
              <a:cxn ang="0">
                <a:pos x="connsiteX0" y="connsiteY0"/>
              </a:cxn>
              <a:cxn ang="0">
                <a:pos x="connsiteX1" y="connsiteY1"/>
              </a:cxn>
              <a:cxn ang="0">
                <a:pos x="connsiteX2" y="connsiteY2"/>
              </a:cxn>
              <a:cxn ang="0">
                <a:pos x="connsiteX3" y="connsiteY3"/>
              </a:cxn>
            </a:cxnLst>
            <a:rect l="l" t="t" r="r" b="b"/>
            <a:pathLst>
              <a:path w="1837268" h="246826">
                <a:moveTo>
                  <a:pt x="0" y="0"/>
                </a:moveTo>
                <a:lnTo>
                  <a:pt x="1837268" y="0"/>
                </a:lnTo>
                <a:lnTo>
                  <a:pt x="1837268" y="246827"/>
                </a:lnTo>
                <a:lnTo>
                  <a:pt x="0" y="246827"/>
                </a:lnTo>
                <a:close/>
              </a:path>
            </a:pathLst>
          </a:custGeom>
          <a:no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82" name="TextBox 81">
            <a:extLst>
              <a:ext uri="{FF2B5EF4-FFF2-40B4-BE49-F238E27FC236}">
                <a16:creationId xmlns:a16="http://schemas.microsoft.com/office/drawing/2014/main" id="{44F1BD86-9C04-49EE-940D-D791D86D76B8}"/>
              </a:ext>
            </a:extLst>
          </p:cNvPr>
          <p:cNvSpPr txBox="1"/>
          <p:nvPr/>
        </p:nvSpPr>
        <p:spPr>
          <a:xfrm>
            <a:off x="6814131" y="3792424"/>
            <a:ext cx="1375698" cy="236988"/>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40" b="1" i="0" u="none" strike="noStrike" kern="1200" cap="none" spc="0" normalizeH="0" baseline="0" noProof="0" dirty="0">
                <a:ln>
                  <a:noFill/>
                </a:ln>
                <a:solidFill>
                  <a:srgbClr val="000000"/>
                </a:solidFill>
                <a:effectLst/>
                <a:uLnTx/>
                <a:uFillTx/>
                <a:latin typeface="Franklin Gothic Medium" panose="020B0603020102020204"/>
                <a:ea typeface="+mn-ea"/>
                <a:cs typeface="Arial"/>
                <a:sym typeface="Arial"/>
                <a:rtl val="0"/>
              </a:rPr>
              <a:t>September - November</a:t>
            </a:r>
          </a:p>
        </p:txBody>
      </p:sp>
      <p:sp>
        <p:nvSpPr>
          <p:cNvPr id="87" name="Freeform: Shape 86">
            <a:extLst>
              <a:ext uri="{FF2B5EF4-FFF2-40B4-BE49-F238E27FC236}">
                <a16:creationId xmlns:a16="http://schemas.microsoft.com/office/drawing/2014/main" id="{C833304F-BF54-49DC-A100-47786EC0AA92}"/>
              </a:ext>
            </a:extLst>
          </p:cNvPr>
          <p:cNvSpPr/>
          <p:nvPr/>
        </p:nvSpPr>
        <p:spPr>
          <a:xfrm>
            <a:off x="1402421" y="3776941"/>
            <a:ext cx="489673" cy="489673"/>
          </a:xfrm>
          <a:custGeom>
            <a:avLst/>
            <a:gdLst>
              <a:gd name="connsiteX0" fmla="*/ 652897 w 652897"/>
              <a:gd name="connsiteY0" fmla="*/ 326448 h 652897"/>
              <a:gd name="connsiteX1" fmla="*/ 326449 w 652897"/>
              <a:gd name="connsiteY1" fmla="*/ 652897 h 652897"/>
              <a:gd name="connsiteX2" fmla="*/ 0 w 652897"/>
              <a:gd name="connsiteY2" fmla="*/ 326448 h 652897"/>
              <a:gd name="connsiteX3" fmla="*/ 326449 w 652897"/>
              <a:gd name="connsiteY3" fmla="*/ 0 h 652897"/>
              <a:gd name="connsiteX4" fmla="*/ 652897 w 652897"/>
              <a:gd name="connsiteY4" fmla="*/ 326448 h 652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97" h="652897">
                <a:moveTo>
                  <a:pt x="652897" y="326448"/>
                </a:moveTo>
                <a:cubicBezTo>
                  <a:pt x="652897" y="506741"/>
                  <a:pt x="506741" y="652897"/>
                  <a:pt x="326449" y="652897"/>
                </a:cubicBezTo>
                <a:cubicBezTo>
                  <a:pt x="146156" y="652897"/>
                  <a:pt x="0" y="506741"/>
                  <a:pt x="0" y="326448"/>
                </a:cubicBezTo>
                <a:cubicBezTo>
                  <a:pt x="0" y="146156"/>
                  <a:pt x="146156" y="0"/>
                  <a:pt x="326449" y="0"/>
                </a:cubicBezTo>
                <a:cubicBezTo>
                  <a:pt x="506741" y="0"/>
                  <a:pt x="652897" y="146156"/>
                  <a:pt x="652897" y="326448"/>
                </a:cubicBezTo>
                <a:close/>
              </a:path>
            </a:pathLst>
          </a:custGeom>
          <a:solidFill>
            <a:schemeClr val="accent1"/>
          </a:solidFill>
          <a:ln w="19898" cap="flat">
            <a:noFill/>
            <a:prstDash val="solid"/>
            <a:miter/>
          </a:ln>
          <a:effectLst/>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nvGrpSpPr>
          <p:cNvPr id="88" name="Graphic 7">
            <a:extLst>
              <a:ext uri="{FF2B5EF4-FFF2-40B4-BE49-F238E27FC236}">
                <a16:creationId xmlns:a16="http://schemas.microsoft.com/office/drawing/2014/main" id="{DB19402D-D671-4532-999A-E3714EA80031}"/>
              </a:ext>
            </a:extLst>
          </p:cNvPr>
          <p:cNvGrpSpPr/>
          <p:nvPr/>
        </p:nvGrpSpPr>
        <p:grpSpPr>
          <a:xfrm>
            <a:off x="1526332" y="3884429"/>
            <a:ext cx="282159" cy="274695"/>
            <a:chOff x="2152740" y="5179239"/>
            <a:chExt cx="376212" cy="366260"/>
          </a:xfrm>
        </p:grpSpPr>
        <p:sp>
          <p:nvSpPr>
            <p:cNvPr id="89" name="Freeform: Shape 88">
              <a:extLst>
                <a:ext uri="{FF2B5EF4-FFF2-40B4-BE49-F238E27FC236}">
                  <a16:creationId xmlns:a16="http://schemas.microsoft.com/office/drawing/2014/main" id="{408D0C90-7101-4428-BB49-EFF1A8A08674}"/>
                </a:ext>
              </a:extLst>
            </p:cNvPr>
            <p:cNvSpPr/>
            <p:nvPr/>
          </p:nvSpPr>
          <p:spPr>
            <a:xfrm>
              <a:off x="2196532" y="5260852"/>
              <a:ext cx="286637" cy="284647"/>
            </a:xfrm>
            <a:custGeom>
              <a:avLst/>
              <a:gdLst>
                <a:gd name="connsiteX0" fmla="*/ 0 w 286637"/>
                <a:gd name="connsiteY0" fmla="*/ 0 h 284647"/>
                <a:gd name="connsiteX1" fmla="*/ 286638 w 286637"/>
                <a:gd name="connsiteY1" fmla="*/ 0 h 284647"/>
                <a:gd name="connsiteX2" fmla="*/ 286638 w 286637"/>
                <a:gd name="connsiteY2" fmla="*/ 284647 h 284647"/>
                <a:gd name="connsiteX3" fmla="*/ 0 w 286637"/>
                <a:gd name="connsiteY3" fmla="*/ 284647 h 284647"/>
              </a:gdLst>
              <a:ahLst/>
              <a:cxnLst>
                <a:cxn ang="0">
                  <a:pos x="connsiteX0" y="connsiteY0"/>
                </a:cxn>
                <a:cxn ang="0">
                  <a:pos x="connsiteX1" y="connsiteY1"/>
                </a:cxn>
                <a:cxn ang="0">
                  <a:pos x="connsiteX2" y="connsiteY2"/>
                </a:cxn>
                <a:cxn ang="0">
                  <a:pos x="connsiteX3" y="connsiteY3"/>
                </a:cxn>
              </a:cxnLst>
              <a:rect l="l" t="t" r="r" b="b"/>
              <a:pathLst>
                <a:path w="286637" h="284647">
                  <a:moveTo>
                    <a:pt x="0" y="0"/>
                  </a:moveTo>
                  <a:lnTo>
                    <a:pt x="286638" y="0"/>
                  </a:lnTo>
                  <a:lnTo>
                    <a:pt x="286638" y="284647"/>
                  </a:lnTo>
                  <a:lnTo>
                    <a:pt x="0" y="284647"/>
                  </a:lnTo>
                  <a:close/>
                </a:path>
              </a:pathLst>
            </a:custGeom>
            <a:solidFill>
              <a:schemeClr val="bg2">
                <a:lumMod val="90000"/>
              </a:schemeClr>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90" name="Freeform: Shape 89">
              <a:extLst>
                <a:ext uri="{FF2B5EF4-FFF2-40B4-BE49-F238E27FC236}">
                  <a16:creationId xmlns:a16="http://schemas.microsoft.com/office/drawing/2014/main" id="{3CA74441-CFC7-499C-AD48-811B51C2C9FC}"/>
                </a:ext>
              </a:extLst>
            </p:cNvPr>
            <p:cNvSpPr/>
            <p:nvPr/>
          </p:nvSpPr>
          <p:spPr>
            <a:xfrm>
              <a:off x="2152740" y="5197154"/>
              <a:ext cx="330429" cy="63697"/>
            </a:xfrm>
            <a:custGeom>
              <a:avLst/>
              <a:gdLst>
                <a:gd name="connsiteX0" fmla="*/ 0 w 330429"/>
                <a:gd name="connsiteY0" fmla="*/ 0 h 63697"/>
                <a:gd name="connsiteX1" fmla="*/ 330430 w 330429"/>
                <a:gd name="connsiteY1" fmla="*/ 0 h 63697"/>
                <a:gd name="connsiteX2" fmla="*/ 330430 w 330429"/>
                <a:gd name="connsiteY2" fmla="*/ 63697 h 63697"/>
                <a:gd name="connsiteX3" fmla="*/ 0 w 330429"/>
                <a:gd name="connsiteY3" fmla="*/ 63697 h 63697"/>
              </a:gdLst>
              <a:ahLst/>
              <a:cxnLst>
                <a:cxn ang="0">
                  <a:pos x="connsiteX0" y="connsiteY0"/>
                </a:cxn>
                <a:cxn ang="0">
                  <a:pos x="connsiteX1" y="connsiteY1"/>
                </a:cxn>
                <a:cxn ang="0">
                  <a:pos x="connsiteX2" y="connsiteY2"/>
                </a:cxn>
                <a:cxn ang="0">
                  <a:pos x="connsiteX3" y="connsiteY3"/>
                </a:cxn>
              </a:cxnLst>
              <a:rect l="l" t="t" r="r" b="b"/>
              <a:pathLst>
                <a:path w="330429" h="63697">
                  <a:moveTo>
                    <a:pt x="0" y="0"/>
                  </a:moveTo>
                  <a:lnTo>
                    <a:pt x="330430" y="0"/>
                  </a:lnTo>
                  <a:lnTo>
                    <a:pt x="330430" y="63697"/>
                  </a:lnTo>
                  <a:lnTo>
                    <a:pt x="0" y="63697"/>
                  </a:lnTo>
                  <a:close/>
                </a:path>
              </a:pathLst>
            </a:custGeom>
            <a:solidFill>
              <a:schemeClr val="accent2"/>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91" name="Freeform: Shape 90">
              <a:extLst>
                <a:ext uri="{FF2B5EF4-FFF2-40B4-BE49-F238E27FC236}">
                  <a16:creationId xmlns:a16="http://schemas.microsoft.com/office/drawing/2014/main" id="{6208B8C0-3BCC-4ECB-A92B-82B0B02ACED2}"/>
                </a:ext>
              </a:extLst>
            </p:cNvPr>
            <p:cNvSpPr/>
            <p:nvPr/>
          </p:nvSpPr>
          <p:spPr>
            <a:xfrm>
              <a:off x="2152740" y="5260852"/>
              <a:ext cx="43791" cy="284647"/>
            </a:xfrm>
            <a:custGeom>
              <a:avLst/>
              <a:gdLst>
                <a:gd name="connsiteX0" fmla="*/ 0 w 43791"/>
                <a:gd name="connsiteY0" fmla="*/ 0 h 284647"/>
                <a:gd name="connsiteX1" fmla="*/ 43792 w 43791"/>
                <a:gd name="connsiteY1" fmla="*/ 0 h 284647"/>
                <a:gd name="connsiteX2" fmla="*/ 43792 w 43791"/>
                <a:gd name="connsiteY2" fmla="*/ 284647 h 284647"/>
                <a:gd name="connsiteX3" fmla="*/ 0 w 43791"/>
                <a:gd name="connsiteY3" fmla="*/ 284647 h 284647"/>
              </a:gdLst>
              <a:ahLst/>
              <a:cxnLst>
                <a:cxn ang="0">
                  <a:pos x="connsiteX0" y="connsiteY0"/>
                </a:cxn>
                <a:cxn ang="0">
                  <a:pos x="connsiteX1" y="connsiteY1"/>
                </a:cxn>
                <a:cxn ang="0">
                  <a:pos x="connsiteX2" y="connsiteY2"/>
                </a:cxn>
                <a:cxn ang="0">
                  <a:pos x="connsiteX3" y="connsiteY3"/>
                </a:cxn>
              </a:cxnLst>
              <a:rect l="l" t="t" r="r" b="b"/>
              <a:pathLst>
                <a:path w="43791" h="284647">
                  <a:moveTo>
                    <a:pt x="0" y="0"/>
                  </a:moveTo>
                  <a:lnTo>
                    <a:pt x="43792" y="0"/>
                  </a:lnTo>
                  <a:lnTo>
                    <a:pt x="43792" y="284647"/>
                  </a:lnTo>
                  <a:lnTo>
                    <a:pt x="0" y="284647"/>
                  </a:lnTo>
                  <a:close/>
                </a:path>
              </a:pathLst>
            </a:custGeom>
            <a:solidFill>
              <a:srgbClr val="D1DBE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92" name="Freeform: Shape 91">
              <a:extLst>
                <a:ext uri="{FF2B5EF4-FFF2-40B4-BE49-F238E27FC236}">
                  <a16:creationId xmlns:a16="http://schemas.microsoft.com/office/drawing/2014/main" id="{E0853191-657C-4B32-9C3C-D22E35E894ED}"/>
                </a:ext>
              </a:extLst>
            </p:cNvPr>
            <p:cNvSpPr/>
            <p:nvPr/>
          </p:nvSpPr>
          <p:spPr>
            <a:xfrm>
              <a:off x="2152740" y="5197154"/>
              <a:ext cx="43791" cy="63697"/>
            </a:xfrm>
            <a:custGeom>
              <a:avLst/>
              <a:gdLst>
                <a:gd name="connsiteX0" fmla="*/ 0 w 43791"/>
                <a:gd name="connsiteY0" fmla="*/ 0 h 63697"/>
                <a:gd name="connsiteX1" fmla="*/ 43792 w 43791"/>
                <a:gd name="connsiteY1" fmla="*/ 0 h 63697"/>
                <a:gd name="connsiteX2" fmla="*/ 43792 w 43791"/>
                <a:gd name="connsiteY2" fmla="*/ 63697 h 63697"/>
                <a:gd name="connsiteX3" fmla="*/ 0 w 43791"/>
                <a:gd name="connsiteY3" fmla="*/ 63697 h 63697"/>
              </a:gdLst>
              <a:ahLst/>
              <a:cxnLst>
                <a:cxn ang="0">
                  <a:pos x="connsiteX0" y="connsiteY0"/>
                </a:cxn>
                <a:cxn ang="0">
                  <a:pos x="connsiteX1" y="connsiteY1"/>
                </a:cxn>
                <a:cxn ang="0">
                  <a:pos x="connsiteX2" y="connsiteY2"/>
                </a:cxn>
                <a:cxn ang="0">
                  <a:pos x="connsiteX3" y="connsiteY3"/>
                </a:cxn>
              </a:cxnLst>
              <a:rect l="l" t="t" r="r" b="b"/>
              <a:pathLst>
                <a:path w="43791" h="63697">
                  <a:moveTo>
                    <a:pt x="0" y="0"/>
                  </a:moveTo>
                  <a:lnTo>
                    <a:pt x="43792" y="0"/>
                  </a:lnTo>
                  <a:lnTo>
                    <a:pt x="43792" y="63697"/>
                  </a:lnTo>
                  <a:lnTo>
                    <a:pt x="0" y="63697"/>
                  </a:lnTo>
                  <a:close/>
                </a:path>
              </a:pathLst>
            </a:custGeom>
            <a:solidFill>
              <a:schemeClr val="bg2">
                <a:lumMod val="90000"/>
              </a:schemeClr>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93" name="Freeform: Shape 92">
              <a:extLst>
                <a:ext uri="{FF2B5EF4-FFF2-40B4-BE49-F238E27FC236}">
                  <a16:creationId xmlns:a16="http://schemas.microsoft.com/office/drawing/2014/main" id="{38EA560B-827C-4033-B880-5C189832BCB4}"/>
                </a:ext>
              </a:extLst>
            </p:cNvPr>
            <p:cNvSpPr/>
            <p:nvPr/>
          </p:nvSpPr>
          <p:spPr>
            <a:xfrm>
              <a:off x="2196532" y="5260852"/>
              <a:ext cx="286637" cy="230902"/>
            </a:xfrm>
            <a:custGeom>
              <a:avLst/>
              <a:gdLst>
                <a:gd name="connsiteX0" fmla="*/ 286638 w 286637"/>
                <a:gd name="connsiteY0" fmla="*/ 0 h 230902"/>
                <a:gd name="connsiteX1" fmla="*/ 286638 w 286637"/>
                <a:gd name="connsiteY1" fmla="*/ 230902 h 230902"/>
                <a:gd name="connsiteX2" fmla="*/ 45782 w 286637"/>
                <a:gd name="connsiteY2" fmla="*/ 230902 h 230902"/>
                <a:gd name="connsiteX3" fmla="*/ 0 w 286637"/>
                <a:gd name="connsiteY3" fmla="*/ 185120 h 230902"/>
                <a:gd name="connsiteX4" fmla="*/ 0 w 286637"/>
                <a:gd name="connsiteY4" fmla="*/ 1990 h 230902"/>
                <a:gd name="connsiteX5" fmla="*/ 286638 w 286637"/>
                <a:gd name="connsiteY5" fmla="*/ 1990 h 23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637" h="230902">
                  <a:moveTo>
                    <a:pt x="286638" y="0"/>
                  </a:moveTo>
                  <a:lnTo>
                    <a:pt x="286638" y="230902"/>
                  </a:lnTo>
                  <a:lnTo>
                    <a:pt x="45782" y="230902"/>
                  </a:lnTo>
                  <a:cubicBezTo>
                    <a:pt x="19905" y="230902"/>
                    <a:pt x="0" y="210997"/>
                    <a:pt x="0" y="185120"/>
                  </a:cubicBezTo>
                  <a:lnTo>
                    <a:pt x="0" y="1990"/>
                  </a:lnTo>
                  <a:lnTo>
                    <a:pt x="286638" y="1990"/>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94" name="Freeform: Shape 93">
              <a:extLst>
                <a:ext uri="{FF2B5EF4-FFF2-40B4-BE49-F238E27FC236}">
                  <a16:creationId xmlns:a16="http://schemas.microsoft.com/office/drawing/2014/main" id="{26F73D1D-9E60-4F60-8B32-00B7D5EF79CB}"/>
                </a:ext>
              </a:extLst>
            </p:cNvPr>
            <p:cNvSpPr/>
            <p:nvPr/>
          </p:nvSpPr>
          <p:spPr>
            <a:xfrm>
              <a:off x="2244305" y="5445975"/>
              <a:ext cx="284647" cy="45781"/>
            </a:xfrm>
            <a:custGeom>
              <a:avLst/>
              <a:gdLst>
                <a:gd name="connsiteX0" fmla="*/ 45782 w 284647"/>
                <a:gd name="connsiteY0" fmla="*/ 0 h 45782"/>
                <a:gd name="connsiteX1" fmla="*/ 0 w 284647"/>
                <a:gd name="connsiteY1" fmla="*/ 45782 h 45782"/>
                <a:gd name="connsiteX2" fmla="*/ 238865 w 284647"/>
                <a:gd name="connsiteY2" fmla="*/ 45782 h 45782"/>
                <a:gd name="connsiteX3" fmla="*/ 284647 w 284647"/>
                <a:gd name="connsiteY3" fmla="*/ 0 h 45782"/>
                <a:gd name="connsiteX4" fmla="*/ 45782 w 284647"/>
                <a:gd name="connsiteY4" fmla="*/ 0 h 4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647" h="45782">
                  <a:moveTo>
                    <a:pt x="45782" y="0"/>
                  </a:moveTo>
                  <a:cubicBezTo>
                    <a:pt x="45782" y="25877"/>
                    <a:pt x="25877" y="45782"/>
                    <a:pt x="0" y="45782"/>
                  </a:cubicBezTo>
                  <a:lnTo>
                    <a:pt x="238865" y="45782"/>
                  </a:lnTo>
                  <a:cubicBezTo>
                    <a:pt x="264742" y="45782"/>
                    <a:pt x="284647" y="25877"/>
                    <a:pt x="284647" y="0"/>
                  </a:cubicBezTo>
                  <a:lnTo>
                    <a:pt x="45782" y="0"/>
                  </a:lnTo>
                  <a:close/>
                </a:path>
              </a:pathLst>
            </a:custGeom>
            <a:solidFill>
              <a:schemeClr val="accent2"/>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nvGrpSpPr>
            <p:cNvPr id="95" name="Graphic 7">
              <a:extLst>
                <a:ext uri="{FF2B5EF4-FFF2-40B4-BE49-F238E27FC236}">
                  <a16:creationId xmlns:a16="http://schemas.microsoft.com/office/drawing/2014/main" id="{B362C4D5-B48D-4459-BEE0-7E764787632B}"/>
                </a:ext>
              </a:extLst>
            </p:cNvPr>
            <p:cNvGrpSpPr/>
            <p:nvPr/>
          </p:nvGrpSpPr>
          <p:grpSpPr>
            <a:xfrm>
              <a:off x="2212456" y="5179239"/>
              <a:ext cx="254788" cy="35829"/>
              <a:chOff x="2212456" y="5179239"/>
              <a:chExt cx="254788" cy="35829"/>
            </a:xfrm>
            <a:solidFill>
              <a:srgbClr val="1D1D1B"/>
            </a:solidFill>
          </p:grpSpPr>
          <p:sp>
            <p:nvSpPr>
              <p:cNvPr id="96" name="Freeform: Shape 95">
                <a:extLst>
                  <a:ext uri="{FF2B5EF4-FFF2-40B4-BE49-F238E27FC236}">
                    <a16:creationId xmlns:a16="http://schemas.microsoft.com/office/drawing/2014/main" id="{F89F4039-B9A1-41C1-9E75-01E514C34A1E}"/>
                  </a:ext>
                </a:extLst>
              </p:cNvPr>
              <p:cNvSpPr/>
              <p:nvPr/>
            </p:nvSpPr>
            <p:spPr>
              <a:xfrm>
                <a:off x="2431415" y="5179239"/>
                <a:ext cx="35829" cy="35829"/>
              </a:xfrm>
              <a:custGeom>
                <a:avLst/>
                <a:gdLst>
                  <a:gd name="connsiteX0" fmla="*/ 17915 w 35829"/>
                  <a:gd name="connsiteY0" fmla="*/ 35830 h 35829"/>
                  <a:gd name="connsiteX1" fmla="*/ 17915 w 35829"/>
                  <a:gd name="connsiteY1" fmla="*/ 27867 h 35829"/>
                  <a:gd name="connsiteX2" fmla="*/ 27868 w 35829"/>
                  <a:gd name="connsiteY2" fmla="*/ 17915 h 35829"/>
                  <a:gd name="connsiteX3" fmla="*/ 17915 w 35829"/>
                  <a:gd name="connsiteY3" fmla="*/ 7962 h 35829"/>
                  <a:gd name="connsiteX4" fmla="*/ 7962 w 35829"/>
                  <a:gd name="connsiteY4" fmla="*/ 17915 h 35829"/>
                  <a:gd name="connsiteX5" fmla="*/ 0 w 35829"/>
                  <a:gd name="connsiteY5" fmla="*/ 17915 h 35829"/>
                  <a:gd name="connsiteX6" fmla="*/ 17915 w 35829"/>
                  <a:gd name="connsiteY6" fmla="*/ 0 h 35829"/>
                  <a:gd name="connsiteX7" fmla="*/ 35830 w 35829"/>
                  <a:gd name="connsiteY7" fmla="*/ 17915 h 35829"/>
                  <a:gd name="connsiteX8" fmla="*/ 17915 w 35829"/>
                  <a:gd name="connsiteY8" fmla="*/ 35830 h 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29" h="35829">
                    <a:moveTo>
                      <a:pt x="17915" y="35830"/>
                    </a:moveTo>
                    <a:lnTo>
                      <a:pt x="17915" y="27867"/>
                    </a:lnTo>
                    <a:cubicBezTo>
                      <a:pt x="23886" y="27867"/>
                      <a:pt x="27868" y="23886"/>
                      <a:pt x="27868" y="17915"/>
                    </a:cubicBezTo>
                    <a:cubicBezTo>
                      <a:pt x="27868" y="11943"/>
                      <a:pt x="23886" y="7962"/>
                      <a:pt x="17915" y="7962"/>
                    </a:cubicBezTo>
                    <a:cubicBezTo>
                      <a:pt x="11943" y="7962"/>
                      <a:pt x="7962" y="11943"/>
                      <a:pt x="7962" y="17915"/>
                    </a:cubicBezTo>
                    <a:lnTo>
                      <a:pt x="0" y="17915"/>
                    </a:lnTo>
                    <a:cubicBezTo>
                      <a:pt x="0" y="7962"/>
                      <a:pt x="7962" y="0"/>
                      <a:pt x="17915" y="0"/>
                    </a:cubicBezTo>
                    <a:cubicBezTo>
                      <a:pt x="27868" y="0"/>
                      <a:pt x="35830" y="7962"/>
                      <a:pt x="35830" y="17915"/>
                    </a:cubicBezTo>
                    <a:cubicBezTo>
                      <a:pt x="35830" y="27867"/>
                      <a:pt x="27868" y="35830"/>
                      <a:pt x="17915" y="35830"/>
                    </a:cubicBezTo>
                    <a:close/>
                  </a:path>
                </a:pathLst>
              </a:custGeom>
              <a:solidFill>
                <a:srgbClr val="1D1D1B"/>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97" name="Freeform: Shape 96">
                <a:extLst>
                  <a:ext uri="{FF2B5EF4-FFF2-40B4-BE49-F238E27FC236}">
                    <a16:creationId xmlns:a16="http://schemas.microsoft.com/office/drawing/2014/main" id="{54244204-646A-4000-8F61-026D713F6CB6}"/>
                  </a:ext>
                </a:extLst>
              </p:cNvPr>
              <p:cNvSpPr/>
              <p:nvPr/>
            </p:nvSpPr>
            <p:spPr>
              <a:xfrm>
                <a:off x="2387623" y="5179239"/>
                <a:ext cx="35829" cy="35829"/>
              </a:xfrm>
              <a:custGeom>
                <a:avLst/>
                <a:gdLst>
                  <a:gd name="connsiteX0" fmla="*/ 17915 w 35829"/>
                  <a:gd name="connsiteY0" fmla="*/ 35830 h 35829"/>
                  <a:gd name="connsiteX1" fmla="*/ 17915 w 35829"/>
                  <a:gd name="connsiteY1" fmla="*/ 27867 h 35829"/>
                  <a:gd name="connsiteX2" fmla="*/ 27868 w 35829"/>
                  <a:gd name="connsiteY2" fmla="*/ 17915 h 35829"/>
                  <a:gd name="connsiteX3" fmla="*/ 17915 w 35829"/>
                  <a:gd name="connsiteY3" fmla="*/ 7962 h 35829"/>
                  <a:gd name="connsiteX4" fmla="*/ 7962 w 35829"/>
                  <a:gd name="connsiteY4" fmla="*/ 17915 h 35829"/>
                  <a:gd name="connsiteX5" fmla="*/ 0 w 35829"/>
                  <a:gd name="connsiteY5" fmla="*/ 17915 h 35829"/>
                  <a:gd name="connsiteX6" fmla="*/ 17915 w 35829"/>
                  <a:gd name="connsiteY6" fmla="*/ 0 h 35829"/>
                  <a:gd name="connsiteX7" fmla="*/ 35830 w 35829"/>
                  <a:gd name="connsiteY7" fmla="*/ 17915 h 35829"/>
                  <a:gd name="connsiteX8" fmla="*/ 17915 w 35829"/>
                  <a:gd name="connsiteY8" fmla="*/ 35830 h 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29" h="35829">
                    <a:moveTo>
                      <a:pt x="17915" y="35830"/>
                    </a:moveTo>
                    <a:lnTo>
                      <a:pt x="17915" y="27867"/>
                    </a:lnTo>
                    <a:cubicBezTo>
                      <a:pt x="23887" y="27867"/>
                      <a:pt x="27868" y="23886"/>
                      <a:pt x="27868" y="17915"/>
                    </a:cubicBezTo>
                    <a:cubicBezTo>
                      <a:pt x="27868" y="11943"/>
                      <a:pt x="23887" y="7962"/>
                      <a:pt x="17915" y="7962"/>
                    </a:cubicBezTo>
                    <a:cubicBezTo>
                      <a:pt x="11943" y="7962"/>
                      <a:pt x="7962" y="11943"/>
                      <a:pt x="7962" y="17915"/>
                    </a:cubicBezTo>
                    <a:lnTo>
                      <a:pt x="0" y="17915"/>
                    </a:lnTo>
                    <a:cubicBezTo>
                      <a:pt x="0" y="7962"/>
                      <a:pt x="7962" y="0"/>
                      <a:pt x="17915" y="0"/>
                    </a:cubicBezTo>
                    <a:cubicBezTo>
                      <a:pt x="27868" y="0"/>
                      <a:pt x="35830" y="7962"/>
                      <a:pt x="35830" y="17915"/>
                    </a:cubicBezTo>
                    <a:cubicBezTo>
                      <a:pt x="35830" y="27867"/>
                      <a:pt x="27868" y="35830"/>
                      <a:pt x="17915" y="35830"/>
                    </a:cubicBezTo>
                    <a:close/>
                  </a:path>
                </a:pathLst>
              </a:custGeom>
              <a:solidFill>
                <a:srgbClr val="1D1D1B"/>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98" name="Freeform: Shape 97">
                <a:extLst>
                  <a:ext uri="{FF2B5EF4-FFF2-40B4-BE49-F238E27FC236}">
                    <a16:creationId xmlns:a16="http://schemas.microsoft.com/office/drawing/2014/main" id="{F399C403-F1A1-4B8B-8194-33C0E247237C}"/>
                  </a:ext>
                </a:extLst>
              </p:cNvPr>
              <p:cNvSpPr/>
              <p:nvPr/>
            </p:nvSpPr>
            <p:spPr>
              <a:xfrm>
                <a:off x="2343832" y="5179239"/>
                <a:ext cx="35829" cy="35829"/>
              </a:xfrm>
              <a:custGeom>
                <a:avLst/>
                <a:gdLst>
                  <a:gd name="connsiteX0" fmla="*/ 17915 w 35829"/>
                  <a:gd name="connsiteY0" fmla="*/ 35830 h 35829"/>
                  <a:gd name="connsiteX1" fmla="*/ 17915 w 35829"/>
                  <a:gd name="connsiteY1" fmla="*/ 27867 h 35829"/>
                  <a:gd name="connsiteX2" fmla="*/ 27868 w 35829"/>
                  <a:gd name="connsiteY2" fmla="*/ 17915 h 35829"/>
                  <a:gd name="connsiteX3" fmla="*/ 17915 w 35829"/>
                  <a:gd name="connsiteY3" fmla="*/ 7962 h 35829"/>
                  <a:gd name="connsiteX4" fmla="*/ 7962 w 35829"/>
                  <a:gd name="connsiteY4" fmla="*/ 17915 h 35829"/>
                  <a:gd name="connsiteX5" fmla="*/ 0 w 35829"/>
                  <a:gd name="connsiteY5" fmla="*/ 17915 h 35829"/>
                  <a:gd name="connsiteX6" fmla="*/ 17915 w 35829"/>
                  <a:gd name="connsiteY6" fmla="*/ 0 h 35829"/>
                  <a:gd name="connsiteX7" fmla="*/ 35830 w 35829"/>
                  <a:gd name="connsiteY7" fmla="*/ 17915 h 35829"/>
                  <a:gd name="connsiteX8" fmla="*/ 17915 w 35829"/>
                  <a:gd name="connsiteY8" fmla="*/ 35830 h 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29" h="35829">
                    <a:moveTo>
                      <a:pt x="17915" y="35830"/>
                    </a:moveTo>
                    <a:lnTo>
                      <a:pt x="17915" y="27867"/>
                    </a:lnTo>
                    <a:cubicBezTo>
                      <a:pt x="23886" y="27867"/>
                      <a:pt x="27868" y="23886"/>
                      <a:pt x="27868" y="17915"/>
                    </a:cubicBezTo>
                    <a:cubicBezTo>
                      <a:pt x="27868" y="11943"/>
                      <a:pt x="23886" y="7962"/>
                      <a:pt x="17915" y="7962"/>
                    </a:cubicBezTo>
                    <a:cubicBezTo>
                      <a:pt x="11943" y="7962"/>
                      <a:pt x="7962" y="11943"/>
                      <a:pt x="7962" y="17915"/>
                    </a:cubicBezTo>
                    <a:lnTo>
                      <a:pt x="0" y="17915"/>
                    </a:lnTo>
                    <a:cubicBezTo>
                      <a:pt x="0" y="7962"/>
                      <a:pt x="7962" y="0"/>
                      <a:pt x="17915" y="0"/>
                    </a:cubicBezTo>
                    <a:cubicBezTo>
                      <a:pt x="27868" y="0"/>
                      <a:pt x="35830" y="7962"/>
                      <a:pt x="35830" y="17915"/>
                    </a:cubicBezTo>
                    <a:cubicBezTo>
                      <a:pt x="35830" y="27867"/>
                      <a:pt x="27868" y="35830"/>
                      <a:pt x="17915" y="35830"/>
                    </a:cubicBezTo>
                    <a:close/>
                  </a:path>
                </a:pathLst>
              </a:custGeom>
              <a:solidFill>
                <a:srgbClr val="1D1D1B"/>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99" name="Freeform: Shape 98">
                <a:extLst>
                  <a:ext uri="{FF2B5EF4-FFF2-40B4-BE49-F238E27FC236}">
                    <a16:creationId xmlns:a16="http://schemas.microsoft.com/office/drawing/2014/main" id="{CD0CF57E-2129-465C-8D0E-924E71F28FE5}"/>
                  </a:ext>
                </a:extLst>
              </p:cNvPr>
              <p:cNvSpPr/>
              <p:nvPr/>
            </p:nvSpPr>
            <p:spPr>
              <a:xfrm>
                <a:off x="2300040" y="5179239"/>
                <a:ext cx="35829" cy="35829"/>
              </a:xfrm>
              <a:custGeom>
                <a:avLst/>
                <a:gdLst>
                  <a:gd name="connsiteX0" fmla="*/ 17915 w 35829"/>
                  <a:gd name="connsiteY0" fmla="*/ 35830 h 35829"/>
                  <a:gd name="connsiteX1" fmla="*/ 17915 w 35829"/>
                  <a:gd name="connsiteY1" fmla="*/ 27867 h 35829"/>
                  <a:gd name="connsiteX2" fmla="*/ 27867 w 35829"/>
                  <a:gd name="connsiteY2" fmla="*/ 17915 h 35829"/>
                  <a:gd name="connsiteX3" fmla="*/ 17915 w 35829"/>
                  <a:gd name="connsiteY3" fmla="*/ 7962 h 35829"/>
                  <a:gd name="connsiteX4" fmla="*/ 7962 w 35829"/>
                  <a:gd name="connsiteY4" fmla="*/ 17915 h 35829"/>
                  <a:gd name="connsiteX5" fmla="*/ 0 w 35829"/>
                  <a:gd name="connsiteY5" fmla="*/ 17915 h 35829"/>
                  <a:gd name="connsiteX6" fmla="*/ 17915 w 35829"/>
                  <a:gd name="connsiteY6" fmla="*/ 0 h 35829"/>
                  <a:gd name="connsiteX7" fmla="*/ 35830 w 35829"/>
                  <a:gd name="connsiteY7" fmla="*/ 17915 h 35829"/>
                  <a:gd name="connsiteX8" fmla="*/ 17915 w 35829"/>
                  <a:gd name="connsiteY8" fmla="*/ 35830 h 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29" h="35829">
                    <a:moveTo>
                      <a:pt x="17915" y="35830"/>
                    </a:moveTo>
                    <a:lnTo>
                      <a:pt x="17915" y="27867"/>
                    </a:lnTo>
                    <a:cubicBezTo>
                      <a:pt x="23886" y="27867"/>
                      <a:pt x="27867" y="23886"/>
                      <a:pt x="27867" y="17915"/>
                    </a:cubicBezTo>
                    <a:cubicBezTo>
                      <a:pt x="27867" y="11943"/>
                      <a:pt x="23886" y="7962"/>
                      <a:pt x="17915" y="7962"/>
                    </a:cubicBezTo>
                    <a:cubicBezTo>
                      <a:pt x="11943" y="7962"/>
                      <a:pt x="7962" y="11943"/>
                      <a:pt x="7962" y="17915"/>
                    </a:cubicBezTo>
                    <a:lnTo>
                      <a:pt x="0" y="17915"/>
                    </a:lnTo>
                    <a:cubicBezTo>
                      <a:pt x="0" y="7962"/>
                      <a:pt x="7962" y="0"/>
                      <a:pt x="17915" y="0"/>
                    </a:cubicBezTo>
                    <a:cubicBezTo>
                      <a:pt x="27867" y="0"/>
                      <a:pt x="35830" y="7962"/>
                      <a:pt x="35830" y="17915"/>
                    </a:cubicBezTo>
                    <a:cubicBezTo>
                      <a:pt x="35830" y="27867"/>
                      <a:pt x="27867" y="35830"/>
                      <a:pt x="17915" y="35830"/>
                    </a:cubicBezTo>
                    <a:close/>
                  </a:path>
                </a:pathLst>
              </a:custGeom>
              <a:solidFill>
                <a:srgbClr val="1D1D1B"/>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00" name="Freeform: Shape 99">
                <a:extLst>
                  <a:ext uri="{FF2B5EF4-FFF2-40B4-BE49-F238E27FC236}">
                    <a16:creationId xmlns:a16="http://schemas.microsoft.com/office/drawing/2014/main" id="{7B3CA6A4-A1F5-4651-95AD-1ED4CDAE81A8}"/>
                  </a:ext>
                </a:extLst>
              </p:cNvPr>
              <p:cNvSpPr/>
              <p:nvPr/>
            </p:nvSpPr>
            <p:spPr>
              <a:xfrm>
                <a:off x="2256248" y="5179239"/>
                <a:ext cx="35829" cy="35829"/>
              </a:xfrm>
              <a:custGeom>
                <a:avLst/>
                <a:gdLst>
                  <a:gd name="connsiteX0" fmla="*/ 17915 w 35829"/>
                  <a:gd name="connsiteY0" fmla="*/ 35830 h 35829"/>
                  <a:gd name="connsiteX1" fmla="*/ 17915 w 35829"/>
                  <a:gd name="connsiteY1" fmla="*/ 27867 h 35829"/>
                  <a:gd name="connsiteX2" fmla="*/ 27868 w 35829"/>
                  <a:gd name="connsiteY2" fmla="*/ 17915 h 35829"/>
                  <a:gd name="connsiteX3" fmla="*/ 17915 w 35829"/>
                  <a:gd name="connsiteY3" fmla="*/ 7962 h 35829"/>
                  <a:gd name="connsiteX4" fmla="*/ 7962 w 35829"/>
                  <a:gd name="connsiteY4" fmla="*/ 17915 h 35829"/>
                  <a:gd name="connsiteX5" fmla="*/ 0 w 35829"/>
                  <a:gd name="connsiteY5" fmla="*/ 17915 h 35829"/>
                  <a:gd name="connsiteX6" fmla="*/ 17915 w 35829"/>
                  <a:gd name="connsiteY6" fmla="*/ 0 h 35829"/>
                  <a:gd name="connsiteX7" fmla="*/ 35830 w 35829"/>
                  <a:gd name="connsiteY7" fmla="*/ 17915 h 35829"/>
                  <a:gd name="connsiteX8" fmla="*/ 17915 w 35829"/>
                  <a:gd name="connsiteY8" fmla="*/ 35830 h 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29" h="35829">
                    <a:moveTo>
                      <a:pt x="17915" y="35830"/>
                    </a:moveTo>
                    <a:lnTo>
                      <a:pt x="17915" y="27867"/>
                    </a:lnTo>
                    <a:cubicBezTo>
                      <a:pt x="23887" y="27867"/>
                      <a:pt x="27868" y="23886"/>
                      <a:pt x="27868" y="17915"/>
                    </a:cubicBezTo>
                    <a:cubicBezTo>
                      <a:pt x="27868" y="11943"/>
                      <a:pt x="23887" y="7962"/>
                      <a:pt x="17915" y="7962"/>
                    </a:cubicBezTo>
                    <a:cubicBezTo>
                      <a:pt x="11943" y="7962"/>
                      <a:pt x="7962" y="11943"/>
                      <a:pt x="7962" y="17915"/>
                    </a:cubicBezTo>
                    <a:lnTo>
                      <a:pt x="0" y="17915"/>
                    </a:lnTo>
                    <a:cubicBezTo>
                      <a:pt x="0" y="7962"/>
                      <a:pt x="7962" y="0"/>
                      <a:pt x="17915" y="0"/>
                    </a:cubicBezTo>
                    <a:cubicBezTo>
                      <a:pt x="27868" y="0"/>
                      <a:pt x="35830" y="7962"/>
                      <a:pt x="35830" y="17915"/>
                    </a:cubicBezTo>
                    <a:cubicBezTo>
                      <a:pt x="35830" y="27867"/>
                      <a:pt x="27868" y="35830"/>
                      <a:pt x="17915" y="35830"/>
                    </a:cubicBezTo>
                    <a:close/>
                  </a:path>
                </a:pathLst>
              </a:custGeom>
              <a:solidFill>
                <a:srgbClr val="1D1D1B"/>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01" name="Freeform: Shape 100">
                <a:extLst>
                  <a:ext uri="{FF2B5EF4-FFF2-40B4-BE49-F238E27FC236}">
                    <a16:creationId xmlns:a16="http://schemas.microsoft.com/office/drawing/2014/main" id="{0ACCDA5F-E6D9-4FE9-BCD2-22F65971B8F9}"/>
                  </a:ext>
                </a:extLst>
              </p:cNvPr>
              <p:cNvSpPr/>
              <p:nvPr/>
            </p:nvSpPr>
            <p:spPr>
              <a:xfrm>
                <a:off x="2212456" y="5179239"/>
                <a:ext cx="35829" cy="35829"/>
              </a:xfrm>
              <a:custGeom>
                <a:avLst/>
                <a:gdLst>
                  <a:gd name="connsiteX0" fmla="*/ 17915 w 35829"/>
                  <a:gd name="connsiteY0" fmla="*/ 35830 h 35829"/>
                  <a:gd name="connsiteX1" fmla="*/ 17915 w 35829"/>
                  <a:gd name="connsiteY1" fmla="*/ 27867 h 35829"/>
                  <a:gd name="connsiteX2" fmla="*/ 27868 w 35829"/>
                  <a:gd name="connsiteY2" fmla="*/ 17915 h 35829"/>
                  <a:gd name="connsiteX3" fmla="*/ 17915 w 35829"/>
                  <a:gd name="connsiteY3" fmla="*/ 7962 h 35829"/>
                  <a:gd name="connsiteX4" fmla="*/ 7962 w 35829"/>
                  <a:gd name="connsiteY4" fmla="*/ 17915 h 35829"/>
                  <a:gd name="connsiteX5" fmla="*/ 0 w 35829"/>
                  <a:gd name="connsiteY5" fmla="*/ 17915 h 35829"/>
                  <a:gd name="connsiteX6" fmla="*/ 17915 w 35829"/>
                  <a:gd name="connsiteY6" fmla="*/ 0 h 35829"/>
                  <a:gd name="connsiteX7" fmla="*/ 35830 w 35829"/>
                  <a:gd name="connsiteY7" fmla="*/ 17915 h 35829"/>
                  <a:gd name="connsiteX8" fmla="*/ 17915 w 35829"/>
                  <a:gd name="connsiteY8" fmla="*/ 35830 h 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29" h="35829">
                    <a:moveTo>
                      <a:pt x="17915" y="35830"/>
                    </a:moveTo>
                    <a:lnTo>
                      <a:pt x="17915" y="27867"/>
                    </a:lnTo>
                    <a:cubicBezTo>
                      <a:pt x="23886" y="27867"/>
                      <a:pt x="27868" y="23886"/>
                      <a:pt x="27868" y="17915"/>
                    </a:cubicBezTo>
                    <a:cubicBezTo>
                      <a:pt x="27868" y="11943"/>
                      <a:pt x="23886" y="7962"/>
                      <a:pt x="17915" y="7962"/>
                    </a:cubicBezTo>
                    <a:cubicBezTo>
                      <a:pt x="11943" y="7962"/>
                      <a:pt x="7962" y="11943"/>
                      <a:pt x="7962" y="17915"/>
                    </a:cubicBezTo>
                    <a:lnTo>
                      <a:pt x="0" y="17915"/>
                    </a:lnTo>
                    <a:cubicBezTo>
                      <a:pt x="0" y="7962"/>
                      <a:pt x="7962" y="0"/>
                      <a:pt x="17915" y="0"/>
                    </a:cubicBezTo>
                    <a:cubicBezTo>
                      <a:pt x="27868" y="0"/>
                      <a:pt x="35830" y="7962"/>
                      <a:pt x="35830" y="17915"/>
                    </a:cubicBezTo>
                    <a:cubicBezTo>
                      <a:pt x="35830" y="27867"/>
                      <a:pt x="27868" y="35830"/>
                      <a:pt x="17915" y="35830"/>
                    </a:cubicBezTo>
                    <a:close/>
                  </a:path>
                </a:pathLst>
              </a:custGeom>
              <a:solidFill>
                <a:srgbClr val="1D1D1B"/>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grpSp>
          <p:nvGrpSpPr>
            <p:cNvPr id="102" name="Graphic 7">
              <a:extLst>
                <a:ext uri="{FF2B5EF4-FFF2-40B4-BE49-F238E27FC236}">
                  <a16:creationId xmlns:a16="http://schemas.microsoft.com/office/drawing/2014/main" id="{E6DD740A-17CC-47A1-8FC6-96FE206DAB99}"/>
                </a:ext>
              </a:extLst>
            </p:cNvPr>
            <p:cNvGrpSpPr/>
            <p:nvPr/>
          </p:nvGrpSpPr>
          <p:grpSpPr>
            <a:xfrm>
              <a:off x="2230371" y="5306634"/>
              <a:ext cx="218959" cy="93555"/>
              <a:chOff x="2230371" y="5306634"/>
              <a:chExt cx="218959" cy="93555"/>
            </a:xfrm>
            <a:solidFill>
              <a:srgbClr val="58C1D7"/>
            </a:solidFill>
          </p:grpSpPr>
          <p:sp>
            <p:nvSpPr>
              <p:cNvPr id="103" name="Freeform: Shape 102">
                <a:extLst>
                  <a:ext uri="{FF2B5EF4-FFF2-40B4-BE49-F238E27FC236}">
                    <a16:creationId xmlns:a16="http://schemas.microsoft.com/office/drawing/2014/main" id="{C9BF0768-427C-4151-8310-47B942C99521}"/>
                  </a:ext>
                </a:extLst>
              </p:cNvPr>
              <p:cNvSpPr/>
              <p:nvPr/>
            </p:nvSpPr>
            <p:spPr>
              <a:xfrm>
                <a:off x="2230371" y="5306634"/>
                <a:ext cx="93555" cy="93555"/>
              </a:xfrm>
              <a:custGeom>
                <a:avLst/>
                <a:gdLst>
                  <a:gd name="connsiteX0" fmla="*/ 0 w 93555"/>
                  <a:gd name="connsiteY0" fmla="*/ 0 h 93555"/>
                  <a:gd name="connsiteX1" fmla="*/ 93555 w 93555"/>
                  <a:gd name="connsiteY1" fmla="*/ 0 h 93555"/>
                  <a:gd name="connsiteX2" fmla="*/ 93555 w 93555"/>
                  <a:gd name="connsiteY2" fmla="*/ 93555 h 93555"/>
                  <a:gd name="connsiteX3" fmla="*/ 0 w 93555"/>
                  <a:gd name="connsiteY3" fmla="*/ 93555 h 93555"/>
                </a:gdLst>
                <a:ahLst/>
                <a:cxnLst>
                  <a:cxn ang="0">
                    <a:pos x="connsiteX0" y="connsiteY0"/>
                  </a:cxn>
                  <a:cxn ang="0">
                    <a:pos x="connsiteX1" y="connsiteY1"/>
                  </a:cxn>
                  <a:cxn ang="0">
                    <a:pos x="connsiteX2" y="connsiteY2"/>
                  </a:cxn>
                  <a:cxn ang="0">
                    <a:pos x="connsiteX3" y="connsiteY3"/>
                  </a:cxn>
                </a:cxnLst>
                <a:rect l="l" t="t" r="r" b="b"/>
                <a:pathLst>
                  <a:path w="93555" h="93555">
                    <a:moveTo>
                      <a:pt x="0" y="0"/>
                    </a:moveTo>
                    <a:lnTo>
                      <a:pt x="93555" y="0"/>
                    </a:lnTo>
                    <a:lnTo>
                      <a:pt x="93555" y="93555"/>
                    </a:lnTo>
                    <a:lnTo>
                      <a:pt x="0" y="93555"/>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nvGrpSpPr>
              <p:cNvPr id="104" name="Graphic 7">
                <a:extLst>
                  <a:ext uri="{FF2B5EF4-FFF2-40B4-BE49-F238E27FC236}">
                    <a16:creationId xmlns:a16="http://schemas.microsoft.com/office/drawing/2014/main" id="{83B8AFD4-0E27-4DDF-B74A-1250A39AEBBF}"/>
                  </a:ext>
                </a:extLst>
              </p:cNvPr>
              <p:cNvGrpSpPr/>
              <p:nvPr/>
            </p:nvGrpSpPr>
            <p:grpSpPr>
              <a:xfrm>
                <a:off x="2323926" y="5306634"/>
                <a:ext cx="125404" cy="93555"/>
                <a:chOff x="2323926" y="5306634"/>
                <a:chExt cx="125404" cy="93555"/>
              </a:xfrm>
              <a:solidFill>
                <a:srgbClr val="58C1D7"/>
              </a:solidFill>
            </p:grpSpPr>
            <p:sp>
              <p:nvSpPr>
                <p:cNvPr id="105" name="Freeform: Shape 104">
                  <a:extLst>
                    <a:ext uri="{FF2B5EF4-FFF2-40B4-BE49-F238E27FC236}">
                      <a16:creationId xmlns:a16="http://schemas.microsoft.com/office/drawing/2014/main" id="{E7100003-C0D8-4342-B73E-8625E5ABA425}"/>
                    </a:ext>
                  </a:extLst>
                </p:cNvPr>
                <p:cNvSpPr/>
                <p:nvPr/>
              </p:nvSpPr>
              <p:spPr>
                <a:xfrm>
                  <a:off x="2323926" y="5306634"/>
                  <a:ext cx="35829" cy="33839"/>
                </a:xfrm>
                <a:custGeom>
                  <a:avLst/>
                  <a:gdLst>
                    <a:gd name="connsiteX0" fmla="*/ 35830 w 35829"/>
                    <a:gd name="connsiteY0" fmla="*/ 33839 h 33839"/>
                    <a:gd name="connsiteX1" fmla="*/ 0 w 35829"/>
                    <a:gd name="connsiteY1" fmla="*/ 33839 h 33839"/>
                    <a:gd name="connsiteX2" fmla="*/ 0 w 35829"/>
                    <a:gd name="connsiteY2" fmla="*/ 0 h 33839"/>
                    <a:gd name="connsiteX3" fmla="*/ 33839 w 35829"/>
                    <a:gd name="connsiteY3" fmla="*/ 0 h 33839"/>
                    <a:gd name="connsiteX4" fmla="*/ 33839 w 35829"/>
                    <a:gd name="connsiteY4" fmla="*/ 33839 h 33839"/>
                    <a:gd name="connsiteX5" fmla="*/ 5972 w 35829"/>
                    <a:gd name="connsiteY5" fmla="*/ 29858 h 33839"/>
                    <a:gd name="connsiteX6" fmla="*/ 31849 w 35829"/>
                    <a:gd name="connsiteY6" fmla="*/ 29858 h 33839"/>
                    <a:gd name="connsiteX7" fmla="*/ 31849 w 35829"/>
                    <a:gd name="connsiteY7" fmla="*/ 3981 h 33839"/>
                    <a:gd name="connsiteX8" fmla="*/ 5972 w 35829"/>
                    <a:gd name="connsiteY8" fmla="*/ 3981 h 33839"/>
                    <a:gd name="connsiteX9" fmla="*/ 5972 w 3582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9" h="33839">
                      <a:moveTo>
                        <a:pt x="35830" y="33839"/>
                      </a:moveTo>
                      <a:lnTo>
                        <a:pt x="0" y="33839"/>
                      </a:lnTo>
                      <a:lnTo>
                        <a:pt x="0" y="0"/>
                      </a:lnTo>
                      <a:lnTo>
                        <a:pt x="33839" y="0"/>
                      </a:lnTo>
                      <a:lnTo>
                        <a:pt x="33839" y="33839"/>
                      </a:lnTo>
                      <a:close/>
                      <a:moveTo>
                        <a:pt x="5972" y="29858"/>
                      </a:moveTo>
                      <a:lnTo>
                        <a:pt x="31849" y="29858"/>
                      </a:lnTo>
                      <a:lnTo>
                        <a:pt x="31849" y="3981"/>
                      </a:lnTo>
                      <a:lnTo>
                        <a:pt x="5972" y="3981"/>
                      </a:lnTo>
                      <a:lnTo>
                        <a:pt x="5972" y="29858"/>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06" name="Freeform: Shape 105">
                  <a:extLst>
                    <a:ext uri="{FF2B5EF4-FFF2-40B4-BE49-F238E27FC236}">
                      <a16:creationId xmlns:a16="http://schemas.microsoft.com/office/drawing/2014/main" id="{3D433741-3F5A-46C5-93E7-3BEA3E31D370}"/>
                    </a:ext>
                  </a:extLst>
                </p:cNvPr>
                <p:cNvSpPr/>
                <p:nvPr/>
              </p:nvSpPr>
              <p:spPr>
                <a:xfrm>
                  <a:off x="2355775" y="5306634"/>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7868 w 33839"/>
                    <a:gd name="connsiteY6" fmla="*/ 29858 h 33839"/>
                    <a:gd name="connsiteX7" fmla="*/ 27868 w 33839"/>
                    <a:gd name="connsiteY7" fmla="*/ 3981 h 33839"/>
                    <a:gd name="connsiteX8" fmla="*/ 1991 w 33839"/>
                    <a:gd name="connsiteY8" fmla="*/ 3981 h 33839"/>
                    <a:gd name="connsiteX9" fmla="*/ 199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7868" y="29858"/>
                      </a:lnTo>
                      <a:lnTo>
                        <a:pt x="27868" y="3981"/>
                      </a:lnTo>
                      <a:lnTo>
                        <a:pt x="1991" y="3981"/>
                      </a:lnTo>
                      <a:lnTo>
                        <a:pt x="1991" y="29858"/>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07" name="Freeform: Shape 106">
                  <a:extLst>
                    <a:ext uri="{FF2B5EF4-FFF2-40B4-BE49-F238E27FC236}">
                      <a16:creationId xmlns:a16="http://schemas.microsoft.com/office/drawing/2014/main" id="{3152A6D7-72C2-45AD-86EC-E780820E9644}"/>
                    </a:ext>
                  </a:extLst>
                </p:cNvPr>
                <p:cNvSpPr/>
                <p:nvPr/>
              </p:nvSpPr>
              <p:spPr>
                <a:xfrm>
                  <a:off x="2383642" y="5306634"/>
                  <a:ext cx="35829" cy="33839"/>
                </a:xfrm>
                <a:custGeom>
                  <a:avLst/>
                  <a:gdLst>
                    <a:gd name="connsiteX0" fmla="*/ 35830 w 35829"/>
                    <a:gd name="connsiteY0" fmla="*/ 33839 h 33839"/>
                    <a:gd name="connsiteX1" fmla="*/ 0 w 35829"/>
                    <a:gd name="connsiteY1" fmla="*/ 33839 h 33839"/>
                    <a:gd name="connsiteX2" fmla="*/ 0 w 35829"/>
                    <a:gd name="connsiteY2" fmla="*/ 0 h 33839"/>
                    <a:gd name="connsiteX3" fmla="*/ 33839 w 35829"/>
                    <a:gd name="connsiteY3" fmla="*/ 0 h 33839"/>
                    <a:gd name="connsiteX4" fmla="*/ 33839 w 35829"/>
                    <a:gd name="connsiteY4" fmla="*/ 33839 h 33839"/>
                    <a:gd name="connsiteX5" fmla="*/ 5972 w 35829"/>
                    <a:gd name="connsiteY5" fmla="*/ 29858 h 33839"/>
                    <a:gd name="connsiteX6" fmla="*/ 31849 w 35829"/>
                    <a:gd name="connsiteY6" fmla="*/ 29858 h 33839"/>
                    <a:gd name="connsiteX7" fmla="*/ 31849 w 35829"/>
                    <a:gd name="connsiteY7" fmla="*/ 3981 h 33839"/>
                    <a:gd name="connsiteX8" fmla="*/ 5972 w 35829"/>
                    <a:gd name="connsiteY8" fmla="*/ 3981 h 33839"/>
                    <a:gd name="connsiteX9" fmla="*/ 5972 w 3582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9" h="33839">
                      <a:moveTo>
                        <a:pt x="35830" y="33839"/>
                      </a:moveTo>
                      <a:lnTo>
                        <a:pt x="0" y="33839"/>
                      </a:lnTo>
                      <a:lnTo>
                        <a:pt x="0" y="0"/>
                      </a:lnTo>
                      <a:lnTo>
                        <a:pt x="33839" y="0"/>
                      </a:lnTo>
                      <a:lnTo>
                        <a:pt x="33839" y="33839"/>
                      </a:lnTo>
                      <a:close/>
                      <a:moveTo>
                        <a:pt x="5972" y="29858"/>
                      </a:moveTo>
                      <a:lnTo>
                        <a:pt x="31849" y="29858"/>
                      </a:lnTo>
                      <a:lnTo>
                        <a:pt x="31849" y="3981"/>
                      </a:lnTo>
                      <a:lnTo>
                        <a:pt x="5972" y="3981"/>
                      </a:lnTo>
                      <a:lnTo>
                        <a:pt x="5972" y="29858"/>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08" name="Freeform: Shape 107">
                  <a:extLst>
                    <a:ext uri="{FF2B5EF4-FFF2-40B4-BE49-F238E27FC236}">
                      <a16:creationId xmlns:a16="http://schemas.microsoft.com/office/drawing/2014/main" id="{EC8BC153-2610-47CD-AAE4-7C22C5EC6FE9}"/>
                    </a:ext>
                  </a:extLst>
                </p:cNvPr>
                <p:cNvSpPr/>
                <p:nvPr/>
              </p:nvSpPr>
              <p:spPr>
                <a:xfrm>
                  <a:off x="2415491" y="5306634"/>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09" name="Freeform: Shape 108">
                  <a:extLst>
                    <a:ext uri="{FF2B5EF4-FFF2-40B4-BE49-F238E27FC236}">
                      <a16:creationId xmlns:a16="http://schemas.microsoft.com/office/drawing/2014/main" id="{3A80D4C8-B1E7-4D6C-AF8C-B182B0A05883}"/>
                    </a:ext>
                  </a:extLst>
                </p:cNvPr>
                <p:cNvSpPr/>
                <p:nvPr/>
              </p:nvSpPr>
              <p:spPr>
                <a:xfrm>
                  <a:off x="2323926" y="5336492"/>
                  <a:ext cx="35829" cy="33839"/>
                </a:xfrm>
                <a:custGeom>
                  <a:avLst/>
                  <a:gdLst>
                    <a:gd name="connsiteX0" fmla="*/ 35830 w 35829"/>
                    <a:gd name="connsiteY0" fmla="*/ 33839 h 33839"/>
                    <a:gd name="connsiteX1" fmla="*/ 0 w 35829"/>
                    <a:gd name="connsiteY1" fmla="*/ 33839 h 33839"/>
                    <a:gd name="connsiteX2" fmla="*/ 0 w 35829"/>
                    <a:gd name="connsiteY2" fmla="*/ 0 h 33839"/>
                    <a:gd name="connsiteX3" fmla="*/ 33839 w 35829"/>
                    <a:gd name="connsiteY3" fmla="*/ 0 h 33839"/>
                    <a:gd name="connsiteX4" fmla="*/ 33839 w 35829"/>
                    <a:gd name="connsiteY4" fmla="*/ 33839 h 33839"/>
                    <a:gd name="connsiteX5" fmla="*/ 5972 w 35829"/>
                    <a:gd name="connsiteY5" fmla="*/ 29858 h 33839"/>
                    <a:gd name="connsiteX6" fmla="*/ 31849 w 35829"/>
                    <a:gd name="connsiteY6" fmla="*/ 29858 h 33839"/>
                    <a:gd name="connsiteX7" fmla="*/ 31849 w 35829"/>
                    <a:gd name="connsiteY7" fmla="*/ 3981 h 33839"/>
                    <a:gd name="connsiteX8" fmla="*/ 5972 w 35829"/>
                    <a:gd name="connsiteY8" fmla="*/ 3981 h 33839"/>
                    <a:gd name="connsiteX9" fmla="*/ 5972 w 3582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9" h="33839">
                      <a:moveTo>
                        <a:pt x="35830" y="33839"/>
                      </a:moveTo>
                      <a:lnTo>
                        <a:pt x="0" y="33839"/>
                      </a:lnTo>
                      <a:lnTo>
                        <a:pt x="0" y="0"/>
                      </a:lnTo>
                      <a:lnTo>
                        <a:pt x="33839" y="0"/>
                      </a:lnTo>
                      <a:lnTo>
                        <a:pt x="33839" y="33839"/>
                      </a:lnTo>
                      <a:close/>
                      <a:moveTo>
                        <a:pt x="5972" y="29858"/>
                      </a:moveTo>
                      <a:lnTo>
                        <a:pt x="31849" y="29858"/>
                      </a:lnTo>
                      <a:lnTo>
                        <a:pt x="31849" y="3981"/>
                      </a:lnTo>
                      <a:lnTo>
                        <a:pt x="5972" y="3981"/>
                      </a:lnTo>
                      <a:lnTo>
                        <a:pt x="5972" y="29858"/>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0" name="Freeform: Shape 109">
                  <a:extLst>
                    <a:ext uri="{FF2B5EF4-FFF2-40B4-BE49-F238E27FC236}">
                      <a16:creationId xmlns:a16="http://schemas.microsoft.com/office/drawing/2014/main" id="{4EFF7283-B875-4FD1-9094-F812D06394B6}"/>
                    </a:ext>
                  </a:extLst>
                </p:cNvPr>
                <p:cNvSpPr/>
                <p:nvPr/>
              </p:nvSpPr>
              <p:spPr>
                <a:xfrm>
                  <a:off x="2355775" y="5336492"/>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7868 w 33839"/>
                    <a:gd name="connsiteY6" fmla="*/ 29858 h 33839"/>
                    <a:gd name="connsiteX7" fmla="*/ 27868 w 33839"/>
                    <a:gd name="connsiteY7" fmla="*/ 3981 h 33839"/>
                    <a:gd name="connsiteX8" fmla="*/ 1991 w 33839"/>
                    <a:gd name="connsiteY8" fmla="*/ 3981 h 33839"/>
                    <a:gd name="connsiteX9" fmla="*/ 199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7868" y="29858"/>
                      </a:lnTo>
                      <a:lnTo>
                        <a:pt x="27868" y="3981"/>
                      </a:lnTo>
                      <a:lnTo>
                        <a:pt x="1991" y="3981"/>
                      </a:lnTo>
                      <a:lnTo>
                        <a:pt x="1991" y="29858"/>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1" name="Freeform: Shape 110">
                  <a:extLst>
                    <a:ext uri="{FF2B5EF4-FFF2-40B4-BE49-F238E27FC236}">
                      <a16:creationId xmlns:a16="http://schemas.microsoft.com/office/drawing/2014/main" id="{81554649-2716-4B53-ABBF-4CD55C63684A}"/>
                    </a:ext>
                  </a:extLst>
                </p:cNvPr>
                <p:cNvSpPr/>
                <p:nvPr/>
              </p:nvSpPr>
              <p:spPr>
                <a:xfrm>
                  <a:off x="2383642" y="5336492"/>
                  <a:ext cx="35829" cy="33839"/>
                </a:xfrm>
                <a:custGeom>
                  <a:avLst/>
                  <a:gdLst>
                    <a:gd name="connsiteX0" fmla="*/ 35830 w 35829"/>
                    <a:gd name="connsiteY0" fmla="*/ 33839 h 33839"/>
                    <a:gd name="connsiteX1" fmla="*/ 0 w 35829"/>
                    <a:gd name="connsiteY1" fmla="*/ 33839 h 33839"/>
                    <a:gd name="connsiteX2" fmla="*/ 0 w 35829"/>
                    <a:gd name="connsiteY2" fmla="*/ 0 h 33839"/>
                    <a:gd name="connsiteX3" fmla="*/ 33839 w 35829"/>
                    <a:gd name="connsiteY3" fmla="*/ 0 h 33839"/>
                    <a:gd name="connsiteX4" fmla="*/ 33839 w 35829"/>
                    <a:gd name="connsiteY4" fmla="*/ 33839 h 33839"/>
                    <a:gd name="connsiteX5" fmla="*/ 5972 w 35829"/>
                    <a:gd name="connsiteY5" fmla="*/ 29858 h 33839"/>
                    <a:gd name="connsiteX6" fmla="*/ 31849 w 35829"/>
                    <a:gd name="connsiteY6" fmla="*/ 29858 h 33839"/>
                    <a:gd name="connsiteX7" fmla="*/ 31849 w 35829"/>
                    <a:gd name="connsiteY7" fmla="*/ 3981 h 33839"/>
                    <a:gd name="connsiteX8" fmla="*/ 5972 w 35829"/>
                    <a:gd name="connsiteY8" fmla="*/ 3981 h 33839"/>
                    <a:gd name="connsiteX9" fmla="*/ 5972 w 3582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9" h="33839">
                      <a:moveTo>
                        <a:pt x="35830" y="33839"/>
                      </a:moveTo>
                      <a:lnTo>
                        <a:pt x="0" y="33839"/>
                      </a:lnTo>
                      <a:lnTo>
                        <a:pt x="0" y="0"/>
                      </a:lnTo>
                      <a:lnTo>
                        <a:pt x="33839" y="0"/>
                      </a:lnTo>
                      <a:lnTo>
                        <a:pt x="33839" y="33839"/>
                      </a:lnTo>
                      <a:close/>
                      <a:moveTo>
                        <a:pt x="5972" y="29858"/>
                      </a:moveTo>
                      <a:lnTo>
                        <a:pt x="31849" y="29858"/>
                      </a:lnTo>
                      <a:lnTo>
                        <a:pt x="31849" y="3981"/>
                      </a:lnTo>
                      <a:lnTo>
                        <a:pt x="5972" y="3981"/>
                      </a:lnTo>
                      <a:lnTo>
                        <a:pt x="5972" y="29858"/>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2" name="Freeform: Shape 111">
                  <a:extLst>
                    <a:ext uri="{FF2B5EF4-FFF2-40B4-BE49-F238E27FC236}">
                      <a16:creationId xmlns:a16="http://schemas.microsoft.com/office/drawing/2014/main" id="{9B391EA9-C49C-4F6D-B1EE-17694683C04A}"/>
                    </a:ext>
                  </a:extLst>
                </p:cNvPr>
                <p:cNvSpPr/>
                <p:nvPr/>
              </p:nvSpPr>
              <p:spPr>
                <a:xfrm>
                  <a:off x="2415491" y="5336492"/>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3" name="Freeform: Shape 112">
                  <a:extLst>
                    <a:ext uri="{FF2B5EF4-FFF2-40B4-BE49-F238E27FC236}">
                      <a16:creationId xmlns:a16="http://schemas.microsoft.com/office/drawing/2014/main" id="{8C9FBF6C-11CD-4A8B-8671-268B162E018A}"/>
                    </a:ext>
                  </a:extLst>
                </p:cNvPr>
                <p:cNvSpPr/>
                <p:nvPr/>
              </p:nvSpPr>
              <p:spPr>
                <a:xfrm>
                  <a:off x="2323926" y="5366350"/>
                  <a:ext cx="35829" cy="33839"/>
                </a:xfrm>
                <a:custGeom>
                  <a:avLst/>
                  <a:gdLst>
                    <a:gd name="connsiteX0" fmla="*/ 35830 w 35829"/>
                    <a:gd name="connsiteY0" fmla="*/ 33839 h 33839"/>
                    <a:gd name="connsiteX1" fmla="*/ 0 w 35829"/>
                    <a:gd name="connsiteY1" fmla="*/ 33839 h 33839"/>
                    <a:gd name="connsiteX2" fmla="*/ 0 w 35829"/>
                    <a:gd name="connsiteY2" fmla="*/ 0 h 33839"/>
                    <a:gd name="connsiteX3" fmla="*/ 33839 w 35829"/>
                    <a:gd name="connsiteY3" fmla="*/ 0 h 33839"/>
                    <a:gd name="connsiteX4" fmla="*/ 33839 w 35829"/>
                    <a:gd name="connsiteY4" fmla="*/ 33839 h 33839"/>
                    <a:gd name="connsiteX5" fmla="*/ 5972 w 35829"/>
                    <a:gd name="connsiteY5" fmla="*/ 29858 h 33839"/>
                    <a:gd name="connsiteX6" fmla="*/ 31849 w 35829"/>
                    <a:gd name="connsiteY6" fmla="*/ 29858 h 33839"/>
                    <a:gd name="connsiteX7" fmla="*/ 31849 w 35829"/>
                    <a:gd name="connsiteY7" fmla="*/ 3981 h 33839"/>
                    <a:gd name="connsiteX8" fmla="*/ 5972 w 35829"/>
                    <a:gd name="connsiteY8" fmla="*/ 3981 h 33839"/>
                    <a:gd name="connsiteX9" fmla="*/ 5972 w 3582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9" h="33839">
                      <a:moveTo>
                        <a:pt x="35830" y="33839"/>
                      </a:moveTo>
                      <a:lnTo>
                        <a:pt x="0" y="33839"/>
                      </a:lnTo>
                      <a:lnTo>
                        <a:pt x="0" y="0"/>
                      </a:lnTo>
                      <a:lnTo>
                        <a:pt x="33839" y="0"/>
                      </a:lnTo>
                      <a:lnTo>
                        <a:pt x="33839" y="33839"/>
                      </a:lnTo>
                      <a:close/>
                      <a:moveTo>
                        <a:pt x="5972" y="29858"/>
                      </a:moveTo>
                      <a:lnTo>
                        <a:pt x="31849" y="29858"/>
                      </a:lnTo>
                      <a:lnTo>
                        <a:pt x="31849" y="3981"/>
                      </a:lnTo>
                      <a:lnTo>
                        <a:pt x="5972" y="3981"/>
                      </a:lnTo>
                      <a:lnTo>
                        <a:pt x="5972" y="29858"/>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4" name="Freeform: Shape 113">
                  <a:extLst>
                    <a:ext uri="{FF2B5EF4-FFF2-40B4-BE49-F238E27FC236}">
                      <a16:creationId xmlns:a16="http://schemas.microsoft.com/office/drawing/2014/main" id="{13662617-CA58-4947-8F40-0FAB600C176A}"/>
                    </a:ext>
                  </a:extLst>
                </p:cNvPr>
                <p:cNvSpPr/>
                <p:nvPr/>
              </p:nvSpPr>
              <p:spPr>
                <a:xfrm>
                  <a:off x="2355775" y="5366350"/>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7868 w 33839"/>
                    <a:gd name="connsiteY6" fmla="*/ 29858 h 33839"/>
                    <a:gd name="connsiteX7" fmla="*/ 27868 w 33839"/>
                    <a:gd name="connsiteY7" fmla="*/ 3981 h 33839"/>
                    <a:gd name="connsiteX8" fmla="*/ 1991 w 33839"/>
                    <a:gd name="connsiteY8" fmla="*/ 3981 h 33839"/>
                    <a:gd name="connsiteX9" fmla="*/ 199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7868" y="29858"/>
                      </a:lnTo>
                      <a:lnTo>
                        <a:pt x="27868" y="3981"/>
                      </a:lnTo>
                      <a:lnTo>
                        <a:pt x="1991" y="3981"/>
                      </a:lnTo>
                      <a:lnTo>
                        <a:pt x="1991" y="29858"/>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5" name="Freeform: Shape 114">
                  <a:extLst>
                    <a:ext uri="{FF2B5EF4-FFF2-40B4-BE49-F238E27FC236}">
                      <a16:creationId xmlns:a16="http://schemas.microsoft.com/office/drawing/2014/main" id="{61055F7B-ACE3-42DF-BA2B-BA6D7866545A}"/>
                    </a:ext>
                  </a:extLst>
                </p:cNvPr>
                <p:cNvSpPr/>
                <p:nvPr/>
              </p:nvSpPr>
              <p:spPr>
                <a:xfrm>
                  <a:off x="2383642" y="5366350"/>
                  <a:ext cx="35829" cy="33839"/>
                </a:xfrm>
                <a:custGeom>
                  <a:avLst/>
                  <a:gdLst>
                    <a:gd name="connsiteX0" fmla="*/ 35830 w 35829"/>
                    <a:gd name="connsiteY0" fmla="*/ 33839 h 33839"/>
                    <a:gd name="connsiteX1" fmla="*/ 0 w 35829"/>
                    <a:gd name="connsiteY1" fmla="*/ 33839 h 33839"/>
                    <a:gd name="connsiteX2" fmla="*/ 0 w 35829"/>
                    <a:gd name="connsiteY2" fmla="*/ 0 h 33839"/>
                    <a:gd name="connsiteX3" fmla="*/ 33839 w 35829"/>
                    <a:gd name="connsiteY3" fmla="*/ 0 h 33839"/>
                    <a:gd name="connsiteX4" fmla="*/ 33839 w 35829"/>
                    <a:gd name="connsiteY4" fmla="*/ 33839 h 33839"/>
                    <a:gd name="connsiteX5" fmla="*/ 5972 w 35829"/>
                    <a:gd name="connsiteY5" fmla="*/ 29858 h 33839"/>
                    <a:gd name="connsiteX6" fmla="*/ 31849 w 35829"/>
                    <a:gd name="connsiteY6" fmla="*/ 29858 h 33839"/>
                    <a:gd name="connsiteX7" fmla="*/ 31849 w 35829"/>
                    <a:gd name="connsiteY7" fmla="*/ 3981 h 33839"/>
                    <a:gd name="connsiteX8" fmla="*/ 5972 w 35829"/>
                    <a:gd name="connsiteY8" fmla="*/ 3981 h 33839"/>
                    <a:gd name="connsiteX9" fmla="*/ 5972 w 3582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29" h="33839">
                      <a:moveTo>
                        <a:pt x="35830" y="33839"/>
                      </a:moveTo>
                      <a:lnTo>
                        <a:pt x="0" y="33839"/>
                      </a:lnTo>
                      <a:lnTo>
                        <a:pt x="0" y="0"/>
                      </a:lnTo>
                      <a:lnTo>
                        <a:pt x="33839" y="0"/>
                      </a:lnTo>
                      <a:lnTo>
                        <a:pt x="33839" y="33839"/>
                      </a:lnTo>
                      <a:close/>
                      <a:moveTo>
                        <a:pt x="5972" y="29858"/>
                      </a:moveTo>
                      <a:lnTo>
                        <a:pt x="31849" y="29858"/>
                      </a:lnTo>
                      <a:lnTo>
                        <a:pt x="31849" y="3981"/>
                      </a:lnTo>
                      <a:lnTo>
                        <a:pt x="5972" y="3981"/>
                      </a:lnTo>
                      <a:lnTo>
                        <a:pt x="5972" y="29858"/>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6" name="Freeform: Shape 115">
                  <a:extLst>
                    <a:ext uri="{FF2B5EF4-FFF2-40B4-BE49-F238E27FC236}">
                      <a16:creationId xmlns:a16="http://schemas.microsoft.com/office/drawing/2014/main" id="{0454E3CF-E83F-4E32-87D4-08444E01DCE5}"/>
                    </a:ext>
                  </a:extLst>
                </p:cNvPr>
                <p:cNvSpPr/>
                <p:nvPr/>
              </p:nvSpPr>
              <p:spPr>
                <a:xfrm>
                  <a:off x="2415491" y="5366350"/>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58C1D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grpSp>
      </p:grpSp>
      <p:sp>
        <p:nvSpPr>
          <p:cNvPr id="119" name="Freeform: Shape 118">
            <a:extLst>
              <a:ext uri="{FF2B5EF4-FFF2-40B4-BE49-F238E27FC236}">
                <a16:creationId xmlns:a16="http://schemas.microsoft.com/office/drawing/2014/main" id="{CAB63BEF-74FB-4E78-B76A-8A808526F1CD}"/>
              </a:ext>
            </a:extLst>
          </p:cNvPr>
          <p:cNvSpPr/>
          <p:nvPr/>
        </p:nvSpPr>
        <p:spPr>
          <a:xfrm>
            <a:off x="6313735" y="3776941"/>
            <a:ext cx="489673" cy="489673"/>
          </a:xfrm>
          <a:custGeom>
            <a:avLst/>
            <a:gdLst>
              <a:gd name="connsiteX0" fmla="*/ 652897 w 652897"/>
              <a:gd name="connsiteY0" fmla="*/ 326448 h 652897"/>
              <a:gd name="connsiteX1" fmla="*/ 326449 w 652897"/>
              <a:gd name="connsiteY1" fmla="*/ 652897 h 652897"/>
              <a:gd name="connsiteX2" fmla="*/ 0 w 652897"/>
              <a:gd name="connsiteY2" fmla="*/ 326448 h 652897"/>
              <a:gd name="connsiteX3" fmla="*/ 326449 w 652897"/>
              <a:gd name="connsiteY3" fmla="*/ 0 h 652897"/>
              <a:gd name="connsiteX4" fmla="*/ 652897 w 652897"/>
              <a:gd name="connsiteY4" fmla="*/ 326448 h 6528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2897" h="652897">
                <a:moveTo>
                  <a:pt x="652897" y="326448"/>
                </a:moveTo>
                <a:cubicBezTo>
                  <a:pt x="652897" y="506741"/>
                  <a:pt x="506741" y="652897"/>
                  <a:pt x="326449" y="652897"/>
                </a:cubicBezTo>
                <a:cubicBezTo>
                  <a:pt x="146156" y="652897"/>
                  <a:pt x="0" y="506741"/>
                  <a:pt x="0" y="326448"/>
                </a:cubicBezTo>
                <a:cubicBezTo>
                  <a:pt x="0" y="146156"/>
                  <a:pt x="146156" y="0"/>
                  <a:pt x="326449" y="0"/>
                </a:cubicBezTo>
                <a:cubicBezTo>
                  <a:pt x="506741" y="0"/>
                  <a:pt x="652897" y="146156"/>
                  <a:pt x="652897" y="326448"/>
                </a:cubicBezTo>
                <a:close/>
              </a:path>
            </a:pathLst>
          </a:custGeom>
          <a:solidFill>
            <a:schemeClr val="accent2"/>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nvGrpSpPr>
          <p:cNvPr id="120" name="Graphic 7">
            <a:extLst>
              <a:ext uri="{FF2B5EF4-FFF2-40B4-BE49-F238E27FC236}">
                <a16:creationId xmlns:a16="http://schemas.microsoft.com/office/drawing/2014/main" id="{70F258E0-1243-4212-A79D-DDF6E1BC79B6}"/>
              </a:ext>
            </a:extLst>
          </p:cNvPr>
          <p:cNvGrpSpPr/>
          <p:nvPr/>
        </p:nvGrpSpPr>
        <p:grpSpPr>
          <a:xfrm>
            <a:off x="6437646" y="3884429"/>
            <a:ext cx="283651" cy="274694"/>
            <a:chOff x="8737445" y="5179239"/>
            <a:chExt cx="378202" cy="366259"/>
          </a:xfrm>
        </p:grpSpPr>
        <p:sp>
          <p:nvSpPr>
            <p:cNvPr id="121" name="Freeform: Shape 120">
              <a:extLst>
                <a:ext uri="{FF2B5EF4-FFF2-40B4-BE49-F238E27FC236}">
                  <a16:creationId xmlns:a16="http://schemas.microsoft.com/office/drawing/2014/main" id="{44A89D3B-1226-498D-9010-EA25EF1AE56B}"/>
                </a:ext>
              </a:extLst>
            </p:cNvPr>
            <p:cNvSpPr/>
            <p:nvPr/>
          </p:nvSpPr>
          <p:spPr>
            <a:xfrm>
              <a:off x="8781237" y="5260852"/>
              <a:ext cx="286637" cy="284647"/>
            </a:xfrm>
            <a:custGeom>
              <a:avLst/>
              <a:gdLst>
                <a:gd name="connsiteX0" fmla="*/ 0 w 286637"/>
                <a:gd name="connsiteY0" fmla="*/ 0 h 284647"/>
                <a:gd name="connsiteX1" fmla="*/ 286637 w 286637"/>
                <a:gd name="connsiteY1" fmla="*/ 0 h 284647"/>
                <a:gd name="connsiteX2" fmla="*/ 286637 w 286637"/>
                <a:gd name="connsiteY2" fmla="*/ 284647 h 284647"/>
                <a:gd name="connsiteX3" fmla="*/ 0 w 286637"/>
                <a:gd name="connsiteY3" fmla="*/ 284647 h 284647"/>
              </a:gdLst>
              <a:ahLst/>
              <a:cxnLst>
                <a:cxn ang="0">
                  <a:pos x="connsiteX0" y="connsiteY0"/>
                </a:cxn>
                <a:cxn ang="0">
                  <a:pos x="connsiteX1" y="connsiteY1"/>
                </a:cxn>
                <a:cxn ang="0">
                  <a:pos x="connsiteX2" y="connsiteY2"/>
                </a:cxn>
                <a:cxn ang="0">
                  <a:pos x="connsiteX3" y="connsiteY3"/>
                </a:cxn>
              </a:cxnLst>
              <a:rect l="l" t="t" r="r" b="b"/>
              <a:pathLst>
                <a:path w="286637" h="284647">
                  <a:moveTo>
                    <a:pt x="0" y="0"/>
                  </a:moveTo>
                  <a:lnTo>
                    <a:pt x="286637" y="0"/>
                  </a:lnTo>
                  <a:lnTo>
                    <a:pt x="286637" y="284647"/>
                  </a:lnTo>
                  <a:lnTo>
                    <a:pt x="0" y="284647"/>
                  </a:lnTo>
                  <a:close/>
                </a:path>
              </a:pathLst>
            </a:custGeom>
            <a:solidFill>
              <a:schemeClr val="bg2">
                <a:lumMod val="75000"/>
              </a:schemeClr>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22" name="Freeform: Shape 121">
              <a:extLst>
                <a:ext uri="{FF2B5EF4-FFF2-40B4-BE49-F238E27FC236}">
                  <a16:creationId xmlns:a16="http://schemas.microsoft.com/office/drawing/2014/main" id="{58E27CAA-8495-4612-A9F9-A42223ECD1E4}"/>
                </a:ext>
              </a:extLst>
            </p:cNvPr>
            <p:cNvSpPr/>
            <p:nvPr/>
          </p:nvSpPr>
          <p:spPr>
            <a:xfrm>
              <a:off x="8737445" y="5197154"/>
              <a:ext cx="330429" cy="63697"/>
            </a:xfrm>
            <a:custGeom>
              <a:avLst/>
              <a:gdLst>
                <a:gd name="connsiteX0" fmla="*/ 0 w 330429"/>
                <a:gd name="connsiteY0" fmla="*/ 0 h 63697"/>
                <a:gd name="connsiteX1" fmla="*/ 330430 w 330429"/>
                <a:gd name="connsiteY1" fmla="*/ 0 h 63697"/>
                <a:gd name="connsiteX2" fmla="*/ 330430 w 330429"/>
                <a:gd name="connsiteY2" fmla="*/ 63697 h 63697"/>
                <a:gd name="connsiteX3" fmla="*/ 0 w 330429"/>
                <a:gd name="connsiteY3" fmla="*/ 63697 h 63697"/>
              </a:gdLst>
              <a:ahLst/>
              <a:cxnLst>
                <a:cxn ang="0">
                  <a:pos x="connsiteX0" y="connsiteY0"/>
                </a:cxn>
                <a:cxn ang="0">
                  <a:pos x="connsiteX1" y="connsiteY1"/>
                </a:cxn>
                <a:cxn ang="0">
                  <a:pos x="connsiteX2" y="connsiteY2"/>
                </a:cxn>
                <a:cxn ang="0">
                  <a:pos x="connsiteX3" y="connsiteY3"/>
                </a:cxn>
              </a:cxnLst>
              <a:rect l="l" t="t" r="r" b="b"/>
              <a:pathLst>
                <a:path w="330429" h="63697">
                  <a:moveTo>
                    <a:pt x="0" y="0"/>
                  </a:moveTo>
                  <a:lnTo>
                    <a:pt x="330430" y="0"/>
                  </a:lnTo>
                  <a:lnTo>
                    <a:pt x="330430" y="63697"/>
                  </a:lnTo>
                  <a:lnTo>
                    <a:pt x="0" y="63697"/>
                  </a:lnTo>
                  <a:close/>
                </a:path>
              </a:pathLst>
            </a:custGeom>
            <a:solidFill>
              <a:schemeClr val="accent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23" name="Freeform: Shape 122">
              <a:extLst>
                <a:ext uri="{FF2B5EF4-FFF2-40B4-BE49-F238E27FC236}">
                  <a16:creationId xmlns:a16="http://schemas.microsoft.com/office/drawing/2014/main" id="{D5B3CD4C-9A42-4C56-9CA0-36281C2D1D53}"/>
                </a:ext>
              </a:extLst>
            </p:cNvPr>
            <p:cNvSpPr/>
            <p:nvPr/>
          </p:nvSpPr>
          <p:spPr>
            <a:xfrm>
              <a:off x="8737445" y="5260852"/>
              <a:ext cx="43791" cy="284647"/>
            </a:xfrm>
            <a:custGeom>
              <a:avLst/>
              <a:gdLst>
                <a:gd name="connsiteX0" fmla="*/ 0 w 43791"/>
                <a:gd name="connsiteY0" fmla="*/ 0 h 284647"/>
                <a:gd name="connsiteX1" fmla="*/ 43792 w 43791"/>
                <a:gd name="connsiteY1" fmla="*/ 0 h 284647"/>
                <a:gd name="connsiteX2" fmla="*/ 43792 w 43791"/>
                <a:gd name="connsiteY2" fmla="*/ 284647 h 284647"/>
                <a:gd name="connsiteX3" fmla="*/ 0 w 43791"/>
                <a:gd name="connsiteY3" fmla="*/ 284647 h 284647"/>
              </a:gdLst>
              <a:ahLst/>
              <a:cxnLst>
                <a:cxn ang="0">
                  <a:pos x="connsiteX0" y="connsiteY0"/>
                </a:cxn>
                <a:cxn ang="0">
                  <a:pos x="connsiteX1" y="connsiteY1"/>
                </a:cxn>
                <a:cxn ang="0">
                  <a:pos x="connsiteX2" y="connsiteY2"/>
                </a:cxn>
                <a:cxn ang="0">
                  <a:pos x="connsiteX3" y="connsiteY3"/>
                </a:cxn>
              </a:cxnLst>
              <a:rect l="l" t="t" r="r" b="b"/>
              <a:pathLst>
                <a:path w="43791" h="284647">
                  <a:moveTo>
                    <a:pt x="0" y="0"/>
                  </a:moveTo>
                  <a:lnTo>
                    <a:pt x="43792" y="0"/>
                  </a:lnTo>
                  <a:lnTo>
                    <a:pt x="43792" y="284647"/>
                  </a:lnTo>
                  <a:lnTo>
                    <a:pt x="0" y="284647"/>
                  </a:lnTo>
                  <a:close/>
                </a:path>
              </a:pathLst>
            </a:custGeom>
            <a:solidFill>
              <a:srgbClr val="D1DBE7"/>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24" name="Freeform: Shape 123">
              <a:extLst>
                <a:ext uri="{FF2B5EF4-FFF2-40B4-BE49-F238E27FC236}">
                  <a16:creationId xmlns:a16="http://schemas.microsoft.com/office/drawing/2014/main" id="{3C5CD601-BA6E-48FD-9D89-972B12F0C794}"/>
                </a:ext>
              </a:extLst>
            </p:cNvPr>
            <p:cNvSpPr/>
            <p:nvPr/>
          </p:nvSpPr>
          <p:spPr>
            <a:xfrm>
              <a:off x="8737445" y="5197154"/>
              <a:ext cx="43791" cy="63697"/>
            </a:xfrm>
            <a:custGeom>
              <a:avLst/>
              <a:gdLst>
                <a:gd name="connsiteX0" fmla="*/ 0 w 43791"/>
                <a:gd name="connsiteY0" fmla="*/ 0 h 63697"/>
                <a:gd name="connsiteX1" fmla="*/ 43792 w 43791"/>
                <a:gd name="connsiteY1" fmla="*/ 0 h 63697"/>
                <a:gd name="connsiteX2" fmla="*/ 43792 w 43791"/>
                <a:gd name="connsiteY2" fmla="*/ 63697 h 63697"/>
                <a:gd name="connsiteX3" fmla="*/ 0 w 43791"/>
                <a:gd name="connsiteY3" fmla="*/ 63697 h 63697"/>
              </a:gdLst>
              <a:ahLst/>
              <a:cxnLst>
                <a:cxn ang="0">
                  <a:pos x="connsiteX0" y="connsiteY0"/>
                </a:cxn>
                <a:cxn ang="0">
                  <a:pos x="connsiteX1" y="connsiteY1"/>
                </a:cxn>
                <a:cxn ang="0">
                  <a:pos x="connsiteX2" y="connsiteY2"/>
                </a:cxn>
                <a:cxn ang="0">
                  <a:pos x="connsiteX3" y="connsiteY3"/>
                </a:cxn>
              </a:cxnLst>
              <a:rect l="l" t="t" r="r" b="b"/>
              <a:pathLst>
                <a:path w="43791" h="63697">
                  <a:moveTo>
                    <a:pt x="0" y="0"/>
                  </a:moveTo>
                  <a:lnTo>
                    <a:pt x="43792" y="0"/>
                  </a:lnTo>
                  <a:lnTo>
                    <a:pt x="43792" y="63697"/>
                  </a:lnTo>
                  <a:lnTo>
                    <a:pt x="0" y="63697"/>
                  </a:lnTo>
                  <a:close/>
                </a:path>
              </a:pathLst>
            </a:custGeom>
            <a:solidFill>
              <a:schemeClr val="bg2">
                <a:lumMod val="75000"/>
              </a:schemeClr>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25" name="Freeform: Shape 124">
              <a:extLst>
                <a:ext uri="{FF2B5EF4-FFF2-40B4-BE49-F238E27FC236}">
                  <a16:creationId xmlns:a16="http://schemas.microsoft.com/office/drawing/2014/main" id="{5895FE79-B04D-4488-AF83-0DA9D9E68982}"/>
                </a:ext>
              </a:extLst>
            </p:cNvPr>
            <p:cNvSpPr/>
            <p:nvPr/>
          </p:nvSpPr>
          <p:spPr>
            <a:xfrm>
              <a:off x="8781237" y="5260852"/>
              <a:ext cx="286637" cy="230902"/>
            </a:xfrm>
            <a:custGeom>
              <a:avLst/>
              <a:gdLst>
                <a:gd name="connsiteX0" fmla="*/ 286638 w 286637"/>
                <a:gd name="connsiteY0" fmla="*/ 0 h 230902"/>
                <a:gd name="connsiteX1" fmla="*/ 286638 w 286637"/>
                <a:gd name="connsiteY1" fmla="*/ 230902 h 230902"/>
                <a:gd name="connsiteX2" fmla="*/ 45783 w 286637"/>
                <a:gd name="connsiteY2" fmla="*/ 230902 h 230902"/>
                <a:gd name="connsiteX3" fmla="*/ 0 w 286637"/>
                <a:gd name="connsiteY3" fmla="*/ 185120 h 230902"/>
                <a:gd name="connsiteX4" fmla="*/ 0 w 286637"/>
                <a:gd name="connsiteY4" fmla="*/ 1990 h 230902"/>
                <a:gd name="connsiteX5" fmla="*/ 286638 w 286637"/>
                <a:gd name="connsiteY5" fmla="*/ 1990 h 23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637" h="230902">
                  <a:moveTo>
                    <a:pt x="286638" y="0"/>
                  </a:moveTo>
                  <a:lnTo>
                    <a:pt x="286638" y="230902"/>
                  </a:lnTo>
                  <a:lnTo>
                    <a:pt x="45783" y="230902"/>
                  </a:lnTo>
                  <a:cubicBezTo>
                    <a:pt x="19905" y="230902"/>
                    <a:pt x="0" y="210997"/>
                    <a:pt x="0" y="185120"/>
                  </a:cubicBezTo>
                  <a:lnTo>
                    <a:pt x="0" y="1990"/>
                  </a:lnTo>
                  <a:lnTo>
                    <a:pt x="286638" y="1990"/>
                  </a:lnTo>
                  <a:close/>
                </a:path>
              </a:pathLst>
            </a:custGeom>
            <a:solidFill>
              <a:srgbClr val="FFFFFF"/>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26" name="Freeform: Shape 125">
              <a:extLst>
                <a:ext uri="{FF2B5EF4-FFF2-40B4-BE49-F238E27FC236}">
                  <a16:creationId xmlns:a16="http://schemas.microsoft.com/office/drawing/2014/main" id="{1F32677B-2387-47CA-8577-AD4C52CED9B8}"/>
                </a:ext>
              </a:extLst>
            </p:cNvPr>
            <p:cNvSpPr/>
            <p:nvPr/>
          </p:nvSpPr>
          <p:spPr>
            <a:xfrm>
              <a:off x="8829010" y="5445972"/>
              <a:ext cx="286638" cy="45782"/>
            </a:xfrm>
            <a:custGeom>
              <a:avLst/>
              <a:gdLst>
                <a:gd name="connsiteX0" fmla="*/ 45783 w 286638"/>
                <a:gd name="connsiteY0" fmla="*/ 0 h 45782"/>
                <a:gd name="connsiteX1" fmla="*/ 0 w 286638"/>
                <a:gd name="connsiteY1" fmla="*/ 45782 h 45782"/>
                <a:gd name="connsiteX2" fmla="*/ 240855 w 286638"/>
                <a:gd name="connsiteY2" fmla="*/ 45782 h 45782"/>
                <a:gd name="connsiteX3" fmla="*/ 286638 w 286638"/>
                <a:gd name="connsiteY3" fmla="*/ 0 h 45782"/>
                <a:gd name="connsiteX4" fmla="*/ 45783 w 286638"/>
                <a:gd name="connsiteY4" fmla="*/ 0 h 4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38" h="45782">
                  <a:moveTo>
                    <a:pt x="45783" y="0"/>
                  </a:moveTo>
                  <a:cubicBezTo>
                    <a:pt x="45783" y="25877"/>
                    <a:pt x="25877" y="45782"/>
                    <a:pt x="0" y="45782"/>
                  </a:cubicBezTo>
                  <a:lnTo>
                    <a:pt x="240855" y="45782"/>
                  </a:lnTo>
                  <a:cubicBezTo>
                    <a:pt x="266733" y="45782"/>
                    <a:pt x="286638" y="25877"/>
                    <a:pt x="286638" y="0"/>
                  </a:cubicBezTo>
                  <a:lnTo>
                    <a:pt x="45783" y="0"/>
                  </a:lnTo>
                  <a:close/>
                </a:path>
              </a:pathLst>
            </a:custGeom>
            <a:solidFill>
              <a:schemeClr val="accent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nvGrpSpPr>
            <p:cNvPr id="127" name="Graphic 7">
              <a:extLst>
                <a:ext uri="{FF2B5EF4-FFF2-40B4-BE49-F238E27FC236}">
                  <a16:creationId xmlns:a16="http://schemas.microsoft.com/office/drawing/2014/main" id="{FC05865D-C785-4FF5-AE48-459F4E18355F}"/>
                </a:ext>
              </a:extLst>
            </p:cNvPr>
            <p:cNvGrpSpPr/>
            <p:nvPr/>
          </p:nvGrpSpPr>
          <p:grpSpPr>
            <a:xfrm>
              <a:off x="8797162" y="5179239"/>
              <a:ext cx="254788" cy="35829"/>
              <a:chOff x="8797162" y="5179239"/>
              <a:chExt cx="254788" cy="35829"/>
            </a:xfrm>
            <a:solidFill>
              <a:srgbClr val="1D1D1B"/>
            </a:solidFill>
          </p:grpSpPr>
          <p:sp>
            <p:nvSpPr>
              <p:cNvPr id="128" name="Freeform: Shape 127">
                <a:extLst>
                  <a:ext uri="{FF2B5EF4-FFF2-40B4-BE49-F238E27FC236}">
                    <a16:creationId xmlns:a16="http://schemas.microsoft.com/office/drawing/2014/main" id="{E80683BE-7CEF-4077-BC1D-7B81F3E34B84}"/>
                  </a:ext>
                </a:extLst>
              </p:cNvPr>
              <p:cNvSpPr/>
              <p:nvPr/>
            </p:nvSpPr>
            <p:spPr>
              <a:xfrm>
                <a:off x="9016121" y="5179239"/>
                <a:ext cx="35829" cy="35829"/>
              </a:xfrm>
              <a:custGeom>
                <a:avLst/>
                <a:gdLst>
                  <a:gd name="connsiteX0" fmla="*/ 17915 w 35829"/>
                  <a:gd name="connsiteY0" fmla="*/ 35830 h 35829"/>
                  <a:gd name="connsiteX1" fmla="*/ 17915 w 35829"/>
                  <a:gd name="connsiteY1" fmla="*/ 27867 h 35829"/>
                  <a:gd name="connsiteX2" fmla="*/ 27867 w 35829"/>
                  <a:gd name="connsiteY2" fmla="*/ 17915 h 35829"/>
                  <a:gd name="connsiteX3" fmla="*/ 17915 w 35829"/>
                  <a:gd name="connsiteY3" fmla="*/ 7962 h 35829"/>
                  <a:gd name="connsiteX4" fmla="*/ 7962 w 35829"/>
                  <a:gd name="connsiteY4" fmla="*/ 17915 h 35829"/>
                  <a:gd name="connsiteX5" fmla="*/ 0 w 35829"/>
                  <a:gd name="connsiteY5" fmla="*/ 17915 h 35829"/>
                  <a:gd name="connsiteX6" fmla="*/ 17915 w 35829"/>
                  <a:gd name="connsiteY6" fmla="*/ 0 h 35829"/>
                  <a:gd name="connsiteX7" fmla="*/ 35829 w 35829"/>
                  <a:gd name="connsiteY7" fmla="*/ 17915 h 35829"/>
                  <a:gd name="connsiteX8" fmla="*/ 17915 w 35829"/>
                  <a:gd name="connsiteY8" fmla="*/ 35830 h 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29" h="35829">
                    <a:moveTo>
                      <a:pt x="17915" y="35830"/>
                    </a:moveTo>
                    <a:lnTo>
                      <a:pt x="17915" y="27867"/>
                    </a:lnTo>
                    <a:cubicBezTo>
                      <a:pt x="23886" y="27867"/>
                      <a:pt x="27867" y="23886"/>
                      <a:pt x="27867" y="17915"/>
                    </a:cubicBezTo>
                    <a:cubicBezTo>
                      <a:pt x="27867" y="11943"/>
                      <a:pt x="23886" y="7962"/>
                      <a:pt x="17915" y="7962"/>
                    </a:cubicBezTo>
                    <a:cubicBezTo>
                      <a:pt x="11943" y="7962"/>
                      <a:pt x="7962" y="11943"/>
                      <a:pt x="7962" y="17915"/>
                    </a:cubicBezTo>
                    <a:lnTo>
                      <a:pt x="0" y="17915"/>
                    </a:lnTo>
                    <a:cubicBezTo>
                      <a:pt x="0" y="7962"/>
                      <a:pt x="7962" y="0"/>
                      <a:pt x="17915" y="0"/>
                    </a:cubicBezTo>
                    <a:cubicBezTo>
                      <a:pt x="27867" y="0"/>
                      <a:pt x="35829" y="7962"/>
                      <a:pt x="35829" y="17915"/>
                    </a:cubicBezTo>
                    <a:cubicBezTo>
                      <a:pt x="35829" y="27867"/>
                      <a:pt x="27867" y="35830"/>
                      <a:pt x="17915" y="35830"/>
                    </a:cubicBezTo>
                    <a:close/>
                  </a:path>
                </a:pathLst>
              </a:custGeom>
              <a:solidFill>
                <a:srgbClr val="1D1D1B"/>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29" name="Freeform: Shape 128">
                <a:extLst>
                  <a:ext uri="{FF2B5EF4-FFF2-40B4-BE49-F238E27FC236}">
                    <a16:creationId xmlns:a16="http://schemas.microsoft.com/office/drawing/2014/main" id="{02B88D4A-BC29-41CB-AB1A-DF95FA4E1287}"/>
                  </a:ext>
                </a:extLst>
              </p:cNvPr>
              <p:cNvSpPr/>
              <p:nvPr/>
            </p:nvSpPr>
            <p:spPr>
              <a:xfrm>
                <a:off x="8972329" y="5179239"/>
                <a:ext cx="35829" cy="35829"/>
              </a:xfrm>
              <a:custGeom>
                <a:avLst/>
                <a:gdLst>
                  <a:gd name="connsiteX0" fmla="*/ 17915 w 35829"/>
                  <a:gd name="connsiteY0" fmla="*/ 35830 h 35829"/>
                  <a:gd name="connsiteX1" fmla="*/ 17915 w 35829"/>
                  <a:gd name="connsiteY1" fmla="*/ 27867 h 35829"/>
                  <a:gd name="connsiteX2" fmla="*/ 27867 w 35829"/>
                  <a:gd name="connsiteY2" fmla="*/ 17915 h 35829"/>
                  <a:gd name="connsiteX3" fmla="*/ 17915 w 35829"/>
                  <a:gd name="connsiteY3" fmla="*/ 7962 h 35829"/>
                  <a:gd name="connsiteX4" fmla="*/ 7962 w 35829"/>
                  <a:gd name="connsiteY4" fmla="*/ 17915 h 35829"/>
                  <a:gd name="connsiteX5" fmla="*/ 0 w 35829"/>
                  <a:gd name="connsiteY5" fmla="*/ 17915 h 35829"/>
                  <a:gd name="connsiteX6" fmla="*/ 17915 w 35829"/>
                  <a:gd name="connsiteY6" fmla="*/ 0 h 35829"/>
                  <a:gd name="connsiteX7" fmla="*/ 35829 w 35829"/>
                  <a:gd name="connsiteY7" fmla="*/ 17915 h 35829"/>
                  <a:gd name="connsiteX8" fmla="*/ 17915 w 35829"/>
                  <a:gd name="connsiteY8" fmla="*/ 35830 h 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29" h="35829">
                    <a:moveTo>
                      <a:pt x="17915" y="35830"/>
                    </a:moveTo>
                    <a:lnTo>
                      <a:pt x="17915" y="27867"/>
                    </a:lnTo>
                    <a:cubicBezTo>
                      <a:pt x="23887" y="27867"/>
                      <a:pt x="27867" y="23886"/>
                      <a:pt x="27867" y="17915"/>
                    </a:cubicBezTo>
                    <a:cubicBezTo>
                      <a:pt x="27867" y="11943"/>
                      <a:pt x="23887" y="7962"/>
                      <a:pt x="17915" y="7962"/>
                    </a:cubicBezTo>
                    <a:cubicBezTo>
                      <a:pt x="11943" y="7962"/>
                      <a:pt x="7962" y="11943"/>
                      <a:pt x="7962" y="17915"/>
                    </a:cubicBezTo>
                    <a:lnTo>
                      <a:pt x="0" y="17915"/>
                    </a:lnTo>
                    <a:cubicBezTo>
                      <a:pt x="0" y="7962"/>
                      <a:pt x="7962" y="0"/>
                      <a:pt x="17915" y="0"/>
                    </a:cubicBezTo>
                    <a:cubicBezTo>
                      <a:pt x="27867" y="0"/>
                      <a:pt x="35829" y="7962"/>
                      <a:pt x="35829" y="17915"/>
                    </a:cubicBezTo>
                    <a:cubicBezTo>
                      <a:pt x="35829" y="27867"/>
                      <a:pt x="27867" y="35830"/>
                      <a:pt x="17915" y="35830"/>
                    </a:cubicBezTo>
                    <a:close/>
                  </a:path>
                </a:pathLst>
              </a:custGeom>
              <a:solidFill>
                <a:srgbClr val="1D1D1B"/>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30" name="Freeform: Shape 129">
                <a:extLst>
                  <a:ext uri="{FF2B5EF4-FFF2-40B4-BE49-F238E27FC236}">
                    <a16:creationId xmlns:a16="http://schemas.microsoft.com/office/drawing/2014/main" id="{F7BFB425-9D5A-44AF-80E9-BB5681BE1D93}"/>
                  </a:ext>
                </a:extLst>
              </p:cNvPr>
              <p:cNvSpPr/>
              <p:nvPr/>
            </p:nvSpPr>
            <p:spPr>
              <a:xfrm>
                <a:off x="8928537" y="5179239"/>
                <a:ext cx="35830" cy="35829"/>
              </a:xfrm>
              <a:custGeom>
                <a:avLst/>
                <a:gdLst>
                  <a:gd name="connsiteX0" fmla="*/ 17915 w 35830"/>
                  <a:gd name="connsiteY0" fmla="*/ 35830 h 35829"/>
                  <a:gd name="connsiteX1" fmla="*/ 17915 w 35830"/>
                  <a:gd name="connsiteY1" fmla="*/ 27867 h 35829"/>
                  <a:gd name="connsiteX2" fmla="*/ 27868 w 35830"/>
                  <a:gd name="connsiteY2" fmla="*/ 17915 h 35829"/>
                  <a:gd name="connsiteX3" fmla="*/ 17915 w 35830"/>
                  <a:gd name="connsiteY3" fmla="*/ 7962 h 35829"/>
                  <a:gd name="connsiteX4" fmla="*/ 7963 w 35830"/>
                  <a:gd name="connsiteY4" fmla="*/ 17915 h 35829"/>
                  <a:gd name="connsiteX5" fmla="*/ 0 w 35830"/>
                  <a:gd name="connsiteY5" fmla="*/ 17915 h 35829"/>
                  <a:gd name="connsiteX6" fmla="*/ 17915 w 35830"/>
                  <a:gd name="connsiteY6" fmla="*/ 0 h 35829"/>
                  <a:gd name="connsiteX7" fmla="*/ 35830 w 35830"/>
                  <a:gd name="connsiteY7" fmla="*/ 17915 h 35829"/>
                  <a:gd name="connsiteX8" fmla="*/ 17915 w 35830"/>
                  <a:gd name="connsiteY8" fmla="*/ 35830 h 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30" h="35829">
                    <a:moveTo>
                      <a:pt x="17915" y="35830"/>
                    </a:moveTo>
                    <a:lnTo>
                      <a:pt x="17915" y="27867"/>
                    </a:lnTo>
                    <a:cubicBezTo>
                      <a:pt x="23887" y="27867"/>
                      <a:pt x="27868" y="23886"/>
                      <a:pt x="27868" y="17915"/>
                    </a:cubicBezTo>
                    <a:cubicBezTo>
                      <a:pt x="27868" y="11943"/>
                      <a:pt x="23887" y="7962"/>
                      <a:pt x="17915" y="7962"/>
                    </a:cubicBezTo>
                    <a:cubicBezTo>
                      <a:pt x="11943" y="7962"/>
                      <a:pt x="7963" y="11943"/>
                      <a:pt x="7963" y="17915"/>
                    </a:cubicBezTo>
                    <a:lnTo>
                      <a:pt x="0" y="17915"/>
                    </a:lnTo>
                    <a:cubicBezTo>
                      <a:pt x="0" y="7962"/>
                      <a:pt x="7963" y="0"/>
                      <a:pt x="17915" y="0"/>
                    </a:cubicBezTo>
                    <a:cubicBezTo>
                      <a:pt x="27868" y="0"/>
                      <a:pt x="35830" y="7962"/>
                      <a:pt x="35830" y="17915"/>
                    </a:cubicBezTo>
                    <a:cubicBezTo>
                      <a:pt x="35830" y="27867"/>
                      <a:pt x="27868" y="35830"/>
                      <a:pt x="17915" y="35830"/>
                    </a:cubicBezTo>
                    <a:close/>
                  </a:path>
                </a:pathLst>
              </a:custGeom>
              <a:solidFill>
                <a:srgbClr val="1D1D1B"/>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31" name="Freeform: Shape 130">
                <a:extLst>
                  <a:ext uri="{FF2B5EF4-FFF2-40B4-BE49-F238E27FC236}">
                    <a16:creationId xmlns:a16="http://schemas.microsoft.com/office/drawing/2014/main" id="{EF5B62D8-B14D-498E-93C3-2AD3C15198FC}"/>
                  </a:ext>
                </a:extLst>
              </p:cNvPr>
              <p:cNvSpPr/>
              <p:nvPr/>
            </p:nvSpPr>
            <p:spPr>
              <a:xfrm>
                <a:off x="8884745" y="5179239"/>
                <a:ext cx="35829" cy="35829"/>
              </a:xfrm>
              <a:custGeom>
                <a:avLst/>
                <a:gdLst>
                  <a:gd name="connsiteX0" fmla="*/ 17915 w 35829"/>
                  <a:gd name="connsiteY0" fmla="*/ 35830 h 35829"/>
                  <a:gd name="connsiteX1" fmla="*/ 17915 w 35829"/>
                  <a:gd name="connsiteY1" fmla="*/ 27867 h 35829"/>
                  <a:gd name="connsiteX2" fmla="*/ 27867 w 35829"/>
                  <a:gd name="connsiteY2" fmla="*/ 17915 h 35829"/>
                  <a:gd name="connsiteX3" fmla="*/ 17915 w 35829"/>
                  <a:gd name="connsiteY3" fmla="*/ 7962 h 35829"/>
                  <a:gd name="connsiteX4" fmla="*/ 7962 w 35829"/>
                  <a:gd name="connsiteY4" fmla="*/ 17915 h 35829"/>
                  <a:gd name="connsiteX5" fmla="*/ 0 w 35829"/>
                  <a:gd name="connsiteY5" fmla="*/ 17915 h 35829"/>
                  <a:gd name="connsiteX6" fmla="*/ 17915 w 35829"/>
                  <a:gd name="connsiteY6" fmla="*/ 0 h 35829"/>
                  <a:gd name="connsiteX7" fmla="*/ 35829 w 35829"/>
                  <a:gd name="connsiteY7" fmla="*/ 17915 h 35829"/>
                  <a:gd name="connsiteX8" fmla="*/ 17915 w 35829"/>
                  <a:gd name="connsiteY8" fmla="*/ 35830 h 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29" h="35829">
                    <a:moveTo>
                      <a:pt x="17915" y="35830"/>
                    </a:moveTo>
                    <a:lnTo>
                      <a:pt x="17915" y="27867"/>
                    </a:lnTo>
                    <a:cubicBezTo>
                      <a:pt x="23886" y="27867"/>
                      <a:pt x="27867" y="23886"/>
                      <a:pt x="27867" y="17915"/>
                    </a:cubicBezTo>
                    <a:cubicBezTo>
                      <a:pt x="27867" y="11943"/>
                      <a:pt x="23886" y="7962"/>
                      <a:pt x="17915" y="7962"/>
                    </a:cubicBezTo>
                    <a:cubicBezTo>
                      <a:pt x="11943" y="7962"/>
                      <a:pt x="7962" y="11943"/>
                      <a:pt x="7962" y="17915"/>
                    </a:cubicBezTo>
                    <a:lnTo>
                      <a:pt x="0" y="17915"/>
                    </a:lnTo>
                    <a:cubicBezTo>
                      <a:pt x="0" y="7962"/>
                      <a:pt x="7962" y="0"/>
                      <a:pt x="17915" y="0"/>
                    </a:cubicBezTo>
                    <a:cubicBezTo>
                      <a:pt x="27867" y="0"/>
                      <a:pt x="35829" y="7962"/>
                      <a:pt x="35829" y="17915"/>
                    </a:cubicBezTo>
                    <a:cubicBezTo>
                      <a:pt x="35829" y="27867"/>
                      <a:pt x="27867" y="35830"/>
                      <a:pt x="17915" y="35830"/>
                    </a:cubicBezTo>
                    <a:close/>
                  </a:path>
                </a:pathLst>
              </a:custGeom>
              <a:solidFill>
                <a:srgbClr val="1D1D1B"/>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32" name="Freeform: Shape 131">
                <a:extLst>
                  <a:ext uri="{FF2B5EF4-FFF2-40B4-BE49-F238E27FC236}">
                    <a16:creationId xmlns:a16="http://schemas.microsoft.com/office/drawing/2014/main" id="{A2297CA6-F226-484E-9D4F-C230FF55A052}"/>
                  </a:ext>
                </a:extLst>
              </p:cNvPr>
              <p:cNvSpPr/>
              <p:nvPr/>
            </p:nvSpPr>
            <p:spPr>
              <a:xfrm>
                <a:off x="8840953" y="5179239"/>
                <a:ext cx="35830" cy="35829"/>
              </a:xfrm>
              <a:custGeom>
                <a:avLst/>
                <a:gdLst>
                  <a:gd name="connsiteX0" fmla="*/ 17915 w 35830"/>
                  <a:gd name="connsiteY0" fmla="*/ 35830 h 35829"/>
                  <a:gd name="connsiteX1" fmla="*/ 17915 w 35830"/>
                  <a:gd name="connsiteY1" fmla="*/ 27867 h 35829"/>
                  <a:gd name="connsiteX2" fmla="*/ 27867 w 35830"/>
                  <a:gd name="connsiteY2" fmla="*/ 17915 h 35829"/>
                  <a:gd name="connsiteX3" fmla="*/ 17915 w 35830"/>
                  <a:gd name="connsiteY3" fmla="*/ 7962 h 35829"/>
                  <a:gd name="connsiteX4" fmla="*/ 7962 w 35830"/>
                  <a:gd name="connsiteY4" fmla="*/ 17915 h 35829"/>
                  <a:gd name="connsiteX5" fmla="*/ 0 w 35830"/>
                  <a:gd name="connsiteY5" fmla="*/ 17915 h 35829"/>
                  <a:gd name="connsiteX6" fmla="*/ 17915 w 35830"/>
                  <a:gd name="connsiteY6" fmla="*/ 0 h 35829"/>
                  <a:gd name="connsiteX7" fmla="*/ 35830 w 35830"/>
                  <a:gd name="connsiteY7" fmla="*/ 17915 h 35829"/>
                  <a:gd name="connsiteX8" fmla="*/ 17915 w 35830"/>
                  <a:gd name="connsiteY8" fmla="*/ 35830 h 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30" h="35829">
                    <a:moveTo>
                      <a:pt x="17915" y="35830"/>
                    </a:moveTo>
                    <a:lnTo>
                      <a:pt x="17915" y="27867"/>
                    </a:lnTo>
                    <a:cubicBezTo>
                      <a:pt x="23887" y="27867"/>
                      <a:pt x="27867" y="23886"/>
                      <a:pt x="27867" y="17915"/>
                    </a:cubicBezTo>
                    <a:cubicBezTo>
                      <a:pt x="27867" y="11943"/>
                      <a:pt x="23887" y="7962"/>
                      <a:pt x="17915" y="7962"/>
                    </a:cubicBezTo>
                    <a:cubicBezTo>
                      <a:pt x="11943" y="7962"/>
                      <a:pt x="7962" y="11943"/>
                      <a:pt x="7962" y="17915"/>
                    </a:cubicBezTo>
                    <a:lnTo>
                      <a:pt x="0" y="17915"/>
                    </a:lnTo>
                    <a:cubicBezTo>
                      <a:pt x="0" y="7962"/>
                      <a:pt x="7962" y="0"/>
                      <a:pt x="17915" y="0"/>
                    </a:cubicBezTo>
                    <a:cubicBezTo>
                      <a:pt x="27867" y="0"/>
                      <a:pt x="35830" y="7962"/>
                      <a:pt x="35830" y="17915"/>
                    </a:cubicBezTo>
                    <a:cubicBezTo>
                      <a:pt x="35830" y="27867"/>
                      <a:pt x="27867" y="35830"/>
                      <a:pt x="17915" y="35830"/>
                    </a:cubicBezTo>
                    <a:close/>
                  </a:path>
                </a:pathLst>
              </a:custGeom>
              <a:solidFill>
                <a:srgbClr val="1D1D1B"/>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33" name="Freeform: Shape 132">
                <a:extLst>
                  <a:ext uri="{FF2B5EF4-FFF2-40B4-BE49-F238E27FC236}">
                    <a16:creationId xmlns:a16="http://schemas.microsoft.com/office/drawing/2014/main" id="{BF47B8D3-DD43-4CFF-8999-EE565C1167DE}"/>
                  </a:ext>
                </a:extLst>
              </p:cNvPr>
              <p:cNvSpPr/>
              <p:nvPr/>
            </p:nvSpPr>
            <p:spPr>
              <a:xfrm>
                <a:off x="8797162" y="5179239"/>
                <a:ext cx="35829" cy="35829"/>
              </a:xfrm>
              <a:custGeom>
                <a:avLst/>
                <a:gdLst>
                  <a:gd name="connsiteX0" fmla="*/ 17915 w 35829"/>
                  <a:gd name="connsiteY0" fmla="*/ 35830 h 35829"/>
                  <a:gd name="connsiteX1" fmla="*/ 17915 w 35829"/>
                  <a:gd name="connsiteY1" fmla="*/ 27867 h 35829"/>
                  <a:gd name="connsiteX2" fmla="*/ 27867 w 35829"/>
                  <a:gd name="connsiteY2" fmla="*/ 17915 h 35829"/>
                  <a:gd name="connsiteX3" fmla="*/ 17915 w 35829"/>
                  <a:gd name="connsiteY3" fmla="*/ 7962 h 35829"/>
                  <a:gd name="connsiteX4" fmla="*/ 7962 w 35829"/>
                  <a:gd name="connsiteY4" fmla="*/ 17915 h 35829"/>
                  <a:gd name="connsiteX5" fmla="*/ 0 w 35829"/>
                  <a:gd name="connsiteY5" fmla="*/ 17915 h 35829"/>
                  <a:gd name="connsiteX6" fmla="*/ 17915 w 35829"/>
                  <a:gd name="connsiteY6" fmla="*/ 0 h 35829"/>
                  <a:gd name="connsiteX7" fmla="*/ 35829 w 35829"/>
                  <a:gd name="connsiteY7" fmla="*/ 17915 h 35829"/>
                  <a:gd name="connsiteX8" fmla="*/ 17915 w 35829"/>
                  <a:gd name="connsiteY8" fmla="*/ 35830 h 35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829" h="35829">
                    <a:moveTo>
                      <a:pt x="17915" y="35830"/>
                    </a:moveTo>
                    <a:lnTo>
                      <a:pt x="17915" y="27867"/>
                    </a:lnTo>
                    <a:cubicBezTo>
                      <a:pt x="23886" y="27867"/>
                      <a:pt x="27867" y="23886"/>
                      <a:pt x="27867" y="17915"/>
                    </a:cubicBezTo>
                    <a:cubicBezTo>
                      <a:pt x="27867" y="11943"/>
                      <a:pt x="23886" y="7962"/>
                      <a:pt x="17915" y="7962"/>
                    </a:cubicBezTo>
                    <a:cubicBezTo>
                      <a:pt x="11943" y="7962"/>
                      <a:pt x="7962" y="11943"/>
                      <a:pt x="7962" y="17915"/>
                    </a:cubicBezTo>
                    <a:lnTo>
                      <a:pt x="0" y="17915"/>
                    </a:lnTo>
                    <a:cubicBezTo>
                      <a:pt x="0" y="7962"/>
                      <a:pt x="7962" y="0"/>
                      <a:pt x="17915" y="0"/>
                    </a:cubicBezTo>
                    <a:cubicBezTo>
                      <a:pt x="27867" y="0"/>
                      <a:pt x="35829" y="7962"/>
                      <a:pt x="35829" y="17915"/>
                    </a:cubicBezTo>
                    <a:cubicBezTo>
                      <a:pt x="35829" y="27867"/>
                      <a:pt x="27867" y="35830"/>
                      <a:pt x="17915" y="35830"/>
                    </a:cubicBezTo>
                    <a:close/>
                  </a:path>
                </a:pathLst>
              </a:custGeom>
              <a:solidFill>
                <a:srgbClr val="1D1D1B"/>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grpSp>
          <p:nvGrpSpPr>
            <p:cNvPr id="134" name="Graphic 7">
              <a:extLst>
                <a:ext uri="{FF2B5EF4-FFF2-40B4-BE49-F238E27FC236}">
                  <a16:creationId xmlns:a16="http://schemas.microsoft.com/office/drawing/2014/main" id="{C419227C-6F8F-4155-951D-83CC9041E0D5}"/>
                </a:ext>
              </a:extLst>
            </p:cNvPr>
            <p:cNvGrpSpPr/>
            <p:nvPr/>
          </p:nvGrpSpPr>
          <p:grpSpPr>
            <a:xfrm>
              <a:off x="8815076" y="5306634"/>
              <a:ext cx="218959" cy="93555"/>
              <a:chOff x="8815076" y="5306634"/>
              <a:chExt cx="218959" cy="93555"/>
            </a:xfrm>
            <a:solidFill>
              <a:srgbClr val="00A591"/>
            </a:solidFill>
          </p:grpSpPr>
          <p:sp>
            <p:nvSpPr>
              <p:cNvPr id="135" name="Freeform: Shape 134">
                <a:extLst>
                  <a:ext uri="{FF2B5EF4-FFF2-40B4-BE49-F238E27FC236}">
                    <a16:creationId xmlns:a16="http://schemas.microsoft.com/office/drawing/2014/main" id="{55E67E28-2F1C-4B25-ACF9-702CDA664357}"/>
                  </a:ext>
                </a:extLst>
              </p:cNvPr>
              <p:cNvSpPr/>
              <p:nvPr/>
            </p:nvSpPr>
            <p:spPr>
              <a:xfrm>
                <a:off x="8815076" y="5306634"/>
                <a:ext cx="93555" cy="93555"/>
              </a:xfrm>
              <a:custGeom>
                <a:avLst/>
                <a:gdLst>
                  <a:gd name="connsiteX0" fmla="*/ 0 w 93555"/>
                  <a:gd name="connsiteY0" fmla="*/ 0 h 93555"/>
                  <a:gd name="connsiteX1" fmla="*/ 93556 w 93555"/>
                  <a:gd name="connsiteY1" fmla="*/ 0 h 93555"/>
                  <a:gd name="connsiteX2" fmla="*/ 93556 w 93555"/>
                  <a:gd name="connsiteY2" fmla="*/ 93555 h 93555"/>
                  <a:gd name="connsiteX3" fmla="*/ 0 w 93555"/>
                  <a:gd name="connsiteY3" fmla="*/ 93555 h 93555"/>
                </a:gdLst>
                <a:ahLst/>
                <a:cxnLst>
                  <a:cxn ang="0">
                    <a:pos x="connsiteX0" y="connsiteY0"/>
                  </a:cxn>
                  <a:cxn ang="0">
                    <a:pos x="connsiteX1" y="connsiteY1"/>
                  </a:cxn>
                  <a:cxn ang="0">
                    <a:pos x="connsiteX2" y="connsiteY2"/>
                  </a:cxn>
                  <a:cxn ang="0">
                    <a:pos x="connsiteX3" y="connsiteY3"/>
                  </a:cxn>
                </a:cxnLst>
                <a:rect l="l" t="t" r="r" b="b"/>
                <a:pathLst>
                  <a:path w="93555" h="93555">
                    <a:moveTo>
                      <a:pt x="0" y="0"/>
                    </a:moveTo>
                    <a:lnTo>
                      <a:pt x="93556" y="0"/>
                    </a:lnTo>
                    <a:lnTo>
                      <a:pt x="93556" y="93555"/>
                    </a:lnTo>
                    <a:lnTo>
                      <a:pt x="0" y="93555"/>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nvGrpSpPr>
              <p:cNvPr id="136" name="Graphic 7">
                <a:extLst>
                  <a:ext uri="{FF2B5EF4-FFF2-40B4-BE49-F238E27FC236}">
                    <a16:creationId xmlns:a16="http://schemas.microsoft.com/office/drawing/2014/main" id="{8677E7EE-B54B-4530-98DA-6D5D8B197C3A}"/>
                  </a:ext>
                </a:extLst>
              </p:cNvPr>
              <p:cNvGrpSpPr/>
              <p:nvPr/>
            </p:nvGrpSpPr>
            <p:grpSpPr>
              <a:xfrm>
                <a:off x="8910622" y="5306634"/>
                <a:ext cx="123413" cy="93555"/>
                <a:chOff x="8910622" y="5306634"/>
                <a:chExt cx="123413" cy="93555"/>
              </a:xfrm>
              <a:solidFill>
                <a:srgbClr val="00A591"/>
              </a:solidFill>
            </p:grpSpPr>
            <p:sp>
              <p:nvSpPr>
                <p:cNvPr id="137" name="Freeform: Shape 136">
                  <a:extLst>
                    <a:ext uri="{FF2B5EF4-FFF2-40B4-BE49-F238E27FC236}">
                      <a16:creationId xmlns:a16="http://schemas.microsoft.com/office/drawing/2014/main" id="{E07EFEA8-2743-4386-8987-1EE9ABF599F6}"/>
                    </a:ext>
                  </a:extLst>
                </p:cNvPr>
                <p:cNvSpPr/>
                <p:nvPr/>
              </p:nvSpPr>
              <p:spPr>
                <a:xfrm>
                  <a:off x="8910622" y="5306634"/>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38" name="Freeform: Shape 137">
                  <a:extLst>
                    <a:ext uri="{FF2B5EF4-FFF2-40B4-BE49-F238E27FC236}">
                      <a16:creationId xmlns:a16="http://schemas.microsoft.com/office/drawing/2014/main" id="{C23136DE-1BF3-4871-83CA-087564E34A90}"/>
                    </a:ext>
                  </a:extLst>
                </p:cNvPr>
                <p:cNvSpPr/>
                <p:nvPr/>
              </p:nvSpPr>
              <p:spPr>
                <a:xfrm>
                  <a:off x="8940480" y="5306634"/>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39" name="Freeform: Shape 138">
                  <a:extLst>
                    <a:ext uri="{FF2B5EF4-FFF2-40B4-BE49-F238E27FC236}">
                      <a16:creationId xmlns:a16="http://schemas.microsoft.com/office/drawing/2014/main" id="{891207AF-21C8-491D-9DBC-A94D2B44983D}"/>
                    </a:ext>
                  </a:extLst>
                </p:cNvPr>
                <p:cNvSpPr/>
                <p:nvPr/>
              </p:nvSpPr>
              <p:spPr>
                <a:xfrm>
                  <a:off x="8970338" y="5306634"/>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40" name="Freeform: Shape 139">
                  <a:extLst>
                    <a:ext uri="{FF2B5EF4-FFF2-40B4-BE49-F238E27FC236}">
                      <a16:creationId xmlns:a16="http://schemas.microsoft.com/office/drawing/2014/main" id="{A9842DDB-2AD5-455E-8B7C-B32525C2FDF1}"/>
                    </a:ext>
                  </a:extLst>
                </p:cNvPr>
                <p:cNvSpPr/>
                <p:nvPr/>
              </p:nvSpPr>
              <p:spPr>
                <a:xfrm>
                  <a:off x="9000196" y="5306634"/>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41" name="Freeform: Shape 140">
                  <a:extLst>
                    <a:ext uri="{FF2B5EF4-FFF2-40B4-BE49-F238E27FC236}">
                      <a16:creationId xmlns:a16="http://schemas.microsoft.com/office/drawing/2014/main" id="{4CD6BAD2-8991-41BD-A777-6EBCD6F33A27}"/>
                    </a:ext>
                  </a:extLst>
                </p:cNvPr>
                <p:cNvSpPr/>
                <p:nvPr/>
              </p:nvSpPr>
              <p:spPr>
                <a:xfrm>
                  <a:off x="8910622" y="5336492"/>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42" name="Freeform: Shape 141">
                  <a:extLst>
                    <a:ext uri="{FF2B5EF4-FFF2-40B4-BE49-F238E27FC236}">
                      <a16:creationId xmlns:a16="http://schemas.microsoft.com/office/drawing/2014/main" id="{3791D7B5-F5CC-4E94-A90E-404B0BA0CA85}"/>
                    </a:ext>
                  </a:extLst>
                </p:cNvPr>
                <p:cNvSpPr/>
                <p:nvPr/>
              </p:nvSpPr>
              <p:spPr>
                <a:xfrm>
                  <a:off x="8940480" y="5336492"/>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43" name="Freeform: Shape 142">
                  <a:extLst>
                    <a:ext uri="{FF2B5EF4-FFF2-40B4-BE49-F238E27FC236}">
                      <a16:creationId xmlns:a16="http://schemas.microsoft.com/office/drawing/2014/main" id="{BBA2384E-5DB0-4638-A7BF-EB0EE019652D}"/>
                    </a:ext>
                  </a:extLst>
                </p:cNvPr>
                <p:cNvSpPr/>
                <p:nvPr/>
              </p:nvSpPr>
              <p:spPr>
                <a:xfrm>
                  <a:off x="8970338" y="5336492"/>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44" name="Freeform: Shape 143">
                  <a:extLst>
                    <a:ext uri="{FF2B5EF4-FFF2-40B4-BE49-F238E27FC236}">
                      <a16:creationId xmlns:a16="http://schemas.microsoft.com/office/drawing/2014/main" id="{CFD074DE-01AE-463A-9F9A-564FAF58192B}"/>
                    </a:ext>
                  </a:extLst>
                </p:cNvPr>
                <p:cNvSpPr/>
                <p:nvPr/>
              </p:nvSpPr>
              <p:spPr>
                <a:xfrm>
                  <a:off x="9000196" y="5336492"/>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45" name="Freeform: Shape 144">
                  <a:extLst>
                    <a:ext uri="{FF2B5EF4-FFF2-40B4-BE49-F238E27FC236}">
                      <a16:creationId xmlns:a16="http://schemas.microsoft.com/office/drawing/2014/main" id="{A636D909-7BBE-47F0-92F0-B25F94631ADB}"/>
                    </a:ext>
                  </a:extLst>
                </p:cNvPr>
                <p:cNvSpPr/>
                <p:nvPr/>
              </p:nvSpPr>
              <p:spPr>
                <a:xfrm>
                  <a:off x="8910622" y="5366350"/>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46" name="Freeform: Shape 145">
                  <a:extLst>
                    <a:ext uri="{FF2B5EF4-FFF2-40B4-BE49-F238E27FC236}">
                      <a16:creationId xmlns:a16="http://schemas.microsoft.com/office/drawing/2014/main" id="{914B08DD-010D-44DD-9FFF-BEDE016ABC97}"/>
                    </a:ext>
                  </a:extLst>
                </p:cNvPr>
                <p:cNvSpPr/>
                <p:nvPr/>
              </p:nvSpPr>
              <p:spPr>
                <a:xfrm>
                  <a:off x="8940480" y="5366350"/>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47" name="Freeform: Shape 146">
                  <a:extLst>
                    <a:ext uri="{FF2B5EF4-FFF2-40B4-BE49-F238E27FC236}">
                      <a16:creationId xmlns:a16="http://schemas.microsoft.com/office/drawing/2014/main" id="{DE321DC7-C330-4D73-9AF5-6625B76751B4}"/>
                    </a:ext>
                  </a:extLst>
                </p:cNvPr>
                <p:cNvSpPr/>
                <p:nvPr/>
              </p:nvSpPr>
              <p:spPr>
                <a:xfrm>
                  <a:off x="8970338" y="5366350"/>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48" name="Freeform: Shape 147">
                  <a:extLst>
                    <a:ext uri="{FF2B5EF4-FFF2-40B4-BE49-F238E27FC236}">
                      <a16:creationId xmlns:a16="http://schemas.microsoft.com/office/drawing/2014/main" id="{F64979C5-8EC3-4314-80D6-BFD048A68584}"/>
                    </a:ext>
                  </a:extLst>
                </p:cNvPr>
                <p:cNvSpPr/>
                <p:nvPr/>
              </p:nvSpPr>
              <p:spPr>
                <a:xfrm>
                  <a:off x="9000196" y="5366350"/>
                  <a:ext cx="33839" cy="33839"/>
                </a:xfrm>
                <a:custGeom>
                  <a:avLst/>
                  <a:gdLst>
                    <a:gd name="connsiteX0" fmla="*/ 33839 w 33839"/>
                    <a:gd name="connsiteY0" fmla="*/ 33839 h 33839"/>
                    <a:gd name="connsiteX1" fmla="*/ 0 w 33839"/>
                    <a:gd name="connsiteY1" fmla="*/ 33839 h 33839"/>
                    <a:gd name="connsiteX2" fmla="*/ 0 w 33839"/>
                    <a:gd name="connsiteY2" fmla="*/ 0 h 33839"/>
                    <a:gd name="connsiteX3" fmla="*/ 33839 w 33839"/>
                    <a:gd name="connsiteY3" fmla="*/ 0 h 33839"/>
                    <a:gd name="connsiteX4" fmla="*/ 33839 w 33839"/>
                    <a:gd name="connsiteY4" fmla="*/ 33839 h 33839"/>
                    <a:gd name="connsiteX5" fmla="*/ 3981 w 33839"/>
                    <a:gd name="connsiteY5" fmla="*/ 29858 h 33839"/>
                    <a:gd name="connsiteX6" fmla="*/ 29858 w 33839"/>
                    <a:gd name="connsiteY6" fmla="*/ 29858 h 33839"/>
                    <a:gd name="connsiteX7" fmla="*/ 29858 w 33839"/>
                    <a:gd name="connsiteY7" fmla="*/ 3981 h 33839"/>
                    <a:gd name="connsiteX8" fmla="*/ 3981 w 33839"/>
                    <a:gd name="connsiteY8" fmla="*/ 3981 h 33839"/>
                    <a:gd name="connsiteX9" fmla="*/ 3981 w 33839"/>
                    <a:gd name="connsiteY9" fmla="*/ 29858 h 3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39" h="33839">
                      <a:moveTo>
                        <a:pt x="33839" y="33839"/>
                      </a:moveTo>
                      <a:lnTo>
                        <a:pt x="0" y="33839"/>
                      </a:lnTo>
                      <a:lnTo>
                        <a:pt x="0" y="0"/>
                      </a:lnTo>
                      <a:lnTo>
                        <a:pt x="33839" y="0"/>
                      </a:lnTo>
                      <a:lnTo>
                        <a:pt x="33839" y="33839"/>
                      </a:lnTo>
                      <a:close/>
                      <a:moveTo>
                        <a:pt x="3981" y="29858"/>
                      </a:moveTo>
                      <a:lnTo>
                        <a:pt x="29858" y="29858"/>
                      </a:lnTo>
                      <a:lnTo>
                        <a:pt x="29858" y="3981"/>
                      </a:lnTo>
                      <a:lnTo>
                        <a:pt x="3981" y="3981"/>
                      </a:lnTo>
                      <a:lnTo>
                        <a:pt x="3981" y="29858"/>
                      </a:lnTo>
                      <a:close/>
                    </a:path>
                  </a:pathLst>
                </a:custGeom>
                <a:solidFill>
                  <a:srgbClr val="00A591"/>
                </a:solid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grpSp>
      </p:grpSp>
      <p:sp>
        <p:nvSpPr>
          <p:cNvPr id="149" name="Freeform: Shape 148">
            <a:extLst>
              <a:ext uri="{FF2B5EF4-FFF2-40B4-BE49-F238E27FC236}">
                <a16:creationId xmlns:a16="http://schemas.microsoft.com/office/drawing/2014/main" id="{69033015-0B31-4CAE-9ED0-76C7EF5B62CD}"/>
              </a:ext>
            </a:extLst>
          </p:cNvPr>
          <p:cNvSpPr/>
          <p:nvPr/>
        </p:nvSpPr>
        <p:spPr>
          <a:xfrm>
            <a:off x="1253272" y="1419644"/>
            <a:ext cx="719580" cy="719580"/>
          </a:xfrm>
          <a:custGeom>
            <a:avLst/>
            <a:gdLst>
              <a:gd name="connsiteX0" fmla="*/ 959440 w 959440"/>
              <a:gd name="connsiteY0" fmla="*/ 479720 h 959440"/>
              <a:gd name="connsiteX1" fmla="*/ 479720 w 959440"/>
              <a:gd name="connsiteY1" fmla="*/ 959440 h 959440"/>
              <a:gd name="connsiteX2" fmla="*/ 0 w 959440"/>
              <a:gd name="connsiteY2" fmla="*/ 479720 h 959440"/>
              <a:gd name="connsiteX3" fmla="*/ 479720 w 959440"/>
              <a:gd name="connsiteY3" fmla="*/ 0 h 959440"/>
              <a:gd name="connsiteX4" fmla="*/ 959440 w 959440"/>
              <a:gd name="connsiteY4" fmla="*/ 479720 h 959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440" h="959440">
                <a:moveTo>
                  <a:pt x="959440" y="479720"/>
                </a:moveTo>
                <a:cubicBezTo>
                  <a:pt x="959440" y="744662"/>
                  <a:pt x="744662" y="959440"/>
                  <a:pt x="479720" y="959440"/>
                </a:cubicBezTo>
                <a:cubicBezTo>
                  <a:pt x="214778" y="959440"/>
                  <a:pt x="0" y="744662"/>
                  <a:pt x="0" y="479720"/>
                </a:cubicBezTo>
                <a:cubicBezTo>
                  <a:pt x="0" y="214778"/>
                  <a:pt x="214778" y="0"/>
                  <a:pt x="479720" y="0"/>
                </a:cubicBezTo>
                <a:cubicBezTo>
                  <a:pt x="744662" y="0"/>
                  <a:pt x="959440" y="214778"/>
                  <a:pt x="959440" y="479720"/>
                </a:cubicBezTo>
                <a:close/>
              </a:path>
            </a:pathLst>
          </a:custGeom>
          <a:solidFill>
            <a:srgbClr val="FFFFFF"/>
          </a:solidFill>
          <a:ln w="19898" cap="flat">
            <a:noFill/>
            <a:prstDash val="solid"/>
            <a:miter/>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4472C4"/>
                </a:solidFill>
                <a:effectLst/>
                <a:uLnTx/>
                <a:uFillTx/>
                <a:latin typeface="Franklin Gothic Medium" panose="020B0603020102020204"/>
                <a:ea typeface="+mn-ea"/>
                <a:cs typeface="Arial"/>
                <a:sym typeface="Arial"/>
                <a:rtl val="0"/>
              </a:rPr>
              <a:t>14</a:t>
            </a:r>
          </a:p>
        </p:txBody>
      </p:sp>
      <p:sp>
        <p:nvSpPr>
          <p:cNvPr id="150" name="Freeform: Shape 149">
            <a:extLst>
              <a:ext uri="{FF2B5EF4-FFF2-40B4-BE49-F238E27FC236}">
                <a16:creationId xmlns:a16="http://schemas.microsoft.com/office/drawing/2014/main" id="{E0FDE379-156F-42EC-9537-45061463B5BE}"/>
              </a:ext>
            </a:extLst>
          </p:cNvPr>
          <p:cNvSpPr/>
          <p:nvPr/>
        </p:nvSpPr>
        <p:spPr>
          <a:xfrm>
            <a:off x="1259243" y="1431588"/>
            <a:ext cx="709130" cy="695693"/>
          </a:xfrm>
          <a:custGeom>
            <a:avLst/>
            <a:gdLst>
              <a:gd name="connsiteX0" fmla="*/ 0 w 945506"/>
              <a:gd name="connsiteY0" fmla="*/ 0 h 927591"/>
              <a:gd name="connsiteX1" fmla="*/ 945506 w 945506"/>
              <a:gd name="connsiteY1" fmla="*/ 0 h 927591"/>
              <a:gd name="connsiteX2" fmla="*/ 945506 w 945506"/>
              <a:gd name="connsiteY2" fmla="*/ 927592 h 927591"/>
              <a:gd name="connsiteX3" fmla="*/ 0 w 945506"/>
              <a:gd name="connsiteY3" fmla="*/ 927592 h 927591"/>
            </a:gdLst>
            <a:ahLst/>
            <a:cxnLst>
              <a:cxn ang="0">
                <a:pos x="connsiteX0" y="connsiteY0"/>
              </a:cxn>
              <a:cxn ang="0">
                <a:pos x="connsiteX1" y="connsiteY1"/>
              </a:cxn>
              <a:cxn ang="0">
                <a:pos x="connsiteX2" y="connsiteY2"/>
              </a:cxn>
              <a:cxn ang="0">
                <a:pos x="connsiteX3" y="connsiteY3"/>
              </a:cxn>
            </a:cxnLst>
            <a:rect l="l" t="t" r="r" b="b"/>
            <a:pathLst>
              <a:path w="945506" h="927591">
                <a:moveTo>
                  <a:pt x="0" y="0"/>
                </a:moveTo>
                <a:lnTo>
                  <a:pt x="945506" y="0"/>
                </a:lnTo>
                <a:lnTo>
                  <a:pt x="945506" y="927592"/>
                </a:lnTo>
                <a:lnTo>
                  <a:pt x="0" y="927592"/>
                </a:lnTo>
                <a:close/>
              </a:path>
            </a:pathLst>
          </a:custGeom>
          <a:no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52" name="Freeform: Shape 151">
            <a:extLst>
              <a:ext uri="{FF2B5EF4-FFF2-40B4-BE49-F238E27FC236}">
                <a16:creationId xmlns:a16="http://schemas.microsoft.com/office/drawing/2014/main" id="{3BF57818-0762-468C-80D3-EF8B9BC6A1C9}"/>
              </a:ext>
            </a:extLst>
          </p:cNvPr>
          <p:cNvSpPr/>
          <p:nvPr/>
        </p:nvSpPr>
        <p:spPr>
          <a:xfrm>
            <a:off x="3225399" y="1419644"/>
            <a:ext cx="719580" cy="719580"/>
          </a:xfrm>
          <a:custGeom>
            <a:avLst/>
            <a:gdLst>
              <a:gd name="connsiteX0" fmla="*/ 959440 w 959440"/>
              <a:gd name="connsiteY0" fmla="*/ 479720 h 959440"/>
              <a:gd name="connsiteX1" fmla="*/ 479720 w 959440"/>
              <a:gd name="connsiteY1" fmla="*/ 959440 h 959440"/>
              <a:gd name="connsiteX2" fmla="*/ 0 w 959440"/>
              <a:gd name="connsiteY2" fmla="*/ 479720 h 959440"/>
              <a:gd name="connsiteX3" fmla="*/ 479720 w 959440"/>
              <a:gd name="connsiteY3" fmla="*/ 0 h 959440"/>
              <a:gd name="connsiteX4" fmla="*/ 959440 w 959440"/>
              <a:gd name="connsiteY4" fmla="*/ 479720 h 959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440" h="959440">
                <a:moveTo>
                  <a:pt x="959440" y="479720"/>
                </a:moveTo>
                <a:cubicBezTo>
                  <a:pt x="959440" y="744662"/>
                  <a:pt x="744662" y="959440"/>
                  <a:pt x="479720" y="959440"/>
                </a:cubicBezTo>
                <a:cubicBezTo>
                  <a:pt x="214778" y="959440"/>
                  <a:pt x="0" y="744662"/>
                  <a:pt x="0" y="479720"/>
                </a:cubicBezTo>
                <a:cubicBezTo>
                  <a:pt x="0" y="214778"/>
                  <a:pt x="214778" y="0"/>
                  <a:pt x="479720" y="0"/>
                </a:cubicBezTo>
                <a:cubicBezTo>
                  <a:pt x="744662" y="0"/>
                  <a:pt x="959440" y="214778"/>
                  <a:pt x="959440" y="479720"/>
                </a:cubicBezTo>
                <a:close/>
              </a:path>
            </a:pathLst>
          </a:custGeom>
          <a:solidFill>
            <a:srgbClr val="FFFFFF"/>
          </a:solidFill>
          <a:ln w="19898" cap="flat">
            <a:noFill/>
            <a:prstDash val="solid"/>
            <a:miter/>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4472C4"/>
                </a:solidFill>
                <a:effectLst/>
                <a:uLnTx/>
                <a:uFillTx/>
                <a:latin typeface="Franklin Gothic Medium" panose="020B0603020102020204"/>
                <a:ea typeface="+mn-ea"/>
                <a:cs typeface="Arial"/>
                <a:sym typeface="Arial"/>
                <a:rtl val="0"/>
              </a:rPr>
              <a:t>2</a:t>
            </a:r>
            <a:endParaRPr kumimoji="0" lang="en-GB" sz="2400" b="1" i="0" u="none" strike="noStrike" kern="1200" cap="none" spc="0" normalizeH="0" baseline="0" noProof="0" dirty="0">
              <a:ln>
                <a:noFill/>
              </a:ln>
              <a:solidFill>
                <a:srgbClr val="4472C4"/>
              </a:solidFill>
              <a:effectLst/>
              <a:uLnTx/>
              <a:uFillTx/>
              <a:latin typeface="Franklin Gothic Medium" panose="020B0603020102020204"/>
              <a:ea typeface="+mn-ea"/>
              <a:cs typeface="Arial"/>
              <a:sym typeface="Arial"/>
              <a:rtl val="0"/>
            </a:endParaRPr>
          </a:p>
        </p:txBody>
      </p:sp>
      <p:sp>
        <p:nvSpPr>
          <p:cNvPr id="153" name="Freeform: Shape 152">
            <a:extLst>
              <a:ext uri="{FF2B5EF4-FFF2-40B4-BE49-F238E27FC236}">
                <a16:creationId xmlns:a16="http://schemas.microsoft.com/office/drawing/2014/main" id="{A55A2403-FAFD-4282-BDAA-B8D40F9A1E49}"/>
              </a:ext>
            </a:extLst>
          </p:cNvPr>
          <p:cNvSpPr/>
          <p:nvPr/>
        </p:nvSpPr>
        <p:spPr>
          <a:xfrm>
            <a:off x="3229878" y="1431588"/>
            <a:ext cx="709130" cy="695693"/>
          </a:xfrm>
          <a:custGeom>
            <a:avLst/>
            <a:gdLst>
              <a:gd name="connsiteX0" fmla="*/ 0 w 945506"/>
              <a:gd name="connsiteY0" fmla="*/ 0 h 927591"/>
              <a:gd name="connsiteX1" fmla="*/ 945507 w 945506"/>
              <a:gd name="connsiteY1" fmla="*/ 0 h 927591"/>
              <a:gd name="connsiteX2" fmla="*/ 945507 w 945506"/>
              <a:gd name="connsiteY2" fmla="*/ 927592 h 927591"/>
              <a:gd name="connsiteX3" fmla="*/ 0 w 945506"/>
              <a:gd name="connsiteY3" fmla="*/ 927592 h 927591"/>
            </a:gdLst>
            <a:ahLst/>
            <a:cxnLst>
              <a:cxn ang="0">
                <a:pos x="connsiteX0" y="connsiteY0"/>
              </a:cxn>
              <a:cxn ang="0">
                <a:pos x="connsiteX1" y="connsiteY1"/>
              </a:cxn>
              <a:cxn ang="0">
                <a:pos x="connsiteX2" y="connsiteY2"/>
              </a:cxn>
              <a:cxn ang="0">
                <a:pos x="connsiteX3" y="connsiteY3"/>
              </a:cxn>
            </a:cxnLst>
            <a:rect l="l" t="t" r="r" b="b"/>
            <a:pathLst>
              <a:path w="945506" h="927591">
                <a:moveTo>
                  <a:pt x="0" y="0"/>
                </a:moveTo>
                <a:lnTo>
                  <a:pt x="945507" y="0"/>
                </a:lnTo>
                <a:lnTo>
                  <a:pt x="945507" y="927592"/>
                </a:lnTo>
                <a:lnTo>
                  <a:pt x="0" y="927592"/>
                </a:lnTo>
                <a:close/>
              </a:path>
            </a:pathLst>
          </a:custGeom>
          <a:no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55" name="Freeform: Shape 154">
            <a:extLst>
              <a:ext uri="{FF2B5EF4-FFF2-40B4-BE49-F238E27FC236}">
                <a16:creationId xmlns:a16="http://schemas.microsoft.com/office/drawing/2014/main" id="{5778E9E7-DF68-4C05-9EB1-26F666CA81A7}"/>
              </a:ext>
            </a:extLst>
          </p:cNvPr>
          <p:cNvSpPr/>
          <p:nvPr/>
        </p:nvSpPr>
        <p:spPr>
          <a:xfrm>
            <a:off x="5197526" y="1419644"/>
            <a:ext cx="719580" cy="719580"/>
          </a:xfrm>
          <a:custGeom>
            <a:avLst/>
            <a:gdLst>
              <a:gd name="connsiteX0" fmla="*/ 959440 w 959440"/>
              <a:gd name="connsiteY0" fmla="*/ 479720 h 959440"/>
              <a:gd name="connsiteX1" fmla="*/ 479720 w 959440"/>
              <a:gd name="connsiteY1" fmla="*/ 959440 h 959440"/>
              <a:gd name="connsiteX2" fmla="*/ 0 w 959440"/>
              <a:gd name="connsiteY2" fmla="*/ 479720 h 959440"/>
              <a:gd name="connsiteX3" fmla="*/ 479720 w 959440"/>
              <a:gd name="connsiteY3" fmla="*/ 0 h 959440"/>
              <a:gd name="connsiteX4" fmla="*/ 959440 w 959440"/>
              <a:gd name="connsiteY4" fmla="*/ 479720 h 959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440" h="959440">
                <a:moveTo>
                  <a:pt x="959440" y="479720"/>
                </a:moveTo>
                <a:cubicBezTo>
                  <a:pt x="959440" y="744662"/>
                  <a:pt x="744662" y="959440"/>
                  <a:pt x="479720" y="959440"/>
                </a:cubicBezTo>
                <a:cubicBezTo>
                  <a:pt x="214778" y="959440"/>
                  <a:pt x="0" y="744662"/>
                  <a:pt x="0" y="479720"/>
                </a:cubicBezTo>
                <a:cubicBezTo>
                  <a:pt x="0" y="214778"/>
                  <a:pt x="214778" y="0"/>
                  <a:pt x="479720" y="0"/>
                </a:cubicBezTo>
                <a:cubicBezTo>
                  <a:pt x="744662" y="0"/>
                  <a:pt x="959440" y="214778"/>
                  <a:pt x="959440" y="479720"/>
                </a:cubicBezTo>
                <a:close/>
              </a:path>
            </a:pathLst>
          </a:custGeom>
          <a:solidFill>
            <a:srgbClr val="FFFFFF"/>
          </a:solidFill>
          <a:ln w="19898" cap="flat">
            <a:noFill/>
            <a:prstDash val="solid"/>
            <a:miter/>
          </a:ln>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4472C4"/>
                </a:solidFill>
                <a:effectLst/>
                <a:uLnTx/>
                <a:uFillTx/>
                <a:latin typeface="Franklin Gothic Medium" panose="020B0603020102020204"/>
                <a:ea typeface="+mn-ea"/>
                <a:cs typeface="Arial"/>
                <a:sym typeface="Arial"/>
                <a:rtl val="0"/>
              </a:rPr>
              <a:t>10</a:t>
            </a:r>
            <a:endParaRPr kumimoji="0" lang="en-GB" sz="2400" b="1" i="0" u="none" strike="noStrike" kern="1200" cap="none" spc="0" normalizeH="0" baseline="0" noProof="0" dirty="0">
              <a:ln>
                <a:noFill/>
              </a:ln>
              <a:solidFill>
                <a:srgbClr val="4472C4"/>
              </a:solidFill>
              <a:effectLst/>
              <a:uLnTx/>
              <a:uFillTx/>
              <a:latin typeface="Franklin Gothic Medium" panose="020B0603020102020204"/>
              <a:ea typeface="+mn-ea"/>
              <a:cs typeface="Arial"/>
              <a:sym typeface="Arial"/>
              <a:rtl val="0"/>
            </a:endParaRPr>
          </a:p>
        </p:txBody>
      </p:sp>
      <p:sp>
        <p:nvSpPr>
          <p:cNvPr id="156" name="Freeform: Shape 155">
            <a:extLst>
              <a:ext uri="{FF2B5EF4-FFF2-40B4-BE49-F238E27FC236}">
                <a16:creationId xmlns:a16="http://schemas.microsoft.com/office/drawing/2014/main" id="{D6516E32-3436-4720-8B3C-70CB5785DF61}"/>
              </a:ext>
            </a:extLst>
          </p:cNvPr>
          <p:cNvSpPr/>
          <p:nvPr/>
        </p:nvSpPr>
        <p:spPr>
          <a:xfrm>
            <a:off x="5202005" y="1431588"/>
            <a:ext cx="709130" cy="695693"/>
          </a:xfrm>
          <a:custGeom>
            <a:avLst/>
            <a:gdLst>
              <a:gd name="connsiteX0" fmla="*/ 0 w 945506"/>
              <a:gd name="connsiteY0" fmla="*/ 0 h 927591"/>
              <a:gd name="connsiteX1" fmla="*/ 945507 w 945506"/>
              <a:gd name="connsiteY1" fmla="*/ 0 h 927591"/>
              <a:gd name="connsiteX2" fmla="*/ 945507 w 945506"/>
              <a:gd name="connsiteY2" fmla="*/ 927592 h 927591"/>
              <a:gd name="connsiteX3" fmla="*/ 0 w 945506"/>
              <a:gd name="connsiteY3" fmla="*/ 927592 h 927591"/>
            </a:gdLst>
            <a:ahLst/>
            <a:cxnLst>
              <a:cxn ang="0">
                <a:pos x="connsiteX0" y="connsiteY0"/>
              </a:cxn>
              <a:cxn ang="0">
                <a:pos x="connsiteX1" y="connsiteY1"/>
              </a:cxn>
              <a:cxn ang="0">
                <a:pos x="connsiteX2" y="connsiteY2"/>
              </a:cxn>
              <a:cxn ang="0">
                <a:pos x="connsiteX3" y="connsiteY3"/>
              </a:cxn>
            </a:cxnLst>
            <a:rect l="l" t="t" r="r" b="b"/>
            <a:pathLst>
              <a:path w="945506" h="927591">
                <a:moveTo>
                  <a:pt x="0" y="0"/>
                </a:moveTo>
                <a:lnTo>
                  <a:pt x="945507" y="0"/>
                </a:lnTo>
                <a:lnTo>
                  <a:pt x="945507" y="927592"/>
                </a:lnTo>
                <a:lnTo>
                  <a:pt x="0" y="927592"/>
                </a:lnTo>
                <a:close/>
              </a:path>
            </a:pathLst>
          </a:custGeom>
          <a:noFill/>
          <a:ln w="1989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cxnSp>
        <p:nvCxnSpPr>
          <p:cNvPr id="5" name="Straight Connector 4">
            <a:extLst>
              <a:ext uri="{FF2B5EF4-FFF2-40B4-BE49-F238E27FC236}">
                <a16:creationId xmlns:a16="http://schemas.microsoft.com/office/drawing/2014/main" id="{E2D73A80-2E45-4FD5-9B62-56C1AB3B65B1}"/>
              </a:ext>
            </a:extLst>
          </p:cNvPr>
          <p:cNvCxnSpPr/>
          <p:nvPr/>
        </p:nvCxnSpPr>
        <p:spPr>
          <a:xfrm flipH="1">
            <a:off x="6794496" y="4030734"/>
            <a:ext cx="152517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253B75F9-D9AA-4C80-8F2D-C48359ADA70A}"/>
              </a:ext>
            </a:extLst>
          </p:cNvPr>
          <p:cNvCxnSpPr>
            <a:cxnSpLocks/>
          </p:cNvCxnSpPr>
          <p:nvPr/>
        </p:nvCxnSpPr>
        <p:spPr>
          <a:xfrm flipH="1">
            <a:off x="1892094" y="4029412"/>
            <a:ext cx="3465536"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1" name="Slide Number Placeholder 2">
            <a:extLst>
              <a:ext uri="{FF2B5EF4-FFF2-40B4-BE49-F238E27FC236}">
                <a16:creationId xmlns:a16="http://schemas.microsoft.com/office/drawing/2014/main" id="{86601823-756A-4A9D-930D-AC77E276B8EE}"/>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0</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1477075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CD7F95-3D5F-43C3-8DE6-13F22FBCB1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9DCD7F95-3D5F-43C3-8DE6-13F22FBCB1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C22EB19E-61FF-4C5C-883A-287B88CE4715}"/>
              </a:ext>
            </a:extLst>
          </p:cNvPr>
          <p:cNvSpPr/>
          <p:nvPr/>
        </p:nvSpPr>
        <p:spPr>
          <a:xfrm>
            <a:off x="608916" y="2562756"/>
            <a:ext cx="3803395" cy="551791"/>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360363" marR="0" lvl="0" indent="0" algn="l" defTabSz="685800" rtl="0" eaLnBrk="1" fontAlgn="auto" latinLnBrk="0" hangingPunct="1">
              <a:lnSpc>
                <a:spcPct val="100000"/>
              </a:lnSpc>
              <a:spcBef>
                <a:spcPts val="0"/>
              </a:spcBef>
              <a:spcAft>
                <a:spcPts val="1200"/>
              </a:spcAft>
              <a:buClrTx/>
              <a:buSzTx/>
              <a:buFontTx/>
              <a:buNone/>
              <a:tabLst>
                <a:tab pos="5568950" algn="l"/>
              </a:tabLst>
              <a:defRPr/>
            </a:pP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What is / are the </a:t>
            </a:r>
            <a:r>
              <a:rPr kumimoji="0" lang="en-GB" sz="1100" b="1" i="0" u="none" strike="noStrike" kern="1200" cap="none" spc="0" normalizeH="0" baseline="0" noProof="0" dirty="0">
                <a:ln>
                  <a:noFill/>
                </a:ln>
                <a:solidFill>
                  <a:srgbClr val="0070C0">
                    <a:lumMod val="75000"/>
                  </a:srgbClr>
                </a:solidFill>
                <a:effectLst/>
                <a:uLnTx/>
                <a:uFillTx/>
                <a:latin typeface="Franklin Gothic Book" panose="020B0503020102020204"/>
                <a:ea typeface="+mn-ea"/>
                <a:cs typeface="+mn-cs"/>
              </a:rPr>
              <a:t>optimal format(s) </a:t>
            </a: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for a PLS?</a:t>
            </a:r>
          </a:p>
        </p:txBody>
      </p:sp>
      <p:sp>
        <p:nvSpPr>
          <p:cNvPr id="39" name="Rectangle 38">
            <a:extLst>
              <a:ext uri="{FF2B5EF4-FFF2-40B4-BE49-F238E27FC236}">
                <a16:creationId xmlns:a16="http://schemas.microsoft.com/office/drawing/2014/main" id="{F28911C3-D424-41C2-98D1-B7CC6BD1547E}"/>
              </a:ext>
            </a:extLst>
          </p:cNvPr>
          <p:cNvSpPr/>
          <p:nvPr/>
        </p:nvSpPr>
        <p:spPr>
          <a:xfrm>
            <a:off x="4714328" y="2562756"/>
            <a:ext cx="3640596" cy="551791"/>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361950" marR="0" lvl="0" indent="0" algn="l" defTabSz="685800" rtl="0" eaLnBrk="1" fontAlgn="auto" latinLnBrk="0" hangingPunct="1">
              <a:lnSpc>
                <a:spcPct val="100000"/>
              </a:lnSpc>
              <a:spcBef>
                <a:spcPts val="0"/>
              </a:spcBef>
              <a:spcAft>
                <a:spcPts val="1200"/>
              </a:spcAft>
              <a:buClrTx/>
              <a:buSzTx/>
              <a:buFontTx/>
              <a:buNone/>
              <a:tabLst>
                <a:tab pos="5568950" algn="l"/>
              </a:tabLst>
              <a:defRPr/>
            </a:pP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What process should be followed to select </a:t>
            </a:r>
            <a:b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b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publications that will have a PLS to </a:t>
            </a:r>
            <a:r>
              <a:rPr kumimoji="0" lang="en-GB" sz="1100" b="1" i="0" u="none" strike="noStrike" kern="1200" cap="none" spc="0" normalizeH="0" baseline="0" noProof="0" dirty="0">
                <a:ln>
                  <a:noFill/>
                </a:ln>
                <a:solidFill>
                  <a:srgbClr val="0070C0">
                    <a:lumMod val="75000"/>
                  </a:srgbClr>
                </a:solidFill>
                <a:effectLst/>
                <a:uLnTx/>
                <a:uFillTx/>
                <a:latin typeface="Franklin Gothic Book" panose="020B0503020102020204"/>
                <a:ea typeface="+mn-ea"/>
                <a:cs typeface="+mn-cs"/>
              </a:rPr>
              <a:t>avoid the perception of selection bias </a:t>
            </a: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by the sponsor?</a:t>
            </a:r>
          </a:p>
        </p:txBody>
      </p:sp>
      <p:sp>
        <p:nvSpPr>
          <p:cNvPr id="3" name="Oval 2">
            <a:extLst>
              <a:ext uri="{FF2B5EF4-FFF2-40B4-BE49-F238E27FC236}">
                <a16:creationId xmlns:a16="http://schemas.microsoft.com/office/drawing/2014/main" id="{FC246363-E83A-4F96-988B-42C74B0CEB95}"/>
              </a:ext>
            </a:extLst>
          </p:cNvPr>
          <p:cNvSpPr>
            <a:spLocks/>
          </p:cNvSpPr>
          <p:nvPr/>
        </p:nvSpPr>
        <p:spPr>
          <a:xfrm>
            <a:off x="363192" y="2607294"/>
            <a:ext cx="454416" cy="454416"/>
          </a:xfrm>
          <a:prstGeom prst="ellipse">
            <a:avLst/>
          </a:prstGeom>
          <a:solidFill>
            <a:schemeClr val="accent1"/>
          </a:solidFill>
          <a:ln>
            <a:noFill/>
          </a:ln>
        </p:spPr>
        <p:txBody>
          <a:bodyPr lIns="0" tIns="0" rIns="0" bIns="0" anchor="ctr">
            <a:noAutofit/>
          </a:bodyPr>
          <a:lstStyle/>
          <a:p>
            <a:pPr marL="0" marR="0" lvl="0" indent="0" algn="ctr" defTabSz="685800" rtl="0" eaLnBrk="1" fontAlgn="auto" latinLnBrk="0" hangingPunct="1">
              <a:lnSpc>
                <a:spcPct val="100000"/>
              </a:lnSpc>
              <a:spcBef>
                <a:spcPts val="0"/>
              </a:spcBef>
              <a:spcAft>
                <a:spcPts val="1200"/>
              </a:spcAft>
              <a:buClrTx/>
              <a:buSzTx/>
              <a:buFontTx/>
              <a:buNone/>
              <a:tabLst>
                <a:tab pos="5568950" algn="l"/>
              </a:tabLst>
              <a:defRPr/>
            </a:pPr>
            <a:r>
              <a:rPr kumimoji="0" lang="en-GB" sz="2000" b="1" i="0" u="none" strike="noStrike" kern="1200" cap="none" spc="0" normalizeH="0" baseline="0" noProof="0" dirty="0">
                <a:ln>
                  <a:noFill/>
                </a:ln>
                <a:solidFill>
                  <a:srgbClr val="FFFFFF"/>
                </a:solidFill>
                <a:effectLst/>
                <a:uLnTx/>
                <a:uFillTx/>
                <a:latin typeface="Franklin Gothic Medium" panose="020B0603020102020204"/>
                <a:ea typeface="+mn-ea"/>
                <a:cs typeface="+mn-cs"/>
              </a:rPr>
              <a:t>3</a:t>
            </a:r>
          </a:p>
        </p:txBody>
      </p:sp>
      <p:sp>
        <p:nvSpPr>
          <p:cNvPr id="33" name="Oval 32">
            <a:extLst>
              <a:ext uri="{FF2B5EF4-FFF2-40B4-BE49-F238E27FC236}">
                <a16:creationId xmlns:a16="http://schemas.microsoft.com/office/drawing/2014/main" id="{076EF9D1-1828-4A57-9A2A-908262142677}"/>
              </a:ext>
            </a:extLst>
          </p:cNvPr>
          <p:cNvSpPr>
            <a:spLocks/>
          </p:cNvSpPr>
          <p:nvPr/>
        </p:nvSpPr>
        <p:spPr>
          <a:xfrm>
            <a:off x="4492907" y="2607294"/>
            <a:ext cx="454416" cy="454416"/>
          </a:xfrm>
          <a:prstGeom prst="ellipse">
            <a:avLst/>
          </a:prstGeom>
          <a:solidFill>
            <a:schemeClr val="accent1"/>
          </a:solidFill>
          <a:ln>
            <a:noFill/>
          </a:ln>
        </p:spPr>
        <p:txBody>
          <a:bodyPr lIns="0" tIns="0" rIns="0" bIns="0" anchor="ctr">
            <a:noAutofit/>
          </a:bodyPr>
          <a:lstStyle/>
          <a:p>
            <a:pPr marL="0" marR="0" lvl="0" indent="0" algn="ctr" defTabSz="685800" rtl="0" eaLnBrk="1" fontAlgn="auto" latinLnBrk="0" hangingPunct="1">
              <a:lnSpc>
                <a:spcPct val="100000"/>
              </a:lnSpc>
              <a:spcBef>
                <a:spcPts val="0"/>
              </a:spcBef>
              <a:spcAft>
                <a:spcPts val="1200"/>
              </a:spcAft>
              <a:buClrTx/>
              <a:buSzTx/>
              <a:buFontTx/>
              <a:buNone/>
              <a:tabLst>
                <a:tab pos="5568950" algn="l"/>
              </a:tabLst>
              <a:defRPr/>
            </a:pPr>
            <a:r>
              <a:rPr kumimoji="0" lang="en-GB" sz="2000" b="1" i="0" u="none" strike="noStrike" kern="1200" cap="none" spc="0" normalizeH="0" baseline="0" noProof="0" dirty="0">
                <a:ln>
                  <a:noFill/>
                </a:ln>
                <a:solidFill>
                  <a:srgbClr val="FFFFFF"/>
                </a:solidFill>
                <a:effectLst/>
                <a:uLnTx/>
                <a:uFillTx/>
                <a:latin typeface="Franklin Gothic Medium" panose="020B0603020102020204"/>
                <a:ea typeface="+mn-ea"/>
                <a:cs typeface="+mn-cs"/>
              </a:rPr>
              <a:t>8</a:t>
            </a:r>
          </a:p>
        </p:txBody>
      </p:sp>
      <p:sp>
        <p:nvSpPr>
          <p:cNvPr id="30" name="Rectangle 29">
            <a:extLst>
              <a:ext uri="{FF2B5EF4-FFF2-40B4-BE49-F238E27FC236}">
                <a16:creationId xmlns:a16="http://schemas.microsoft.com/office/drawing/2014/main" id="{953F9EF0-E8AA-4673-8FEF-EEFBB4AEC6AB}"/>
              </a:ext>
            </a:extLst>
          </p:cNvPr>
          <p:cNvSpPr/>
          <p:nvPr/>
        </p:nvSpPr>
        <p:spPr>
          <a:xfrm>
            <a:off x="608916" y="3199152"/>
            <a:ext cx="3803395" cy="551791"/>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360363" marR="0" lvl="0" indent="0" algn="l" defTabSz="685800" rtl="0" eaLnBrk="1" fontAlgn="auto" latinLnBrk="0" hangingPunct="1">
              <a:lnSpc>
                <a:spcPct val="100000"/>
              </a:lnSpc>
              <a:spcBef>
                <a:spcPts val="0"/>
              </a:spcBef>
              <a:spcAft>
                <a:spcPts val="1200"/>
              </a:spcAft>
              <a:buClrTx/>
              <a:buSzTx/>
              <a:buFontTx/>
              <a:buNone/>
              <a:tabLst>
                <a:tab pos="5568950" algn="l"/>
              </a:tabLst>
              <a:defRPr/>
            </a:pP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What is the optimal PLS </a:t>
            </a:r>
            <a:r>
              <a:rPr kumimoji="0" lang="en-GB" sz="1100" b="1" i="0" u="none" strike="noStrike" kern="1200" cap="none" spc="0" normalizeH="0" baseline="0" noProof="0" dirty="0">
                <a:ln>
                  <a:noFill/>
                </a:ln>
                <a:solidFill>
                  <a:srgbClr val="0070C0">
                    <a:lumMod val="75000"/>
                  </a:srgbClr>
                </a:solidFill>
                <a:effectLst/>
                <a:uLnTx/>
                <a:uFillTx/>
                <a:latin typeface="Franklin Gothic Book" panose="020B0503020102020204"/>
                <a:ea typeface="+mn-ea"/>
                <a:cs typeface="+mn-cs"/>
              </a:rPr>
              <a:t>development / review / approval </a:t>
            </a: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process (when considering the steps relevant to your stakeholder group)?</a:t>
            </a:r>
          </a:p>
        </p:txBody>
      </p:sp>
      <p:sp>
        <p:nvSpPr>
          <p:cNvPr id="40" name="Rectangle 39">
            <a:extLst>
              <a:ext uri="{FF2B5EF4-FFF2-40B4-BE49-F238E27FC236}">
                <a16:creationId xmlns:a16="http://schemas.microsoft.com/office/drawing/2014/main" id="{AD8C28A8-7849-4A67-9910-501837CBA63B}"/>
              </a:ext>
            </a:extLst>
          </p:cNvPr>
          <p:cNvSpPr/>
          <p:nvPr/>
        </p:nvSpPr>
        <p:spPr>
          <a:xfrm>
            <a:off x="4714328" y="3199152"/>
            <a:ext cx="3640596" cy="551791"/>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361950" marR="0" lvl="0" indent="0" algn="l" defTabSz="685800" rtl="0" eaLnBrk="1" fontAlgn="auto" latinLnBrk="0" hangingPunct="1">
              <a:lnSpc>
                <a:spcPct val="100000"/>
              </a:lnSpc>
              <a:spcBef>
                <a:spcPts val="0"/>
              </a:spcBef>
              <a:spcAft>
                <a:spcPts val="1200"/>
              </a:spcAft>
              <a:buClrTx/>
              <a:buSzTx/>
              <a:buFontTx/>
              <a:buNone/>
              <a:tabLst>
                <a:tab pos="5568950" algn="l"/>
              </a:tabLst>
              <a:defRPr/>
            </a:pP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How can PLS meet the needs of </a:t>
            </a:r>
            <a:r>
              <a:rPr kumimoji="0" lang="en-GB" sz="1100" b="1" i="0" u="none" strike="noStrike" kern="1200" cap="none" spc="0" normalizeH="0" baseline="0" noProof="0" dirty="0">
                <a:ln>
                  <a:noFill/>
                </a:ln>
                <a:solidFill>
                  <a:srgbClr val="0070C0">
                    <a:lumMod val="75000"/>
                  </a:srgbClr>
                </a:solidFill>
                <a:effectLst/>
                <a:uLnTx/>
                <a:uFillTx/>
                <a:latin typeface="Franklin Gothic Book" panose="020B0503020102020204"/>
                <a:ea typeface="+mn-ea"/>
                <a:cs typeface="+mn-cs"/>
              </a:rPr>
              <a:t>non-English speaking </a:t>
            </a: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audiences and account for </a:t>
            </a:r>
            <a:r>
              <a:rPr kumimoji="0" lang="en-GB" sz="1100" b="1" i="0" u="none" strike="noStrike" kern="1200" cap="none" spc="0" normalizeH="0" baseline="0" noProof="0" dirty="0">
                <a:ln>
                  <a:noFill/>
                </a:ln>
                <a:solidFill>
                  <a:srgbClr val="0070C0">
                    <a:lumMod val="75000"/>
                  </a:srgbClr>
                </a:solidFill>
                <a:effectLst/>
                <a:uLnTx/>
                <a:uFillTx/>
                <a:latin typeface="Franklin Gothic Book" panose="020B0503020102020204"/>
                <a:ea typeface="+mn-ea"/>
                <a:cs typeface="+mn-cs"/>
              </a:rPr>
              <a:t>different cultures</a:t>
            </a: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a:t>
            </a:r>
          </a:p>
        </p:txBody>
      </p:sp>
      <p:sp>
        <p:nvSpPr>
          <p:cNvPr id="4" name="Oval 3">
            <a:extLst>
              <a:ext uri="{FF2B5EF4-FFF2-40B4-BE49-F238E27FC236}">
                <a16:creationId xmlns:a16="http://schemas.microsoft.com/office/drawing/2014/main" id="{CD87DB15-2483-4C44-B100-6DCA781B224C}"/>
              </a:ext>
            </a:extLst>
          </p:cNvPr>
          <p:cNvSpPr>
            <a:spLocks/>
          </p:cNvSpPr>
          <p:nvPr/>
        </p:nvSpPr>
        <p:spPr>
          <a:xfrm>
            <a:off x="363192" y="3243690"/>
            <a:ext cx="454416" cy="454416"/>
          </a:xfrm>
          <a:prstGeom prst="ellipse">
            <a:avLst/>
          </a:prstGeom>
          <a:solidFill>
            <a:schemeClr val="accent1"/>
          </a:solidFill>
          <a:ln>
            <a:noFill/>
          </a:ln>
        </p:spPr>
        <p:txBody>
          <a:bodyPr lIns="0" tIns="0" rIns="0" bIns="0" anchor="ctr">
            <a:noAutofit/>
          </a:bodyPr>
          <a:lstStyle/>
          <a:p>
            <a:pPr marL="0" marR="0" lvl="0" indent="0" algn="ctr" defTabSz="685800" rtl="0" eaLnBrk="1" fontAlgn="auto" latinLnBrk="0" hangingPunct="1">
              <a:lnSpc>
                <a:spcPct val="100000"/>
              </a:lnSpc>
              <a:spcBef>
                <a:spcPts val="0"/>
              </a:spcBef>
              <a:spcAft>
                <a:spcPts val="1200"/>
              </a:spcAft>
              <a:buClrTx/>
              <a:buSzTx/>
              <a:buFontTx/>
              <a:buNone/>
              <a:tabLst>
                <a:tab pos="5568950" algn="l"/>
              </a:tabLst>
              <a:defRPr/>
            </a:pPr>
            <a:r>
              <a:rPr kumimoji="0" lang="en-GB" sz="2000" b="1" i="0" u="none" strike="noStrike" kern="1200" cap="none" spc="0" normalizeH="0" baseline="0" noProof="0" dirty="0">
                <a:ln>
                  <a:noFill/>
                </a:ln>
                <a:solidFill>
                  <a:srgbClr val="FFFFFF"/>
                </a:solidFill>
                <a:effectLst/>
                <a:uLnTx/>
                <a:uFillTx/>
                <a:latin typeface="Franklin Gothic Medium" panose="020B0603020102020204"/>
                <a:ea typeface="+mn-ea"/>
                <a:cs typeface="+mn-cs"/>
              </a:rPr>
              <a:t>4</a:t>
            </a:r>
          </a:p>
        </p:txBody>
      </p:sp>
      <p:sp>
        <p:nvSpPr>
          <p:cNvPr id="34" name="Oval 33">
            <a:extLst>
              <a:ext uri="{FF2B5EF4-FFF2-40B4-BE49-F238E27FC236}">
                <a16:creationId xmlns:a16="http://schemas.microsoft.com/office/drawing/2014/main" id="{F4FF3C8A-A923-4336-B633-EC13FF5B6A2F}"/>
              </a:ext>
            </a:extLst>
          </p:cNvPr>
          <p:cNvSpPr>
            <a:spLocks/>
          </p:cNvSpPr>
          <p:nvPr/>
        </p:nvSpPr>
        <p:spPr>
          <a:xfrm>
            <a:off x="4492907" y="3243690"/>
            <a:ext cx="454416" cy="454416"/>
          </a:xfrm>
          <a:prstGeom prst="ellipse">
            <a:avLst/>
          </a:prstGeom>
          <a:solidFill>
            <a:schemeClr val="accent1"/>
          </a:solidFill>
          <a:ln>
            <a:noFill/>
          </a:ln>
        </p:spPr>
        <p:txBody>
          <a:bodyPr lIns="0" tIns="0" rIns="0" bIns="0" anchor="ctr">
            <a:noAutofit/>
          </a:bodyPr>
          <a:lstStyle/>
          <a:p>
            <a:pPr marL="0" marR="0" lvl="0" indent="0" algn="ctr" defTabSz="685800" rtl="0" eaLnBrk="1" fontAlgn="auto" latinLnBrk="0" hangingPunct="1">
              <a:lnSpc>
                <a:spcPct val="100000"/>
              </a:lnSpc>
              <a:spcBef>
                <a:spcPts val="0"/>
              </a:spcBef>
              <a:spcAft>
                <a:spcPts val="1200"/>
              </a:spcAft>
              <a:buClrTx/>
              <a:buSzTx/>
              <a:buFontTx/>
              <a:buNone/>
              <a:tabLst>
                <a:tab pos="5568950" algn="l"/>
              </a:tabLst>
              <a:defRPr/>
            </a:pPr>
            <a:r>
              <a:rPr kumimoji="0" lang="en-GB" sz="2000" b="1" i="0" u="none" strike="noStrike" kern="1200" cap="none" spc="0" normalizeH="0" baseline="0" noProof="0" dirty="0">
                <a:ln>
                  <a:noFill/>
                </a:ln>
                <a:solidFill>
                  <a:srgbClr val="FFFFFF"/>
                </a:solidFill>
                <a:effectLst/>
                <a:uLnTx/>
                <a:uFillTx/>
                <a:latin typeface="Franklin Gothic Medium" panose="020B0603020102020204"/>
                <a:ea typeface="+mn-ea"/>
                <a:cs typeface="+mn-cs"/>
              </a:rPr>
              <a:t>9</a:t>
            </a:r>
          </a:p>
        </p:txBody>
      </p:sp>
      <p:sp>
        <p:nvSpPr>
          <p:cNvPr id="31" name="Rectangle 30">
            <a:extLst>
              <a:ext uri="{FF2B5EF4-FFF2-40B4-BE49-F238E27FC236}">
                <a16:creationId xmlns:a16="http://schemas.microsoft.com/office/drawing/2014/main" id="{CCBB134F-5665-4E8F-B6BA-7EE0F2A1B670}"/>
              </a:ext>
            </a:extLst>
          </p:cNvPr>
          <p:cNvSpPr/>
          <p:nvPr/>
        </p:nvSpPr>
        <p:spPr>
          <a:xfrm>
            <a:off x="608916" y="3840242"/>
            <a:ext cx="3803395" cy="551791"/>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361950" marR="0" lvl="0" indent="0" algn="l" defTabSz="685800" rtl="0" eaLnBrk="1" fontAlgn="auto" latinLnBrk="0" hangingPunct="1">
              <a:lnSpc>
                <a:spcPct val="100000"/>
              </a:lnSpc>
              <a:spcBef>
                <a:spcPts val="0"/>
              </a:spcBef>
              <a:spcAft>
                <a:spcPts val="1200"/>
              </a:spcAft>
              <a:buClrTx/>
              <a:buSzTx/>
              <a:buFontTx/>
              <a:buNone/>
              <a:tabLst>
                <a:tab pos="5568950" algn="l"/>
              </a:tabLst>
              <a:defRPr/>
            </a:pP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What is needed to ensure PLS are considered </a:t>
            </a:r>
            <a:b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b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to be </a:t>
            </a:r>
            <a:r>
              <a:rPr kumimoji="0" lang="en-GB" sz="1100" b="1" i="0" u="none" strike="noStrike" kern="1200" cap="none" spc="0" normalizeH="0" baseline="0" noProof="0" dirty="0">
                <a:ln>
                  <a:noFill/>
                </a:ln>
                <a:solidFill>
                  <a:srgbClr val="0070C0">
                    <a:lumMod val="75000"/>
                  </a:srgbClr>
                </a:solidFill>
                <a:effectLst/>
                <a:uLnTx/>
                <a:uFillTx/>
                <a:latin typeface="Franklin Gothic Book" panose="020B0503020102020204"/>
                <a:ea typeface="+mn-ea"/>
                <a:cs typeface="+mn-cs"/>
              </a:rPr>
              <a:t>appropriate vehicles that accompany scientific publications</a:t>
            </a: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 not medical education or promo materials?</a:t>
            </a:r>
          </a:p>
        </p:txBody>
      </p:sp>
      <p:sp>
        <p:nvSpPr>
          <p:cNvPr id="41" name="Rectangle 40">
            <a:extLst>
              <a:ext uri="{FF2B5EF4-FFF2-40B4-BE49-F238E27FC236}">
                <a16:creationId xmlns:a16="http://schemas.microsoft.com/office/drawing/2014/main" id="{4C038AC8-605A-47A0-8072-2337B00663CF}"/>
              </a:ext>
            </a:extLst>
          </p:cNvPr>
          <p:cNvSpPr/>
          <p:nvPr/>
        </p:nvSpPr>
        <p:spPr>
          <a:xfrm>
            <a:off x="4714328" y="3840242"/>
            <a:ext cx="3640596" cy="551791"/>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361950" marR="0" lvl="0" indent="0" algn="l" defTabSz="685800" rtl="0" eaLnBrk="1" fontAlgn="auto" latinLnBrk="0" hangingPunct="1">
              <a:lnSpc>
                <a:spcPct val="100000"/>
              </a:lnSpc>
              <a:spcBef>
                <a:spcPts val="0"/>
              </a:spcBef>
              <a:spcAft>
                <a:spcPts val="1200"/>
              </a:spcAft>
              <a:buClrTx/>
              <a:buSzTx/>
              <a:buFontTx/>
              <a:buNone/>
              <a:tabLst>
                <a:tab pos="5568950" algn="l"/>
              </a:tabLst>
              <a:defRPr/>
            </a:pP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What criteria should be met for developing </a:t>
            </a:r>
            <a:b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b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a PLS for an </a:t>
            </a:r>
            <a:r>
              <a:rPr kumimoji="0" lang="en-GB" sz="1100" b="1" i="0" u="none" strike="noStrike" kern="1200" cap="none" spc="0" normalizeH="0" baseline="0" noProof="0" dirty="0">
                <a:ln>
                  <a:noFill/>
                </a:ln>
                <a:solidFill>
                  <a:srgbClr val="0070C0">
                    <a:lumMod val="75000"/>
                  </a:srgbClr>
                </a:solidFill>
                <a:effectLst/>
                <a:uLnTx/>
                <a:uFillTx/>
                <a:latin typeface="Franklin Gothic Book" panose="020B0503020102020204"/>
                <a:ea typeface="+mn-ea"/>
                <a:cs typeface="+mn-cs"/>
              </a:rPr>
              <a:t>article already published</a:t>
            </a: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a:t>
            </a:r>
          </a:p>
        </p:txBody>
      </p:sp>
      <p:sp>
        <p:nvSpPr>
          <p:cNvPr id="5" name="Oval 4">
            <a:extLst>
              <a:ext uri="{FF2B5EF4-FFF2-40B4-BE49-F238E27FC236}">
                <a16:creationId xmlns:a16="http://schemas.microsoft.com/office/drawing/2014/main" id="{7F257B4A-86D8-4604-9F09-1FBC4D4A7810}"/>
              </a:ext>
            </a:extLst>
          </p:cNvPr>
          <p:cNvSpPr>
            <a:spLocks/>
          </p:cNvSpPr>
          <p:nvPr/>
        </p:nvSpPr>
        <p:spPr>
          <a:xfrm>
            <a:off x="363192" y="3884780"/>
            <a:ext cx="454416" cy="454416"/>
          </a:xfrm>
          <a:prstGeom prst="ellipse">
            <a:avLst/>
          </a:prstGeom>
          <a:solidFill>
            <a:schemeClr val="accent1"/>
          </a:solidFill>
          <a:ln>
            <a:noFill/>
          </a:ln>
        </p:spPr>
        <p:txBody>
          <a:bodyPr lIns="0" tIns="0" rIns="0" bIns="0" anchor="ctr">
            <a:noAutofit/>
          </a:bodyPr>
          <a:lstStyle/>
          <a:p>
            <a:pPr marL="0" marR="0" lvl="0" indent="0" algn="ctr" defTabSz="685800" rtl="0" eaLnBrk="1" fontAlgn="auto" latinLnBrk="0" hangingPunct="1">
              <a:lnSpc>
                <a:spcPct val="100000"/>
              </a:lnSpc>
              <a:spcBef>
                <a:spcPts val="0"/>
              </a:spcBef>
              <a:spcAft>
                <a:spcPts val="1200"/>
              </a:spcAft>
              <a:buClrTx/>
              <a:buSzTx/>
              <a:buFontTx/>
              <a:buNone/>
              <a:tabLst>
                <a:tab pos="5568950" algn="l"/>
              </a:tabLst>
              <a:defRPr/>
            </a:pPr>
            <a:r>
              <a:rPr kumimoji="0" lang="en-GB" sz="2000" b="1" i="0" u="none" strike="noStrike" kern="1200" cap="none" spc="0" normalizeH="0" baseline="0" noProof="0" dirty="0">
                <a:ln>
                  <a:noFill/>
                </a:ln>
                <a:solidFill>
                  <a:srgbClr val="FFFFFF"/>
                </a:solidFill>
                <a:effectLst/>
                <a:uLnTx/>
                <a:uFillTx/>
                <a:latin typeface="Franklin Gothic Medium" panose="020B0603020102020204"/>
                <a:ea typeface="+mn-ea"/>
                <a:cs typeface="+mn-cs"/>
              </a:rPr>
              <a:t>5</a:t>
            </a:r>
          </a:p>
        </p:txBody>
      </p:sp>
      <p:sp>
        <p:nvSpPr>
          <p:cNvPr id="35" name="Oval 34">
            <a:extLst>
              <a:ext uri="{FF2B5EF4-FFF2-40B4-BE49-F238E27FC236}">
                <a16:creationId xmlns:a16="http://schemas.microsoft.com/office/drawing/2014/main" id="{449F5E7B-DFF5-47AA-B06A-80BE9BA38C35}"/>
              </a:ext>
            </a:extLst>
          </p:cNvPr>
          <p:cNvSpPr>
            <a:spLocks/>
          </p:cNvSpPr>
          <p:nvPr/>
        </p:nvSpPr>
        <p:spPr>
          <a:xfrm>
            <a:off x="4492907" y="3884780"/>
            <a:ext cx="454416" cy="454416"/>
          </a:xfrm>
          <a:prstGeom prst="ellipse">
            <a:avLst/>
          </a:prstGeom>
          <a:solidFill>
            <a:schemeClr val="accent1"/>
          </a:solidFill>
          <a:ln>
            <a:noFill/>
          </a:ln>
        </p:spPr>
        <p:txBody>
          <a:bodyPr lIns="0" tIns="0" rIns="0" bIns="0" anchor="ctr">
            <a:noAutofit/>
          </a:bodyPr>
          <a:lstStyle/>
          <a:p>
            <a:pPr marL="0" marR="0" lvl="0" indent="0" algn="ctr" defTabSz="685800" rtl="0" eaLnBrk="1" fontAlgn="auto" latinLnBrk="0" hangingPunct="1">
              <a:lnSpc>
                <a:spcPct val="100000"/>
              </a:lnSpc>
              <a:spcBef>
                <a:spcPts val="0"/>
              </a:spcBef>
              <a:spcAft>
                <a:spcPts val="1200"/>
              </a:spcAft>
              <a:buClrTx/>
              <a:buSzTx/>
              <a:buFontTx/>
              <a:buNone/>
              <a:tabLst>
                <a:tab pos="5568950" algn="l"/>
              </a:tabLst>
              <a:defRPr/>
            </a:pPr>
            <a:r>
              <a:rPr kumimoji="0" lang="en-GB" sz="2000" b="1" i="0" u="none" strike="noStrike" kern="1200" cap="none" spc="0" normalizeH="0" baseline="0" noProof="0" dirty="0">
                <a:ln>
                  <a:noFill/>
                </a:ln>
                <a:solidFill>
                  <a:srgbClr val="FFFFFF"/>
                </a:solidFill>
                <a:effectLst/>
                <a:uLnTx/>
                <a:uFillTx/>
                <a:latin typeface="Franklin Gothic Medium" panose="020B0603020102020204"/>
                <a:ea typeface="+mn-ea"/>
                <a:cs typeface="+mn-cs"/>
              </a:rPr>
              <a:t>10</a:t>
            </a:r>
          </a:p>
        </p:txBody>
      </p:sp>
      <p:sp>
        <p:nvSpPr>
          <p:cNvPr id="27" name="Rectangle 26">
            <a:extLst>
              <a:ext uri="{FF2B5EF4-FFF2-40B4-BE49-F238E27FC236}">
                <a16:creationId xmlns:a16="http://schemas.microsoft.com/office/drawing/2014/main" id="{F3434E15-23EA-4172-A164-335C012A3F77}"/>
              </a:ext>
            </a:extLst>
          </p:cNvPr>
          <p:cNvSpPr/>
          <p:nvPr/>
        </p:nvSpPr>
        <p:spPr>
          <a:xfrm>
            <a:off x="608916" y="1280675"/>
            <a:ext cx="3803395" cy="551791"/>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360363" marR="0" lvl="0" indent="0" algn="l" defTabSz="685800" rtl="0" eaLnBrk="1" fontAlgn="auto" latinLnBrk="0" hangingPunct="1">
              <a:lnSpc>
                <a:spcPct val="100000"/>
              </a:lnSpc>
              <a:spcBef>
                <a:spcPts val="0"/>
              </a:spcBef>
              <a:spcAft>
                <a:spcPts val="1200"/>
              </a:spcAft>
              <a:buClrTx/>
              <a:buSzTx/>
              <a:buFontTx/>
              <a:buNone/>
              <a:tabLst>
                <a:tab pos="5568950" algn="l"/>
              </a:tabLst>
              <a:defRPr/>
            </a:pPr>
            <a:r>
              <a:rPr kumimoji="0" lang="en-GB" sz="1100" b="1" i="0" u="none" strike="noStrike" kern="1200" cap="none" spc="0" normalizeH="0" baseline="0" noProof="0" dirty="0">
                <a:ln>
                  <a:noFill/>
                </a:ln>
                <a:solidFill>
                  <a:srgbClr val="0070C0">
                    <a:lumMod val="75000"/>
                  </a:srgbClr>
                </a:solidFill>
                <a:effectLst/>
                <a:uLnTx/>
                <a:uFillTx/>
                <a:latin typeface="Franklin Gothic Book" panose="020B0503020102020204"/>
                <a:ea typeface="+mn-ea"/>
                <a:cs typeface="+mn-cs"/>
              </a:rPr>
              <a:t>What information </a:t>
            </a: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must, and must not, </a:t>
            </a:r>
            <a:b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b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be included in a PLS?</a:t>
            </a:r>
          </a:p>
        </p:txBody>
      </p:sp>
      <p:sp>
        <p:nvSpPr>
          <p:cNvPr id="32" name="Rectangle 31">
            <a:extLst>
              <a:ext uri="{FF2B5EF4-FFF2-40B4-BE49-F238E27FC236}">
                <a16:creationId xmlns:a16="http://schemas.microsoft.com/office/drawing/2014/main" id="{C615AED0-F566-440F-8A13-583CC9CFBE3A}"/>
              </a:ext>
            </a:extLst>
          </p:cNvPr>
          <p:cNvSpPr/>
          <p:nvPr/>
        </p:nvSpPr>
        <p:spPr>
          <a:xfrm>
            <a:off x="4714328" y="1280675"/>
            <a:ext cx="3640596" cy="551791"/>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361950" marR="0" lvl="0" indent="0" algn="l" defTabSz="685800" rtl="0" eaLnBrk="1" fontAlgn="auto" latinLnBrk="0" hangingPunct="1">
              <a:lnSpc>
                <a:spcPct val="100000"/>
              </a:lnSpc>
              <a:spcBef>
                <a:spcPts val="0"/>
              </a:spcBef>
              <a:spcAft>
                <a:spcPts val="1200"/>
              </a:spcAft>
              <a:buClrTx/>
              <a:buSzTx/>
              <a:buFontTx/>
              <a:buNone/>
              <a:tabLst>
                <a:tab pos="5568950" algn="l"/>
              </a:tabLst>
              <a:defRPr/>
            </a:pP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Where and how should PLS be published to ensure </a:t>
            </a:r>
            <a:b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b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optimal reach and </a:t>
            </a:r>
            <a:r>
              <a:rPr kumimoji="0" lang="en-GB" sz="1100" b="1" i="0" u="none" strike="noStrike" kern="1200" cap="none" spc="0" normalizeH="0" baseline="0" noProof="0" dirty="0">
                <a:ln>
                  <a:noFill/>
                </a:ln>
                <a:solidFill>
                  <a:srgbClr val="0070C0">
                    <a:lumMod val="75000"/>
                  </a:srgbClr>
                </a:solidFill>
                <a:effectLst/>
                <a:uLnTx/>
                <a:uFillTx/>
                <a:latin typeface="Franklin Gothic Book" panose="020B0503020102020204"/>
                <a:ea typeface="+mn-ea"/>
                <a:cs typeface="+mn-cs"/>
              </a:rPr>
              <a:t>discoverability</a:t>
            </a: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a:t>
            </a:r>
          </a:p>
        </p:txBody>
      </p:sp>
      <p:sp>
        <p:nvSpPr>
          <p:cNvPr id="18" name="Oval 17">
            <a:extLst>
              <a:ext uri="{FF2B5EF4-FFF2-40B4-BE49-F238E27FC236}">
                <a16:creationId xmlns:a16="http://schemas.microsoft.com/office/drawing/2014/main" id="{2B7C6D83-64E8-4C78-93D0-1F8F706E3456}"/>
              </a:ext>
            </a:extLst>
          </p:cNvPr>
          <p:cNvSpPr>
            <a:spLocks/>
          </p:cNvSpPr>
          <p:nvPr/>
        </p:nvSpPr>
        <p:spPr>
          <a:xfrm>
            <a:off x="363192" y="1325213"/>
            <a:ext cx="454416" cy="454416"/>
          </a:xfrm>
          <a:prstGeom prst="ellipse">
            <a:avLst/>
          </a:prstGeom>
          <a:solidFill>
            <a:schemeClr val="accent1"/>
          </a:solidFill>
          <a:ln>
            <a:noFill/>
          </a:ln>
        </p:spPr>
        <p:txBody>
          <a:bodyPr lIns="0" tIns="0" rIns="0" bIns="0" anchor="ctr">
            <a:noAutofit/>
          </a:bodyPr>
          <a:lstStyle/>
          <a:p>
            <a:pPr marL="0" marR="0" lvl="0" indent="0" algn="ctr" defTabSz="685800" rtl="0" eaLnBrk="1" fontAlgn="auto" latinLnBrk="0" hangingPunct="1">
              <a:lnSpc>
                <a:spcPct val="100000"/>
              </a:lnSpc>
              <a:spcBef>
                <a:spcPts val="0"/>
              </a:spcBef>
              <a:spcAft>
                <a:spcPts val="1200"/>
              </a:spcAft>
              <a:buClrTx/>
              <a:buSzTx/>
              <a:buFontTx/>
              <a:buNone/>
              <a:tabLst>
                <a:tab pos="5568950" algn="l"/>
              </a:tabLst>
              <a:defRPr/>
            </a:pPr>
            <a:r>
              <a:rPr kumimoji="0" lang="en-GB" sz="2000" b="1" i="0" u="none" strike="noStrike" kern="1200" cap="none" spc="0" normalizeH="0" baseline="0" noProof="0" dirty="0">
                <a:ln>
                  <a:noFill/>
                </a:ln>
                <a:solidFill>
                  <a:srgbClr val="FFFFFF"/>
                </a:solidFill>
                <a:effectLst/>
                <a:uLnTx/>
                <a:uFillTx/>
                <a:latin typeface="Franklin Gothic Medium" panose="020B0603020102020204"/>
                <a:ea typeface="+mn-ea"/>
                <a:cs typeface="+mn-cs"/>
              </a:rPr>
              <a:t>1</a:t>
            </a:r>
          </a:p>
        </p:txBody>
      </p:sp>
      <p:sp>
        <p:nvSpPr>
          <p:cNvPr id="36" name="Oval 35">
            <a:extLst>
              <a:ext uri="{FF2B5EF4-FFF2-40B4-BE49-F238E27FC236}">
                <a16:creationId xmlns:a16="http://schemas.microsoft.com/office/drawing/2014/main" id="{24AA0468-0A49-4AC6-8B36-8C1D510483EF}"/>
              </a:ext>
            </a:extLst>
          </p:cNvPr>
          <p:cNvSpPr>
            <a:spLocks/>
          </p:cNvSpPr>
          <p:nvPr/>
        </p:nvSpPr>
        <p:spPr>
          <a:xfrm>
            <a:off x="4492907" y="1325213"/>
            <a:ext cx="454416" cy="454416"/>
          </a:xfrm>
          <a:prstGeom prst="ellipse">
            <a:avLst/>
          </a:prstGeom>
          <a:solidFill>
            <a:schemeClr val="accent1"/>
          </a:solidFill>
          <a:ln>
            <a:noFill/>
          </a:ln>
        </p:spPr>
        <p:txBody>
          <a:bodyPr lIns="0" tIns="0" rIns="0" bIns="0" anchor="ctr">
            <a:noAutofit/>
          </a:bodyPr>
          <a:lstStyle/>
          <a:p>
            <a:pPr marL="0" marR="0" lvl="0" indent="0" algn="ctr" defTabSz="685800" rtl="0" eaLnBrk="1" fontAlgn="auto" latinLnBrk="0" hangingPunct="1">
              <a:lnSpc>
                <a:spcPct val="100000"/>
              </a:lnSpc>
              <a:spcBef>
                <a:spcPts val="0"/>
              </a:spcBef>
              <a:spcAft>
                <a:spcPts val="1200"/>
              </a:spcAft>
              <a:buClrTx/>
              <a:buSzTx/>
              <a:buFontTx/>
              <a:buNone/>
              <a:tabLst>
                <a:tab pos="5568950" algn="l"/>
              </a:tabLst>
              <a:defRPr/>
            </a:pPr>
            <a:r>
              <a:rPr kumimoji="0" lang="en-GB" sz="2000" b="1" i="0" u="none" strike="noStrike" kern="1200" cap="none" spc="0" normalizeH="0" baseline="0" noProof="0" dirty="0">
                <a:ln>
                  <a:noFill/>
                </a:ln>
                <a:solidFill>
                  <a:srgbClr val="FFFFFF"/>
                </a:solidFill>
                <a:effectLst/>
                <a:uLnTx/>
                <a:uFillTx/>
                <a:latin typeface="Franklin Gothic Medium" panose="020B0603020102020204"/>
                <a:ea typeface="+mn-ea"/>
                <a:cs typeface="+mn-cs"/>
              </a:rPr>
              <a:t>6</a:t>
            </a:r>
          </a:p>
        </p:txBody>
      </p:sp>
      <p:sp>
        <p:nvSpPr>
          <p:cNvPr id="28" name="Rectangle 27">
            <a:extLst>
              <a:ext uri="{FF2B5EF4-FFF2-40B4-BE49-F238E27FC236}">
                <a16:creationId xmlns:a16="http://schemas.microsoft.com/office/drawing/2014/main" id="{1D7C2145-2A37-429B-A6BA-A37DB8BD9300}"/>
              </a:ext>
            </a:extLst>
          </p:cNvPr>
          <p:cNvSpPr/>
          <p:nvPr/>
        </p:nvSpPr>
        <p:spPr>
          <a:xfrm>
            <a:off x="608916" y="1918837"/>
            <a:ext cx="3803395" cy="551791"/>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360363" marR="0" lvl="0" indent="0" algn="l" defTabSz="685800" rtl="0" eaLnBrk="1" fontAlgn="auto" latinLnBrk="0" hangingPunct="1">
              <a:lnSpc>
                <a:spcPct val="100000"/>
              </a:lnSpc>
              <a:spcBef>
                <a:spcPts val="0"/>
              </a:spcBef>
              <a:spcAft>
                <a:spcPts val="1200"/>
              </a:spcAft>
              <a:buClrTx/>
              <a:buSzTx/>
              <a:buFontTx/>
              <a:buNone/>
              <a:tabLst>
                <a:tab pos="5568950" algn="l"/>
              </a:tabLst>
              <a:defRPr/>
            </a:pP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Who are the </a:t>
            </a:r>
            <a:r>
              <a:rPr kumimoji="0" lang="en-GB" sz="1100" b="1" i="0" u="none" strike="noStrike" kern="1200" cap="none" spc="0" normalizeH="0" baseline="0" noProof="0" dirty="0">
                <a:ln>
                  <a:noFill/>
                </a:ln>
                <a:solidFill>
                  <a:srgbClr val="0070C0">
                    <a:lumMod val="75000"/>
                  </a:srgbClr>
                </a:solidFill>
                <a:effectLst/>
                <a:uLnTx/>
                <a:uFillTx/>
                <a:latin typeface="Franklin Gothic Book" panose="020B0503020102020204"/>
                <a:ea typeface="+mn-ea"/>
                <a:cs typeface="+mn-cs"/>
              </a:rPr>
              <a:t>target audiences </a:t>
            </a: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for PLS, </a:t>
            </a:r>
            <a:b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b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and why?</a:t>
            </a:r>
          </a:p>
        </p:txBody>
      </p:sp>
      <p:sp>
        <p:nvSpPr>
          <p:cNvPr id="38" name="Rectangle 37">
            <a:extLst>
              <a:ext uri="{FF2B5EF4-FFF2-40B4-BE49-F238E27FC236}">
                <a16:creationId xmlns:a16="http://schemas.microsoft.com/office/drawing/2014/main" id="{D01A76BF-FABA-48CF-A1C5-823CA4E6ADAC}"/>
              </a:ext>
            </a:extLst>
          </p:cNvPr>
          <p:cNvSpPr/>
          <p:nvPr/>
        </p:nvSpPr>
        <p:spPr>
          <a:xfrm>
            <a:off x="4714328" y="1918837"/>
            <a:ext cx="3640596" cy="551791"/>
          </a:xfrm>
          <a:prstGeom prst="rect">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361950" marR="0" lvl="0" indent="0" algn="l" defTabSz="685800" rtl="0" eaLnBrk="1" fontAlgn="auto" latinLnBrk="0" hangingPunct="1">
              <a:lnSpc>
                <a:spcPct val="100000"/>
              </a:lnSpc>
              <a:spcBef>
                <a:spcPts val="0"/>
              </a:spcBef>
              <a:spcAft>
                <a:spcPts val="1200"/>
              </a:spcAft>
              <a:buClrTx/>
              <a:buSzTx/>
              <a:buFontTx/>
              <a:buNone/>
              <a:tabLst>
                <a:tab pos="5568950" algn="l"/>
              </a:tabLst>
              <a:defRPr/>
            </a:pP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How can the </a:t>
            </a:r>
            <a:r>
              <a:rPr kumimoji="0" lang="en-GB" sz="1100" b="1" i="0" u="none" strike="noStrike" kern="1200" cap="none" spc="0" normalizeH="0" baseline="0" noProof="0" dirty="0">
                <a:ln>
                  <a:noFill/>
                </a:ln>
                <a:solidFill>
                  <a:srgbClr val="0070C0">
                    <a:lumMod val="75000"/>
                  </a:srgbClr>
                </a:solidFill>
                <a:effectLst/>
                <a:uLnTx/>
                <a:uFillTx/>
                <a:latin typeface="Franklin Gothic Book" panose="020B0503020102020204"/>
                <a:ea typeface="+mn-ea"/>
                <a:cs typeface="+mn-cs"/>
              </a:rPr>
              <a:t>reach, quality and value </a:t>
            </a: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of a PLS </a:t>
            </a:r>
            <a:b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br>
            <a:r>
              <a:rPr kumimoji="0" lang="en-GB" sz="1100" b="0" i="0" u="none" strike="noStrike" kern="1200" cap="none" spc="0" normalizeH="0" baseline="0" noProof="0" dirty="0">
                <a:ln>
                  <a:noFill/>
                </a:ln>
                <a:solidFill>
                  <a:srgbClr val="000000">
                    <a:lumMod val="75000"/>
                    <a:lumOff val="25000"/>
                  </a:srgbClr>
                </a:solidFill>
                <a:effectLst/>
                <a:uLnTx/>
                <a:uFillTx/>
                <a:latin typeface="Franklin Gothic Book" panose="020B0503020102020204"/>
                <a:ea typeface="+mn-ea"/>
                <a:cs typeface="+mn-cs"/>
              </a:rPr>
              <a:t>be measured?</a:t>
            </a:r>
          </a:p>
        </p:txBody>
      </p:sp>
      <p:sp>
        <p:nvSpPr>
          <p:cNvPr id="19" name="Oval 18">
            <a:extLst>
              <a:ext uri="{FF2B5EF4-FFF2-40B4-BE49-F238E27FC236}">
                <a16:creationId xmlns:a16="http://schemas.microsoft.com/office/drawing/2014/main" id="{B799DB7A-A054-4A14-AC1E-BD52EF8DF577}"/>
              </a:ext>
            </a:extLst>
          </p:cNvPr>
          <p:cNvSpPr>
            <a:spLocks/>
          </p:cNvSpPr>
          <p:nvPr/>
        </p:nvSpPr>
        <p:spPr>
          <a:xfrm>
            <a:off x="363192" y="1963375"/>
            <a:ext cx="454416" cy="454416"/>
          </a:xfrm>
          <a:prstGeom prst="ellipse">
            <a:avLst/>
          </a:prstGeom>
          <a:solidFill>
            <a:schemeClr val="accent1"/>
          </a:solidFill>
          <a:ln>
            <a:noFill/>
          </a:ln>
        </p:spPr>
        <p:txBody>
          <a:bodyPr lIns="0" tIns="0" rIns="0" bIns="0" anchor="ctr">
            <a:noAutofit/>
          </a:bodyPr>
          <a:lstStyle/>
          <a:p>
            <a:pPr marL="0" marR="0" lvl="0" indent="0" algn="ctr" defTabSz="685800" rtl="0" eaLnBrk="1" fontAlgn="auto" latinLnBrk="0" hangingPunct="1">
              <a:lnSpc>
                <a:spcPct val="100000"/>
              </a:lnSpc>
              <a:spcBef>
                <a:spcPts val="0"/>
              </a:spcBef>
              <a:spcAft>
                <a:spcPts val="1200"/>
              </a:spcAft>
              <a:buClrTx/>
              <a:buSzTx/>
              <a:buFontTx/>
              <a:buNone/>
              <a:tabLst>
                <a:tab pos="5568950" algn="l"/>
              </a:tabLst>
              <a:defRPr/>
            </a:pPr>
            <a:r>
              <a:rPr kumimoji="0" lang="en-GB" sz="2000" b="1" i="0" u="none" strike="noStrike" kern="1200" cap="none" spc="0" normalizeH="0" baseline="0" noProof="0" dirty="0">
                <a:ln>
                  <a:noFill/>
                </a:ln>
                <a:solidFill>
                  <a:srgbClr val="FFFFFF"/>
                </a:solidFill>
                <a:effectLst/>
                <a:uLnTx/>
                <a:uFillTx/>
                <a:latin typeface="Franklin Gothic Medium" panose="020B0603020102020204"/>
                <a:ea typeface="+mn-ea"/>
                <a:cs typeface="+mn-cs"/>
              </a:rPr>
              <a:t>2</a:t>
            </a:r>
          </a:p>
        </p:txBody>
      </p:sp>
      <p:sp>
        <p:nvSpPr>
          <p:cNvPr id="37" name="Oval 36">
            <a:extLst>
              <a:ext uri="{FF2B5EF4-FFF2-40B4-BE49-F238E27FC236}">
                <a16:creationId xmlns:a16="http://schemas.microsoft.com/office/drawing/2014/main" id="{CE6586B0-5552-470D-96F5-B9074F4EB08D}"/>
              </a:ext>
            </a:extLst>
          </p:cNvPr>
          <p:cNvSpPr>
            <a:spLocks/>
          </p:cNvSpPr>
          <p:nvPr/>
        </p:nvSpPr>
        <p:spPr>
          <a:xfrm>
            <a:off x="4492907" y="1963375"/>
            <a:ext cx="454416" cy="454416"/>
          </a:xfrm>
          <a:prstGeom prst="ellipse">
            <a:avLst/>
          </a:prstGeom>
          <a:solidFill>
            <a:schemeClr val="accent1"/>
          </a:solidFill>
          <a:ln>
            <a:noFill/>
          </a:ln>
        </p:spPr>
        <p:txBody>
          <a:bodyPr lIns="0" tIns="0" rIns="0" bIns="0" anchor="ctr">
            <a:noAutofit/>
          </a:bodyPr>
          <a:lstStyle/>
          <a:p>
            <a:pPr marL="0" marR="0" lvl="0" indent="0" algn="ctr" defTabSz="685800" rtl="0" eaLnBrk="1" fontAlgn="auto" latinLnBrk="0" hangingPunct="1">
              <a:lnSpc>
                <a:spcPct val="100000"/>
              </a:lnSpc>
              <a:spcBef>
                <a:spcPts val="0"/>
              </a:spcBef>
              <a:spcAft>
                <a:spcPts val="1200"/>
              </a:spcAft>
              <a:buClrTx/>
              <a:buSzTx/>
              <a:buFontTx/>
              <a:buNone/>
              <a:tabLst>
                <a:tab pos="5568950" algn="l"/>
              </a:tabLst>
              <a:defRPr/>
            </a:pPr>
            <a:r>
              <a:rPr kumimoji="0" lang="en-GB" sz="2000" b="1" i="0" u="none" strike="noStrike" kern="1200" cap="none" spc="0" normalizeH="0" baseline="0" noProof="0" dirty="0">
                <a:ln>
                  <a:noFill/>
                </a:ln>
                <a:solidFill>
                  <a:srgbClr val="FFFFFF"/>
                </a:solidFill>
                <a:effectLst/>
                <a:uLnTx/>
                <a:uFillTx/>
                <a:latin typeface="Franklin Gothic Medium" panose="020B0603020102020204"/>
                <a:ea typeface="+mn-ea"/>
                <a:cs typeface="+mn-cs"/>
              </a:rPr>
              <a:t>7</a:t>
            </a:r>
          </a:p>
        </p:txBody>
      </p:sp>
      <p:sp>
        <p:nvSpPr>
          <p:cNvPr id="6" name="Title 5">
            <a:extLst>
              <a:ext uri="{FF2B5EF4-FFF2-40B4-BE49-F238E27FC236}">
                <a16:creationId xmlns:a16="http://schemas.microsoft.com/office/drawing/2014/main" id="{49D5A69D-719A-48E8-A652-07D9D1184E90}"/>
              </a:ext>
            </a:extLst>
          </p:cNvPr>
          <p:cNvSpPr>
            <a:spLocks noGrp="1"/>
          </p:cNvSpPr>
          <p:nvPr>
            <p:ph type="title"/>
          </p:nvPr>
        </p:nvSpPr>
        <p:spPr>
          <a:xfrm>
            <a:off x="857250" y="59945"/>
            <a:ext cx="7462661" cy="941541"/>
          </a:xfrm>
        </p:spPr>
        <p:txBody>
          <a:bodyPr/>
          <a:lstStyle/>
          <a:p>
            <a:r>
              <a:rPr lang="en-GB" dirty="0"/>
              <a:t>What were the top 10 key issues discussed?</a:t>
            </a:r>
          </a:p>
        </p:txBody>
      </p:sp>
      <p:sp>
        <p:nvSpPr>
          <p:cNvPr id="24" name="Slide Number Placeholder 2">
            <a:extLst>
              <a:ext uri="{FF2B5EF4-FFF2-40B4-BE49-F238E27FC236}">
                <a16:creationId xmlns:a16="http://schemas.microsoft.com/office/drawing/2014/main" id="{187B504E-3BDA-4694-B689-4FF7893AA3F2}"/>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1</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93512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D3C768D-6AE1-4DE2-B218-B31C864A55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CD3C768D-6AE1-4DE2-B218-B31C864A55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Rectangle 51">
            <a:extLst>
              <a:ext uri="{FF2B5EF4-FFF2-40B4-BE49-F238E27FC236}">
                <a16:creationId xmlns:a16="http://schemas.microsoft.com/office/drawing/2014/main" id="{782B1E95-A450-4F22-914F-66326756A73A}"/>
              </a:ext>
            </a:extLst>
          </p:cNvPr>
          <p:cNvSpPr>
            <a:spLocks/>
          </p:cNvSpPr>
          <p:nvPr/>
        </p:nvSpPr>
        <p:spPr>
          <a:xfrm>
            <a:off x="476255" y="1094459"/>
            <a:ext cx="1306590" cy="236571"/>
          </a:xfrm>
          <a:prstGeom prst="rect">
            <a:avLst/>
          </a:prstGeom>
          <a:noFill/>
        </p:spPr>
        <p:txBody>
          <a:bodyPr lIns="0" tIns="13500" rIns="0" bIns="13500" anchor="ctr">
            <a:noAutofit/>
          </a:bodyPr>
          <a:lstStyle/>
          <a:p>
            <a:pPr marL="0" marR="0" lvl="0" indent="0" algn="l" defTabSz="914400" rtl="0" eaLnBrk="1" fontAlgn="auto" latinLnBrk="0" hangingPunct="1">
              <a:lnSpc>
                <a:spcPct val="100000"/>
              </a:lnSpc>
              <a:spcBef>
                <a:spcPts val="0"/>
              </a:spcBef>
              <a:spcAft>
                <a:spcPts val="1125"/>
              </a:spcAft>
              <a:buClrTx/>
              <a:buSzTx/>
              <a:buFontTx/>
              <a:buNone/>
              <a:tabLst>
                <a:tab pos="2088356" algn="l"/>
              </a:tabLst>
              <a:defRPr/>
            </a:pPr>
            <a:r>
              <a:rPr kumimoji="0" lang="en-GB" sz="1200" b="1" i="0" u="none" strike="noStrike" kern="0" cap="none" spc="0" normalizeH="0" baseline="0" noProof="0" dirty="0">
                <a:ln>
                  <a:noFill/>
                </a:ln>
                <a:solidFill>
                  <a:srgbClr val="4472C4"/>
                </a:solidFill>
                <a:effectLst/>
                <a:uLnTx/>
                <a:uFillTx/>
                <a:latin typeface="Franklin Gothic Medium" panose="020B0603020102020204"/>
                <a:ea typeface="+mn-ea"/>
                <a:cs typeface="+mn-cs"/>
              </a:rPr>
              <a:t>CATEGORY</a:t>
            </a:r>
          </a:p>
        </p:txBody>
      </p:sp>
      <p:sp>
        <p:nvSpPr>
          <p:cNvPr id="50" name="Rectangle 49">
            <a:extLst>
              <a:ext uri="{FF2B5EF4-FFF2-40B4-BE49-F238E27FC236}">
                <a16:creationId xmlns:a16="http://schemas.microsoft.com/office/drawing/2014/main" id="{C0FA24DF-66A4-427B-9129-CE9345E44D4F}"/>
              </a:ext>
            </a:extLst>
          </p:cNvPr>
          <p:cNvSpPr>
            <a:spLocks/>
          </p:cNvSpPr>
          <p:nvPr/>
        </p:nvSpPr>
        <p:spPr>
          <a:xfrm>
            <a:off x="2235119" y="1094459"/>
            <a:ext cx="2011440" cy="236572"/>
          </a:xfrm>
          <a:prstGeom prst="rect">
            <a:avLst/>
          </a:prstGeom>
          <a:noFill/>
        </p:spPr>
        <p:txBody>
          <a:bodyPr lIns="0" tIns="13500" rIns="0" bIns="13500" anchor="ctr">
            <a:noAutofit/>
          </a:bodyPr>
          <a:lstStyle/>
          <a:p>
            <a:pPr marL="0" marR="0" lvl="0" indent="0" algn="l" defTabSz="914400" rtl="0" eaLnBrk="1" fontAlgn="auto" latinLnBrk="0" hangingPunct="1">
              <a:lnSpc>
                <a:spcPct val="100000"/>
              </a:lnSpc>
              <a:spcBef>
                <a:spcPts val="0"/>
              </a:spcBef>
              <a:spcAft>
                <a:spcPts val="1125"/>
              </a:spcAft>
              <a:buClrTx/>
              <a:buSzTx/>
              <a:buFontTx/>
              <a:buNone/>
              <a:tabLst>
                <a:tab pos="2088356" algn="l"/>
              </a:tabLst>
              <a:defRPr/>
            </a:pPr>
            <a:r>
              <a:rPr kumimoji="0" lang="en-GB" sz="1200" b="1" i="0" u="none" strike="noStrike" kern="0" cap="none" spc="0" normalizeH="0" baseline="0" noProof="0" dirty="0">
                <a:ln>
                  <a:noFill/>
                </a:ln>
                <a:solidFill>
                  <a:srgbClr val="4472C4"/>
                </a:solidFill>
                <a:effectLst/>
                <a:uLnTx/>
                <a:uFillTx/>
                <a:latin typeface="Franklin Gothic Medium" panose="020B0603020102020204"/>
                <a:ea typeface="+mn-ea"/>
                <a:cs typeface="+mn-cs"/>
              </a:rPr>
              <a:t>EMERGING THEMES</a:t>
            </a:r>
          </a:p>
        </p:txBody>
      </p:sp>
      <p:sp>
        <p:nvSpPr>
          <p:cNvPr id="56" name="Freeform: Shape 55">
            <a:extLst>
              <a:ext uri="{FF2B5EF4-FFF2-40B4-BE49-F238E27FC236}">
                <a16:creationId xmlns:a16="http://schemas.microsoft.com/office/drawing/2014/main" id="{3993B976-A495-4146-9D35-AFD1886E0A18}"/>
              </a:ext>
            </a:extLst>
          </p:cNvPr>
          <p:cNvSpPr>
            <a:spLocks/>
          </p:cNvSpPr>
          <p:nvPr/>
        </p:nvSpPr>
        <p:spPr>
          <a:xfrm>
            <a:off x="476255" y="1436705"/>
            <a:ext cx="1200145" cy="252000"/>
          </a:xfrm>
          <a:custGeom>
            <a:avLst/>
            <a:gdLst>
              <a:gd name="connsiteX0" fmla="*/ 0 w 1026331"/>
              <a:gd name="connsiteY0" fmla="*/ 0 h 252000"/>
              <a:gd name="connsiteX1" fmla="*/ 1026331 w 1026331"/>
              <a:gd name="connsiteY1" fmla="*/ 0 h 252000"/>
              <a:gd name="connsiteX2" fmla="*/ 963331 w 1026331"/>
              <a:gd name="connsiteY2" fmla="*/ 252000 h 252000"/>
              <a:gd name="connsiteX3" fmla="*/ 0 w 1026331"/>
              <a:gd name="connsiteY3" fmla="*/ 252000 h 252000"/>
              <a:gd name="connsiteX4" fmla="*/ 0 w 1026331"/>
              <a:gd name="connsiteY4" fmla="*/ 0 h 25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331" h="252000">
                <a:moveTo>
                  <a:pt x="0" y="0"/>
                </a:moveTo>
                <a:lnTo>
                  <a:pt x="1026331" y="0"/>
                </a:lnTo>
                <a:lnTo>
                  <a:pt x="963331" y="252000"/>
                </a:lnTo>
                <a:lnTo>
                  <a:pt x="0" y="252000"/>
                </a:lnTo>
                <a:lnTo>
                  <a:pt x="0" y="0"/>
                </a:lnTo>
                <a:close/>
              </a:path>
            </a:pathLst>
          </a:custGeom>
          <a:solidFill>
            <a:schemeClr val="accent2"/>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4472C4"/>
              </a:solidFill>
              <a:effectLst/>
              <a:uLnTx/>
              <a:uFillTx/>
              <a:latin typeface="Franklin Gothic Medium" panose="020B0603020102020204"/>
              <a:ea typeface="+mn-ea"/>
              <a:cs typeface="+mn-cs"/>
            </a:endParaRPr>
          </a:p>
        </p:txBody>
      </p:sp>
      <p:sp>
        <p:nvSpPr>
          <p:cNvPr id="57" name="Rectangle 56">
            <a:extLst>
              <a:ext uri="{FF2B5EF4-FFF2-40B4-BE49-F238E27FC236}">
                <a16:creationId xmlns:a16="http://schemas.microsoft.com/office/drawing/2014/main" id="{FB749A42-9AE6-4683-975D-D08D33B65B78}"/>
              </a:ext>
            </a:extLst>
          </p:cNvPr>
          <p:cNvSpPr/>
          <p:nvPr/>
        </p:nvSpPr>
        <p:spPr>
          <a:xfrm>
            <a:off x="572914" y="1472705"/>
            <a:ext cx="619573" cy="180000"/>
          </a:xfrm>
          <a:prstGeom prst="rect">
            <a:avLst/>
          </a:prstGeom>
          <a:noFill/>
        </p:spPr>
        <p:txBody>
          <a:bodyPr lIns="0" tIns="13500" rIns="0" bIns="13500" anchor="ctr">
            <a:noAutofit/>
          </a:bodyPr>
          <a:lstStyle/>
          <a:p>
            <a:pPr marL="0" marR="0" lvl="0" indent="0" algn="l" defTabSz="914400" rtl="0" eaLnBrk="1" fontAlgn="auto" latinLnBrk="0" hangingPunct="1">
              <a:lnSpc>
                <a:spcPct val="90000"/>
              </a:lnSpc>
              <a:spcBef>
                <a:spcPts val="0"/>
              </a:spcBef>
              <a:spcAft>
                <a:spcPts val="225"/>
              </a:spcAft>
              <a:buClrTx/>
              <a:buSzTx/>
              <a:buFontTx/>
              <a:buNone/>
              <a:tabLst>
                <a:tab pos="2088356" algn="l"/>
              </a:tabLst>
              <a:defRPr/>
            </a:pPr>
            <a:r>
              <a:rPr kumimoji="0" lang="en-GB" sz="1100" b="1" i="0" u="none" strike="noStrike" kern="0" cap="none" spc="0" normalizeH="0" baseline="0" noProof="0" dirty="0">
                <a:ln>
                  <a:noFill/>
                </a:ln>
                <a:solidFill>
                  <a:prstClr val="white"/>
                </a:solidFill>
                <a:effectLst/>
                <a:uLnTx/>
                <a:uFillTx/>
                <a:latin typeface="Franklin Gothic Medium" panose="020B0603020102020204"/>
                <a:ea typeface="+mn-ea"/>
                <a:cs typeface="+mn-cs"/>
              </a:rPr>
              <a:t>WHY?</a:t>
            </a:r>
          </a:p>
        </p:txBody>
      </p:sp>
      <p:sp>
        <p:nvSpPr>
          <p:cNvPr id="55" name="Rectangle 54">
            <a:extLst>
              <a:ext uri="{FF2B5EF4-FFF2-40B4-BE49-F238E27FC236}">
                <a16:creationId xmlns:a16="http://schemas.microsoft.com/office/drawing/2014/main" id="{913F531A-8284-447B-9A93-73FD91CBDC5E}"/>
              </a:ext>
            </a:extLst>
          </p:cNvPr>
          <p:cNvSpPr>
            <a:spLocks/>
          </p:cNvSpPr>
          <p:nvPr/>
        </p:nvSpPr>
        <p:spPr>
          <a:xfrm>
            <a:off x="2235119" y="1454729"/>
            <a:ext cx="6766006" cy="215952"/>
          </a:xfrm>
          <a:prstGeom prst="rect">
            <a:avLst/>
          </a:prstGeom>
        </p:spPr>
        <p:txBody>
          <a:bodyPr lIns="0" tIns="13500" rIns="0" bIns="13500" anchor="t">
            <a:noAutofit/>
          </a:bodyPr>
          <a:lstStyle/>
          <a:p>
            <a:pPr marL="0" marR="0" lvl="0" indent="0" algn="l" defTabSz="914400" rtl="0" eaLnBrk="1" fontAlgn="auto" latinLnBrk="0" hangingPunct="1">
              <a:lnSpc>
                <a:spcPct val="100000"/>
              </a:lnSpc>
              <a:spcBef>
                <a:spcPts val="0"/>
              </a:spcBef>
              <a:spcAft>
                <a:spcPts val="100"/>
              </a:spcAft>
              <a:buClrTx/>
              <a:buSzTx/>
              <a:buFontTx/>
              <a:buNone/>
              <a:tabLst>
                <a:tab pos="2088356" algn="l"/>
              </a:tabLst>
              <a:defRPr/>
            </a:pP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Target end-users highlight </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unmet need and advocate </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for PLS</a:t>
            </a:r>
          </a:p>
        </p:txBody>
      </p:sp>
      <p:sp>
        <p:nvSpPr>
          <p:cNvPr id="61" name="Freeform: Shape 60">
            <a:extLst>
              <a:ext uri="{FF2B5EF4-FFF2-40B4-BE49-F238E27FC236}">
                <a16:creationId xmlns:a16="http://schemas.microsoft.com/office/drawing/2014/main" id="{A21EA043-B8AB-42A6-8D94-976120AB558D}"/>
              </a:ext>
            </a:extLst>
          </p:cNvPr>
          <p:cNvSpPr>
            <a:spLocks/>
          </p:cNvSpPr>
          <p:nvPr/>
        </p:nvSpPr>
        <p:spPr>
          <a:xfrm>
            <a:off x="476255" y="1938408"/>
            <a:ext cx="1200145" cy="252000"/>
          </a:xfrm>
          <a:custGeom>
            <a:avLst/>
            <a:gdLst>
              <a:gd name="connsiteX0" fmla="*/ 0 w 1026331"/>
              <a:gd name="connsiteY0" fmla="*/ 0 h 252000"/>
              <a:gd name="connsiteX1" fmla="*/ 1026331 w 1026331"/>
              <a:gd name="connsiteY1" fmla="*/ 0 h 252000"/>
              <a:gd name="connsiteX2" fmla="*/ 963331 w 1026331"/>
              <a:gd name="connsiteY2" fmla="*/ 252000 h 252000"/>
              <a:gd name="connsiteX3" fmla="*/ 0 w 1026331"/>
              <a:gd name="connsiteY3" fmla="*/ 252000 h 252000"/>
              <a:gd name="connsiteX4" fmla="*/ 0 w 1026331"/>
              <a:gd name="connsiteY4" fmla="*/ 0 h 25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331" h="252000">
                <a:moveTo>
                  <a:pt x="0" y="0"/>
                </a:moveTo>
                <a:lnTo>
                  <a:pt x="1026331" y="0"/>
                </a:lnTo>
                <a:lnTo>
                  <a:pt x="963331" y="252000"/>
                </a:lnTo>
                <a:lnTo>
                  <a:pt x="0" y="252000"/>
                </a:lnTo>
                <a:lnTo>
                  <a:pt x="0" y="0"/>
                </a:lnTo>
                <a:close/>
              </a:path>
            </a:pathLst>
          </a:custGeom>
          <a:solidFill>
            <a:schemeClr val="accent2"/>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4472C4"/>
              </a:solidFill>
              <a:effectLst/>
              <a:uLnTx/>
              <a:uFillTx/>
              <a:latin typeface="Franklin Gothic Medium" panose="020B0603020102020204"/>
              <a:ea typeface="+mn-ea"/>
              <a:cs typeface="+mn-cs"/>
            </a:endParaRPr>
          </a:p>
        </p:txBody>
      </p:sp>
      <p:sp>
        <p:nvSpPr>
          <p:cNvPr id="62" name="Rectangle 61">
            <a:extLst>
              <a:ext uri="{FF2B5EF4-FFF2-40B4-BE49-F238E27FC236}">
                <a16:creationId xmlns:a16="http://schemas.microsoft.com/office/drawing/2014/main" id="{B8BF4AA1-7DAF-4CDA-B958-100AF10B9482}"/>
              </a:ext>
            </a:extLst>
          </p:cNvPr>
          <p:cNvSpPr/>
          <p:nvPr/>
        </p:nvSpPr>
        <p:spPr>
          <a:xfrm>
            <a:off x="572914" y="1974408"/>
            <a:ext cx="619573" cy="180000"/>
          </a:xfrm>
          <a:prstGeom prst="rect">
            <a:avLst/>
          </a:prstGeom>
          <a:noFill/>
        </p:spPr>
        <p:txBody>
          <a:bodyPr lIns="0" tIns="13500" rIns="0" bIns="13500" anchor="ctr">
            <a:noAutofit/>
          </a:bodyPr>
          <a:lstStyle/>
          <a:p>
            <a:pPr marL="0" marR="0" lvl="0" indent="0" algn="l" defTabSz="914400" rtl="0" eaLnBrk="1" fontAlgn="auto" latinLnBrk="0" hangingPunct="1">
              <a:lnSpc>
                <a:spcPct val="90000"/>
              </a:lnSpc>
              <a:spcBef>
                <a:spcPts val="0"/>
              </a:spcBef>
              <a:spcAft>
                <a:spcPts val="225"/>
              </a:spcAft>
              <a:buClrTx/>
              <a:buSzTx/>
              <a:buFontTx/>
              <a:buNone/>
              <a:tabLst>
                <a:tab pos="2088356" algn="l"/>
              </a:tabLst>
              <a:defRPr/>
            </a:pPr>
            <a:r>
              <a:rPr kumimoji="0" lang="en-GB" sz="1100" b="1" i="0" u="none" strike="noStrike" kern="0" cap="none" spc="0" normalizeH="0" baseline="0" noProof="0" dirty="0">
                <a:ln>
                  <a:noFill/>
                </a:ln>
                <a:solidFill>
                  <a:prstClr val="white"/>
                </a:solidFill>
                <a:effectLst/>
                <a:uLnTx/>
                <a:uFillTx/>
                <a:latin typeface="Franklin Gothic Medium" panose="020B0603020102020204"/>
                <a:ea typeface="+mn-ea"/>
                <a:cs typeface="+mn-cs"/>
              </a:rPr>
              <a:t>WHEN?</a:t>
            </a:r>
          </a:p>
        </p:txBody>
      </p:sp>
      <p:sp>
        <p:nvSpPr>
          <p:cNvPr id="60" name="Rectangle 59">
            <a:extLst>
              <a:ext uri="{FF2B5EF4-FFF2-40B4-BE49-F238E27FC236}">
                <a16:creationId xmlns:a16="http://schemas.microsoft.com/office/drawing/2014/main" id="{C65407A3-0DA6-4BA4-B415-4D5CA8CD80D6}"/>
              </a:ext>
            </a:extLst>
          </p:cNvPr>
          <p:cNvSpPr>
            <a:spLocks/>
          </p:cNvSpPr>
          <p:nvPr/>
        </p:nvSpPr>
        <p:spPr>
          <a:xfrm>
            <a:off x="2235119" y="1884408"/>
            <a:ext cx="6766006" cy="360000"/>
          </a:xfrm>
          <a:prstGeom prst="rect">
            <a:avLst/>
          </a:prstGeom>
        </p:spPr>
        <p:txBody>
          <a:bodyPr lIns="0" tIns="13500" rIns="0" bIns="13500" anchor="t">
            <a:noAutofit/>
          </a:bodyPr>
          <a:lstStyle/>
          <a:p>
            <a:pPr marL="0" marR="0" lvl="0" indent="0" algn="l" defTabSz="914400" rtl="0" eaLnBrk="1" fontAlgn="auto" latinLnBrk="0" hangingPunct="1">
              <a:lnSpc>
                <a:spcPct val="100000"/>
              </a:lnSpc>
              <a:spcBef>
                <a:spcPts val="0"/>
              </a:spcBef>
              <a:spcAft>
                <a:spcPts val="100"/>
              </a:spcAft>
              <a:buClrTx/>
              <a:buSzTx/>
              <a:buFontTx/>
              <a:buNone/>
              <a:tabLst>
                <a:tab pos="2088356" algn="l"/>
              </a:tabLst>
              <a:defRPr/>
            </a:pP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Clear directive for </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when</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 manuscripts should have a PLS</a:t>
            </a:r>
          </a:p>
          <a:p>
            <a:pPr marL="0" marR="0" lvl="0" indent="0" algn="l" defTabSz="914400" rtl="0" eaLnBrk="1" fontAlgn="auto" latinLnBrk="0" hangingPunct="1">
              <a:lnSpc>
                <a:spcPct val="100000"/>
              </a:lnSpc>
              <a:spcBef>
                <a:spcPts val="0"/>
              </a:spcBef>
              <a:spcAft>
                <a:spcPts val="100"/>
              </a:spcAft>
              <a:buClrTx/>
              <a:buSzTx/>
              <a:buFontTx/>
              <a:buNone/>
              <a:tabLst>
                <a:tab pos="2088356" algn="l"/>
              </a:tabLst>
              <a:defRPr/>
            </a:pP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Call on </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key journals </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to lead the way by</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 publishing </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PLS</a:t>
            </a:r>
          </a:p>
        </p:txBody>
      </p:sp>
      <p:sp>
        <p:nvSpPr>
          <p:cNvPr id="66" name="Freeform: Shape 65">
            <a:extLst>
              <a:ext uri="{FF2B5EF4-FFF2-40B4-BE49-F238E27FC236}">
                <a16:creationId xmlns:a16="http://schemas.microsoft.com/office/drawing/2014/main" id="{7E238E21-A9C2-4348-A751-E1B8CBC415BF}"/>
              </a:ext>
            </a:extLst>
          </p:cNvPr>
          <p:cNvSpPr>
            <a:spLocks/>
          </p:cNvSpPr>
          <p:nvPr/>
        </p:nvSpPr>
        <p:spPr>
          <a:xfrm>
            <a:off x="476255" y="2425261"/>
            <a:ext cx="1200145" cy="252000"/>
          </a:xfrm>
          <a:custGeom>
            <a:avLst/>
            <a:gdLst>
              <a:gd name="connsiteX0" fmla="*/ 0 w 1026331"/>
              <a:gd name="connsiteY0" fmla="*/ 0 h 252000"/>
              <a:gd name="connsiteX1" fmla="*/ 1026331 w 1026331"/>
              <a:gd name="connsiteY1" fmla="*/ 0 h 252000"/>
              <a:gd name="connsiteX2" fmla="*/ 963331 w 1026331"/>
              <a:gd name="connsiteY2" fmla="*/ 252000 h 252000"/>
              <a:gd name="connsiteX3" fmla="*/ 0 w 1026331"/>
              <a:gd name="connsiteY3" fmla="*/ 252000 h 252000"/>
              <a:gd name="connsiteX4" fmla="*/ 0 w 1026331"/>
              <a:gd name="connsiteY4" fmla="*/ 0 h 25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331" h="252000">
                <a:moveTo>
                  <a:pt x="0" y="0"/>
                </a:moveTo>
                <a:lnTo>
                  <a:pt x="1026331" y="0"/>
                </a:lnTo>
                <a:lnTo>
                  <a:pt x="963331" y="252000"/>
                </a:lnTo>
                <a:lnTo>
                  <a:pt x="0" y="252000"/>
                </a:lnTo>
                <a:lnTo>
                  <a:pt x="0" y="0"/>
                </a:lnTo>
                <a:close/>
              </a:path>
            </a:pathLst>
          </a:custGeom>
          <a:solidFill>
            <a:schemeClr val="accent2"/>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4472C4"/>
              </a:solidFill>
              <a:effectLst/>
              <a:uLnTx/>
              <a:uFillTx/>
              <a:latin typeface="Franklin Gothic Medium" panose="020B0603020102020204"/>
              <a:ea typeface="+mn-ea"/>
              <a:cs typeface="+mn-cs"/>
            </a:endParaRPr>
          </a:p>
        </p:txBody>
      </p:sp>
      <p:sp>
        <p:nvSpPr>
          <p:cNvPr id="67" name="Rectangle 66">
            <a:extLst>
              <a:ext uri="{FF2B5EF4-FFF2-40B4-BE49-F238E27FC236}">
                <a16:creationId xmlns:a16="http://schemas.microsoft.com/office/drawing/2014/main" id="{F5B29413-0B7C-43DF-BF7C-7849B36B909E}"/>
              </a:ext>
            </a:extLst>
          </p:cNvPr>
          <p:cNvSpPr/>
          <p:nvPr/>
        </p:nvSpPr>
        <p:spPr>
          <a:xfrm>
            <a:off x="572914" y="2461261"/>
            <a:ext cx="619573" cy="180000"/>
          </a:xfrm>
          <a:prstGeom prst="rect">
            <a:avLst/>
          </a:prstGeom>
          <a:noFill/>
        </p:spPr>
        <p:txBody>
          <a:bodyPr lIns="0" tIns="13500" rIns="0" bIns="13500" anchor="ctr">
            <a:noAutofit/>
          </a:bodyPr>
          <a:lstStyle/>
          <a:p>
            <a:pPr marL="0" marR="0" lvl="0" indent="0" algn="l" defTabSz="914400" rtl="0" eaLnBrk="1" fontAlgn="auto" latinLnBrk="0" hangingPunct="1">
              <a:lnSpc>
                <a:spcPct val="90000"/>
              </a:lnSpc>
              <a:spcBef>
                <a:spcPts val="0"/>
              </a:spcBef>
              <a:spcAft>
                <a:spcPts val="225"/>
              </a:spcAft>
              <a:buClrTx/>
              <a:buSzTx/>
              <a:buFontTx/>
              <a:buNone/>
              <a:tabLst>
                <a:tab pos="2088356" algn="l"/>
              </a:tabLst>
              <a:defRPr/>
            </a:pPr>
            <a:r>
              <a:rPr kumimoji="0" lang="en-GB" sz="1100" b="1" i="0" u="none" strike="noStrike" kern="0" cap="none" spc="0" normalizeH="0" baseline="0" noProof="0" dirty="0">
                <a:ln>
                  <a:noFill/>
                </a:ln>
                <a:solidFill>
                  <a:prstClr val="white"/>
                </a:solidFill>
                <a:effectLst/>
                <a:uLnTx/>
                <a:uFillTx/>
                <a:latin typeface="Franklin Gothic Medium" panose="020B0603020102020204"/>
                <a:ea typeface="+mn-ea"/>
                <a:cs typeface="+mn-cs"/>
              </a:rPr>
              <a:t>WHO?</a:t>
            </a:r>
          </a:p>
        </p:txBody>
      </p:sp>
      <p:sp>
        <p:nvSpPr>
          <p:cNvPr id="65" name="Rectangle 64">
            <a:extLst>
              <a:ext uri="{FF2B5EF4-FFF2-40B4-BE49-F238E27FC236}">
                <a16:creationId xmlns:a16="http://schemas.microsoft.com/office/drawing/2014/main" id="{0EFAFC98-B801-4E3F-B475-08AD9F45A202}"/>
              </a:ext>
            </a:extLst>
          </p:cNvPr>
          <p:cNvSpPr>
            <a:spLocks/>
          </p:cNvSpPr>
          <p:nvPr/>
        </p:nvSpPr>
        <p:spPr>
          <a:xfrm>
            <a:off x="2235119" y="2461261"/>
            <a:ext cx="6766006" cy="180000"/>
          </a:xfrm>
          <a:prstGeom prst="rect">
            <a:avLst/>
          </a:prstGeom>
        </p:spPr>
        <p:txBody>
          <a:bodyPr lIns="0" tIns="13500" rIns="0" bIns="13500" anchor="t">
            <a:noAutofit/>
          </a:bodyPr>
          <a:lstStyle/>
          <a:p>
            <a:pPr marL="0" marR="0" lvl="0" indent="0" algn="l" defTabSz="914400" rtl="0" eaLnBrk="1" fontAlgn="auto" latinLnBrk="0" hangingPunct="1">
              <a:lnSpc>
                <a:spcPct val="100000"/>
              </a:lnSpc>
              <a:spcBef>
                <a:spcPts val="0"/>
              </a:spcBef>
              <a:spcAft>
                <a:spcPts val="100"/>
              </a:spcAft>
              <a:buClrTx/>
              <a:buSzTx/>
              <a:buFontTx/>
              <a:buNone/>
              <a:tabLst>
                <a:tab pos="2088356" algn="l"/>
              </a:tabLst>
              <a:defRPr/>
            </a:pP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PLS stakeholders would benefit from </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guidance on optimal co-creation</a:t>
            </a:r>
          </a:p>
        </p:txBody>
      </p:sp>
      <p:sp>
        <p:nvSpPr>
          <p:cNvPr id="71" name="Freeform: Shape 70">
            <a:extLst>
              <a:ext uri="{FF2B5EF4-FFF2-40B4-BE49-F238E27FC236}">
                <a16:creationId xmlns:a16="http://schemas.microsoft.com/office/drawing/2014/main" id="{5611C4D0-9A5B-4475-BE49-01D66AF6D819}"/>
              </a:ext>
            </a:extLst>
          </p:cNvPr>
          <p:cNvSpPr>
            <a:spLocks/>
          </p:cNvSpPr>
          <p:nvPr/>
        </p:nvSpPr>
        <p:spPr>
          <a:xfrm>
            <a:off x="476255" y="2913164"/>
            <a:ext cx="1200145" cy="252000"/>
          </a:xfrm>
          <a:custGeom>
            <a:avLst/>
            <a:gdLst>
              <a:gd name="connsiteX0" fmla="*/ 0 w 1026331"/>
              <a:gd name="connsiteY0" fmla="*/ 0 h 252000"/>
              <a:gd name="connsiteX1" fmla="*/ 1026331 w 1026331"/>
              <a:gd name="connsiteY1" fmla="*/ 0 h 252000"/>
              <a:gd name="connsiteX2" fmla="*/ 963331 w 1026331"/>
              <a:gd name="connsiteY2" fmla="*/ 252000 h 252000"/>
              <a:gd name="connsiteX3" fmla="*/ 0 w 1026331"/>
              <a:gd name="connsiteY3" fmla="*/ 252000 h 252000"/>
              <a:gd name="connsiteX4" fmla="*/ 0 w 1026331"/>
              <a:gd name="connsiteY4" fmla="*/ 0 h 25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331" h="252000">
                <a:moveTo>
                  <a:pt x="0" y="0"/>
                </a:moveTo>
                <a:lnTo>
                  <a:pt x="1026331" y="0"/>
                </a:lnTo>
                <a:lnTo>
                  <a:pt x="963331" y="252000"/>
                </a:lnTo>
                <a:lnTo>
                  <a:pt x="0" y="252000"/>
                </a:lnTo>
                <a:lnTo>
                  <a:pt x="0" y="0"/>
                </a:lnTo>
                <a:close/>
              </a:path>
            </a:pathLst>
          </a:custGeom>
          <a:solidFill>
            <a:schemeClr val="accent2"/>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4472C4"/>
              </a:solidFill>
              <a:effectLst/>
              <a:uLnTx/>
              <a:uFillTx/>
              <a:latin typeface="Franklin Gothic Medium" panose="020B0603020102020204"/>
              <a:ea typeface="+mn-ea"/>
              <a:cs typeface="+mn-cs"/>
            </a:endParaRPr>
          </a:p>
        </p:txBody>
      </p:sp>
      <p:sp>
        <p:nvSpPr>
          <p:cNvPr id="72" name="Rectangle 71">
            <a:extLst>
              <a:ext uri="{FF2B5EF4-FFF2-40B4-BE49-F238E27FC236}">
                <a16:creationId xmlns:a16="http://schemas.microsoft.com/office/drawing/2014/main" id="{B7959587-43B0-4037-A476-6E55FBB844C6}"/>
              </a:ext>
            </a:extLst>
          </p:cNvPr>
          <p:cNvSpPr/>
          <p:nvPr/>
        </p:nvSpPr>
        <p:spPr>
          <a:xfrm>
            <a:off x="572914" y="2949164"/>
            <a:ext cx="619573" cy="180000"/>
          </a:xfrm>
          <a:prstGeom prst="rect">
            <a:avLst/>
          </a:prstGeom>
          <a:noFill/>
        </p:spPr>
        <p:txBody>
          <a:bodyPr lIns="0" tIns="13500" rIns="0" bIns="13500" anchor="ctr">
            <a:noAutofit/>
          </a:bodyPr>
          <a:lstStyle/>
          <a:p>
            <a:pPr marL="0" marR="0" lvl="0" indent="0" algn="l" defTabSz="914400" rtl="0" eaLnBrk="1" fontAlgn="auto" latinLnBrk="0" hangingPunct="1">
              <a:lnSpc>
                <a:spcPct val="90000"/>
              </a:lnSpc>
              <a:spcBef>
                <a:spcPts val="0"/>
              </a:spcBef>
              <a:spcAft>
                <a:spcPts val="225"/>
              </a:spcAft>
              <a:buClrTx/>
              <a:buSzTx/>
              <a:buFontTx/>
              <a:buNone/>
              <a:tabLst>
                <a:tab pos="2088356" algn="l"/>
              </a:tabLst>
              <a:defRPr/>
            </a:pPr>
            <a:r>
              <a:rPr kumimoji="0" lang="en-GB" sz="1100" b="1" i="0" u="none" strike="noStrike" kern="0" cap="none" spc="0" normalizeH="0" baseline="0" noProof="0" dirty="0">
                <a:ln>
                  <a:noFill/>
                </a:ln>
                <a:solidFill>
                  <a:prstClr val="white"/>
                </a:solidFill>
                <a:effectLst/>
                <a:uLnTx/>
                <a:uFillTx/>
                <a:latin typeface="Franklin Gothic Medium" panose="020B0603020102020204"/>
                <a:ea typeface="+mn-ea"/>
                <a:cs typeface="+mn-cs"/>
              </a:rPr>
              <a:t>WHAT?</a:t>
            </a:r>
          </a:p>
        </p:txBody>
      </p:sp>
      <p:sp>
        <p:nvSpPr>
          <p:cNvPr id="70" name="Rectangle 69">
            <a:extLst>
              <a:ext uri="{FF2B5EF4-FFF2-40B4-BE49-F238E27FC236}">
                <a16:creationId xmlns:a16="http://schemas.microsoft.com/office/drawing/2014/main" id="{DC65E4AD-EF49-443A-BFFB-264060273705}"/>
              </a:ext>
            </a:extLst>
          </p:cNvPr>
          <p:cNvSpPr>
            <a:spLocks/>
          </p:cNvSpPr>
          <p:nvPr/>
        </p:nvSpPr>
        <p:spPr>
          <a:xfrm>
            <a:off x="2235119" y="2841164"/>
            <a:ext cx="6766006" cy="377999"/>
          </a:xfrm>
          <a:prstGeom prst="rect">
            <a:avLst/>
          </a:prstGeom>
        </p:spPr>
        <p:txBody>
          <a:bodyPr lIns="0" tIns="13500" rIns="0" bIns="13500" anchor="t">
            <a:noAutofit/>
          </a:bodyPr>
          <a:lstStyle/>
          <a:p>
            <a:pPr marL="0" marR="0" lvl="0" indent="0" algn="l" defTabSz="914400" rtl="0" eaLnBrk="1" fontAlgn="auto" latinLnBrk="0" hangingPunct="1">
              <a:lnSpc>
                <a:spcPct val="100000"/>
              </a:lnSpc>
              <a:spcBef>
                <a:spcPts val="0"/>
              </a:spcBef>
              <a:spcAft>
                <a:spcPts val="100"/>
              </a:spcAft>
              <a:buClrTx/>
              <a:buSzTx/>
              <a:buFontTx/>
              <a:buNone/>
              <a:tabLst>
                <a:tab pos="2088356" algn="l"/>
              </a:tabLst>
              <a:defRPr/>
            </a:pP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Tools</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 such as templates, to</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 </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guide</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 content development</a:t>
            </a:r>
          </a:p>
          <a:p>
            <a:pPr marL="0" marR="0" lvl="0" indent="0" algn="l" defTabSz="914400" rtl="0" eaLnBrk="1" fontAlgn="auto" latinLnBrk="0" hangingPunct="1">
              <a:lnSpc>
                <a:spcPct val="100000"/>
              </a:lnSpc>
              <a:spcBef>
                <a:spcPts val="0"/>
              </a:spcBef>
              <a:spcAft>
                <a:spcPts val="100"/>
              </a:spcAft>
              <a:buClrTx/>
              <a:buSzTx/>
              <a:buFontTx/>
              <a:buNone/>
              <a:tabLst>
                <a:tab pos="2088356" algn="l"/>
              </a:tabLst>
              <a:defRPr/>
            </a:pP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Industry-recognised </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guidelines</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 to define and maintain quality</a:t>
            </a:r>
          </a:p>
        </p:txBody>
      </p:sp>
      <p:sp>
        <p:nvSpPr>
          <p:cNvPr id="76" name="Freeform: Shape 75">
            <a:extLst>
              <a:ext uri="{FF2B5EF4-FFF2-40B4-BE49-F238E27FC236}">
                <a16:creationId xmlns:a16="http://schemas.microsoft.com/office/drawing/2014/main" id="{640C58C3-FA28-4258-A7A4-EC7C8DE2F381}"/>
              </a:ext>
            </a:extLst>
          </p:cNvPr>
          <p:cNvSpPr>
            <a:spLocks/>
          </p:cNvSpPr>
          <p:nvPr/>
        </p:nvSpPr>
        <p:spPr>
          <a:xfrm>
            <a:off x="476255" y="3415392"/>
            <a:ext cx="1200145" cy="252000"/>
          </a:xfrm>
          <a:custGeom>
            <a:avLst/>
            <a:gdLst>
              <a:gd name="connsiteX0" fmla="*/ 0 w 1026331"/>
              <a:gd name="connsiteY0" fmla="*/ 0 h 252000"/>
              <a:gd name="connsiteX1" fmla="*/ 1026331 w 1026331"/>
              <a:gd name="connsiteY1" fmla="*/ 0 h 252000"/>
              <a:gd name="connsiteX2" fmla="*/ 963331 w 1026331"/>
              <a:gd name="connsiteY2" fmla="*/ 252000 h 252000"/>
              <a:gd name="connsiteX3" fmla="*/ 0 w 1026331"/>
              <a:gd name="connsiteY3" fmla="*/ 252000 h 252000"/>
              <a:gd name="connsiteX4" fmla="*/ 0 w 1026331"/>
              <a:gd name="connsiteY4" fmla="*/ 0 h 25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331" h="252000">
                <a:moveTo>
                  <a:pt x="0" y="0"/>
                </a:moveTo>
                <a:lnTo>
                  <a:pt x="1026331" y="0"/>
                </a:lnTo>
                <a:lnTo>
                  <a:pt x="963331" y="252000"/>
                </a:lnTo>
                <a:lnTo>
                  <a:pt x="0" y="252000"/>
                </a:lnTo>
                <a:lnTo>
                  <a:pt x="0" y="0"/>
                </a:lnTo>
                <a:close/>
              </a:path>
            </a:pathLst>
          </a:custGeom>
          <a:solidFill>
            <a:schemeClr val="accent2"/>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4472C4"/>
              </a:solidFill>
              <a:effectLst/>
              <a:uLnTx/>
              <a:uFillTx/>
              <a:latin typeface="Franklin Gothic Medium" panose="020B0603020102020204"/>
              <a:ea typeface="+mn-ea"/>
              <a:cs typeface="+mn-cs"/>
            </a:endParaRPr>
          </a:p>
        </p:txBody>
      </p:sp>
      <p:sp>
        <p:nvSpPr>
          <p:cNvPr id="77" name="Rectangle 76">
            <a:extLst>
              <a:ext uri="{FF2B5EF4-FFF2-40B4-BE49-F238E27FC236}">
                <a16:creationId xmlns:a16="http://schemas.microsoft.com/office/drawing/2014/main" id="{ADDA7B3C-C1EA-40E0-BA1A-B0E4D422D405}"/>
              </a:ext>
            </a:extLst>
          </p:cNvPr>
          <p:cNvSpPr/>
          <p:nvPr/>
        </p:nvSpPr>
        <p:spPr>
          <a:xfrm>
            <a:off x="572914" y="3446667"/>
            <a:ext cx="619573" cy="180000"/>
          </a:xfrm>
          <a:prstGeom prst="rect">
            <a:avLst/>
          </a:prstGeom>
          <a:noFill/>
        </p:spPr>
        <p:txBody>
          <a:bodyPr lIns="0" tIns="13500" rIns="0" bIns="13500" anchor="ctr">
            <a:noAutofit/>
          </a:bodyPr>
          <a:lstStyle/>
          <a:p>
            <a:pPr marL="0" marR="0" lvl="0" indent="0" algn="l" defTabSz="914400" rtl="0" eaLnBrk="1" fontAlgn="auto" latinLnBrk="0" hangingPunct="1">
              <a:lnSpc>
                <a:spcPct val="90000"/>
              </a:lnSpc>
              <a:spcBef>
                <a:spcPts val="0"/>
              </a:spcBef>
              <a:spcAft>
                <a:spcPts val="225"/>
              </a:spcAft>
              <a:buClrTx/>
              <a:buSzTx/>
              <a:buFontTx/>
              <a:buNone/>
              <a:tabLst>
                <a:tab pos="2088356" algn="l"/>
              </a:tabLst>
              <a:defRPr/>
            </a:pPr>
            <a:r>
              <a:rPr kumimoji="0" lang="en-GB" sz="1100" b="1" i="0" u="none" strike="noStrike" kern="0" cap="none" spc="0" normalizeH="0" baseline="0" noProof="0" dirty="0">
                <a:ln>
                  <a:noFill/>
                </a:ln>
                <a:solidFill>
                  <a:prstClr val="white"/>
                </a:solidFill>
                <a:effectLst/>
                <a:uLnTx/>
                <a:uFillTx/>
                <a:latin typeface="Franklin Gothic Medium" panose="020B0603020102020204"/>
                <a:ea typeface="+mn-ea"/>
                <a:cs typeface="+mn-cs"/>
              </a:rPr>
              <a:t>HOW?</a:t>
            </a:r>
          </a:p>
        </p:txBody>
      </p:sp>
      <p:sp>
        <p:nvSpPr>
          <p:cNvPr id="75" name="Rectangle 74">
            <a:extLst>
              <a:ext uri="{FF2B5EF4-FFF2-40B4-BE49-F238E27FC236}">
                <a16:creationId xmlns:a16="http://schemas.microsoft.com/office/drawing/2014/main" id="{92841645-AFE7-4EE2-8355-359DD97E7116}"/>
              </a:ext>
            </a:extLst>
          </p:cNvPr>
          <p:cNvSpPr>
            <a:spLocks/>
          </p:cNvSpPr>
          <p:nvPr/>
        </p:nvSpPr>
        <p:spPr>
          <a:xfrm>
            <a:off x="2235119" y="3352392"/>
            <a:ext cx="6766006" cy="378000"/>
          </a:xfrm>
          <a:prstGeom prst="rect">
            <a:avLst/>
          </a:prstGeom>
        </p:spPr>
        <p:txBody>
          <a:bodyPr lIns="0" tIns="13500" rIns="0" bIns="13500" anchor="t">
            <a:noAutofit/>
          </a:bodyPr>
          <a:lstStyle/>
          <a:p>
            <a:pPr marL="0" marR="0" lvl="0" indent="0" algn="l" defTabSz="914400" rtl="0" eaLnBrk="1" fontAlgn="auto" latinLnBrk="0" hangingPunct="1">
              <a:lnSpc>
                <a:spcPct val="100000"/>
              </a:lnSpc>
              <a:spcBef>
                <a:spcPts val="0"/>
              </a:spcBef>
              <a:spcAft>
                <a:spcPts val="100"/>
              </a:spcAft>
              <a:buClrTx/>
              <a:buSzTx/>
              <a:buFontTx/>
              <a:buNone/>
              <a:tabLst>
                <a:tab pos="2088356" algn="l"/>
              </a:tabLst>
              <a:defRPr/>
            </a:pP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Use </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specialist PLS writers </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and / or undertake </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PLS training </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for medical writers and researchers (including patients)</a:t>
            </a:r>
          </a:p>
          <a:p>
            <a:pPr marL="0" marR="0" lvl="0" indent="0" algn="l" defTabSz="914400" rtl="0" eaLnBrk="1" fontAlgn="auto" latinLnBrk="0" hangingPunct="1">
              <a:lnSpc>
                <a:spcPct val="100000"/>
              </a:lnSpc>
              <a:spcBef>
                <a:spcPts val="0"/>
              </a:spcBef>
              <a:spcAft>
                <a:spcPts val="100"/>
              </a:spcAft>
              <a:buClrTx/>
              <a:buSzTx/>
              <a:buFontTx/>
              <a:buNone/>
              <a:tabLst>
                <a:tab pos="2088356" algn="l"/>
              </a:tabLst>
              <a:defRPr/>
            </a:pP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Clarity on </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optimal format and development process </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from start to finish</a:t>
            </a:r>
          </a:p>
        </p:txBody>
      </p:sp>
      <p:sp>
        <p:nvSpPr>
          <p:cNvPr id="81" name="Freeform: Shape 80">
            <a:extLst>
              <a:ext uri="{FF2B5EF4-FFF2-40B4-BE49-F238E27FC236}">
                <a16:creationId xmlns:a16="http://schemas.microsoft.com/office/drawing/2014/main" id="{0A7D786D-D843-4ADD-ABC3-153B5033BBC7}"/>
              </a:ext>
            </a:extLst>
          </p:cNvPr>
          <p:cNvSpPr>
            <a:spLocks/>
          </p:cNvSpPr>
          <p:nvPr/>
        </p:nvSpPr>
        <p:spPr>
          <a:xfrm>
            <a:off x="476255" y="3995126"/>
            <a:ext cx="1200145" cy="252000"/>
          </a:xfrm>
          <a:custGeom>
            <a:avLst/>
            <a:gdLst>
              <a:gd name="connsiteX0" fmla="*/ 0 w 1026331"/>
              <a:gd name="connsiteY0" fmla="*/ 0 h 252000"/>
              <a:gd name="connsiteX1" fmla="*/ 1026331 w 1026331"/>
              <a:gd name="connsiteY1" fmla="*/ 0 h 252000"/>
              <a:gd name="connsiteX2" fmla="*/ 963331 w 1026331"/>
              <a:gd name="connsiteY2" fmla="*/ 252000 h 252000"/>
              <a:gd name="connsiteX3" fmla="*/ 0 w 1026331"/>
              <a:gd name="connsiteY3" fmla="*/ 252000 h 252000"/>
              <a:gd name="connsiteX4" fmla="*/ 0 w 1026331"/>
              <a:gd name="connsiteY4" fmla="*/ 0 h 25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331" h="252000">
                <a:moveTo>
                  <a:pt x="0" y="0"/>
                </a:moveTo>
                <a:lnTo>
                  <a:pt x="1026331" y="0"/>
                </a:lnTo>
                <a:lnTo>
                  <a:pt x="963331" y="252000"/>
                </a:lnTo>
                <a:lnTo>
                  <a:pt x="0" y="252000"/>
                </a:lnTo>
                <a:lnTo>
                  <a:pt x="0" y="0"/>
                </a:lnTo>
                <a:close/>
              </a:path>
            </a:pathLst>
          </a:custGeom>
          <a:solidFill>
            <a:schemeClr val="accent2"/>
          </a:soli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srgbClr val="4472C4"/>
              </a:solidFill>
              <a:effectLst/>
              <a:uLnTx/>
              <a:uFillTx/>
              <a:latin typeface="Franklin Gothic Medium" panose="020B0603020102020204"/>
              <a:ea typeface="+mn-ea"/>
              <a:cs typeface="+mn-cs"/>
            </a:endParaRPr>
          </a:p>
        </p:txBody>
      </p:sp>
      <p:sp>
        <p:nvSpPr>
          <p:cNvPr id="82" name="Rectangle 81">
            <a:extLst>
              <a:ext uri="{FF2B5EF4-FFF2-40B4-BE49-F238E27FC236}">
                <a16:creationId xmlns:a16="http://schemas.microsoft.com/office/drawing/2014/main" id="{96DAB5E8-87ED-48C4-A04E-0F4361971B29}"/>
              </a:ext>
            </a:extLst>
          </p:cNvPr>
          <p:cNvSpPr/>
          <p:nvPr/>
        </p:nvSpPr>
        <p:spPr>
          <a:xfrm>
            <a:off x="572914" y="4031126"/>
            <a:ext cx="619573" cy="180000"/>
          </a:xfrm>
          <a:prstGeom prst="rect">
            <a:avLst/>
          </a:prstGeom>
          <a:noFill/>
        </p:spPr>
        <p:txBody>
          <a:bodyPr lIns="0" tIns="13500" rIns="0" bIns="13500" anchor="ctr">
            <a:noAutofit/>
          </a:bodyPr>
          <a:lstStyle/>
          <a:p>
            <a:pPr marL="0" marR="0" lvl="0" indent="0" algn="l" defTabSz="914400" rtl="0" eaLnBrk="1" fontAlgn="auto" latinLnBrk="0" hangingPunct="1">
              <a:lnSpc>
                <a:spcPct val="90000"/>
              </a:lnSpc>
              <a:spcBef>
                <a:spcPts val="0"/>
              </a:spcBef>
              <a:spcAft>
                <a:spcPts val="225"/>
              </a:spcAft>
              <a:buClrTx/>
              <a:buSzTx/>
              <a:buFontTx/>
              <a:buNone/>
              <a:tabLst>
                <a:tab pos="2088356" algn="l"/>
              </a:tabLst>
              <a:defRPr/>
            </a:pPr>
            <a:r>
              <a:rPr kumimoji="0" lang="en-GB" sz="1100" b="1" i="0" u="none" strike="noStrike" kern="0" cap="none" spc="0" normalizeH="0" baseline="0" noProof="0" dirty="0">
                <a:ln>
                  <a:noFill/>
                </a:ln>
                <a:solidFill>
                  <a:prstClr val="white"/>
                </a:solidFill>
                <a:effectLst/>
                <a:uLnTx/>
                <a:uFillTx/>
                <a:latin typeface="Franklin Gothic Medium" panose="020B0603020102020204"/>
                <a:ea typeface="+mn-ea"/>
                <a:cs typeface="+mn-cs"/>
              </a:rPr>
              <a:t>WHERE?</a:t>
            </a:r>
          </a:p>
        </p:txBody>
      </p:sp>
      <p:sp>
        <p:nvSpPr>
          <p:cNvPr id="80" name="Rectangle 79">
            <a:extLst>
              <a:ext uri="{FF2B5EF4-FFF2-40B4-BE49-F238E27FC236}">
                <a16:creationId xmlns:a16="http://schemas.microsoft.com/office/drawing/2014/main" id="{B490C445-449B-4111-A7EE-1433E730A18E}"/>
              </a:ext>
            </a:extLst>
          </p:cNvPr>
          <p:cNvSpPr>
            <a:spLocks/>
          </p:cNvSpPr>
          <p:nvPr/>
        </p:nvSpPr>
        <p:spPr>
          <a:xfrm>
            <a:off x="2235119" y="3836170"/>
            <a:ext cx="6766006" cy="569912"/>
          </a:xfrm>
          <a:prstGeom prst="rect">
            <a:avLst/>
          </a:prstGeom>
        </p:spPr>
        <p:txBody>
          <a:bodyPr lIns="0" tIns="13500" rIns="0" bIns="13500" anchor="t">
            <a:noAutofit/>
          </a:bodyPr>
          <a:lstStyle/>
          <a:p>
            <a:pPr marL="0" marR="0" lvl="0" indent="0" algn="l" defTabSz="914400" rtl="0" eaLnBrk="1" fontAlgn="auto" latinLnBrk="0" hangingPunct="1">
              <a:lnSpc>
                <a:spcPct val="100000"/>
              </a:lnSpc>
              <a:spcBef>
                <a:spcPts val="0"/>
              </a:spcBef>
              <a:spcAft>
                <a:spcPts val="100"/>
              </a:spcAft>
              <a:buClrTx/>
              <a:buSzTx/>
              <a:buFontTx/>
              <a:buNone/>
              <a:tabLst>
                <a:tab pos="2088356" algn="l"/>
              </a:tabLst>
              <a:defRPr/>
            </a:pP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Optimal dissemination and </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easy access </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including searchable repository)</a:t>
            </a:r>
          </a:p>
          <a:p>
            <a:pPr marL="0" marR="0" lvl="0" indent="0" algn="l" defTabSz="914400" rtl="0" eaLnBrk="1" fontAlgn="auto" latinLnBrk="0" hangingPunct="1">
              <a:lnSpc>
                <a:spcPct val="100000"/>
              </a:lnSpc>
              <a:spcBef>
                <a:spcPts val="0"/>
              </a:spcBef>
              <a:spcAft>
                <a:spcPts val="100"/>
              </a:spcAft>
              <a:buClrTx/>
              <a:buSzTx/>
              <a:buFontTx/>
              <a:buNone/>
              <a:tabLst>
                <a:tab pos="2088356" algn="l"/>
              </a:tabLst>
              <a:defRPr/>
            </a:pP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Explore </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the</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 </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use of social media </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to facilitate dissemination</a:t>
            </a:r>
          </a:p>
          <a:p>
            <a:pPr marL="0" marR="0" lvl="0" indent="0" algn="l" defTabSz="914400" rtl="0" eaLnBrk="1" fontAlgn="auto" latinLnBrk="0" hangingPunct="1">
              <a:lnSpc>
                <a:spcPct val="100000"/>
              </a:lnSpc>
              <a:spcBef>
                <a:spcPts val="0"/>
              </a:spcBef>
              <a:spcAft>
                <a:spcPts val="100"/>
              </a:spcAft>
              <a:buClrTx/>
              <a:buSzTx/>
              <a:buFontTx/>
              <a:buNone/>
              <a:tabLst>
                <a:tab pos="2088356" algn="l"/>
              </a:tabLst>
              <a:defRPr/>
            </a:pP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Work with patient advocacy groups and charities to </a:t>
            </a:r>
            <a:r>
              <a:rPr kumimoji="0" lang="en-GB" sz="1000" b="1" i="0" u="none" strike="noStrike" kern="0" cap="none" spc="0" normalizeH="0" baseline="0" noProof="0" dirty="0">
                <a:ln>
                  <a:noFill/>
                </a:ln>
                <a:solidFill>
                  <a:prstClr val="black"/>
                </a:solidFill>
                <a:effectLst/>
                <a:uLnTx/>
                <a:uFillTx/>
                <a:latin typeface="Franklin Gothic Book" panose="020B0503020102020204"/>
                <a:ea typeface="+mn-ea"/>
                <a:cs typeface="+mn-cs"/>
              </a:rPr>
              <a:t>expand the reach </a:t>
            </a:r>
            <a:r>
              <a:rPr kumimoji="0" lang="en-GB" sz="1000" b="0" i="0" u="none" strike="noStrike" kern="0" cap="none" spc="0" normalizeH="0" baseline="0" noProof="0" dirty="0">
                <a:ln>
                  <a:noFill/>
                </a:ln>
                <a:solidFill>
                  <a:prstClr val="black"/>
                </a:solidFill>
                <a:effectLst/>
                <a:uLnTx/>
                <a:uFillTx/>
                <a:latin typeface="Franklin Gothic Book" panose="020B0503020102020204"/>
                <a:ea typeface="+mn-ea"/>
                <a:cs typeface="+mn-cs"/>
              </a:rPr>
              <a:t>of PLS</a:t>
            </a:r>
          </a:p>
        </p:txBody>
      </p:sp>
      <p:cxnSp>
        <p:nvCxnSpPr>
          <p:cNvPr id="46" name="Straight Connector 45">
            <a:extLst>
              <a:ext uri="{FF2B5EF4-FFF2-40B4-BE49-F238E27FC236}">
                <a16:creationId xmlns:a16="http://schemas.microsoft.com/office/drawing/2014/main" id="{02A2D8BE-FD53-4DE2-9123-479DC3166C98}"/>
              </a:ext>
            </a:extLst>
          </p:cNvPr>
          <p:cNvCxnSpPr>
            <a:cxnSpLocks/>
          </p:cNvCxnSpPr>
          <p:nvPr/>
        </p:nvCxnSpPr>
        <p:spPr>
          <a:xfrm>
            <a:off x="476256" y="2312155"/>
            <a:ext cx="8267694" cy="0"/>
          </a:xfrm>
          <a:prstGeom prst="line">
            <a:avLst/>
          </a:prstGeom>
          <a:noFill/>
          <a:ln w="9525" cap="flat" cmpd="sng" algn="ctr">
            <a:solidFill>
              <a:schemeClr val="accent5">
                <a:lumMod val="60000"/>
                <a:lumOff val="40000"/>
              </a:schemeClr>
            </a:solidFill>
            <a:prstDash val="solid"/>
            <a:miter lim="800000"/>
          </a:ln>
          <a:effectLst/>
        </p:spPr>
      </p:cxnSp>
      <p:cxnSp>
        <p:nvCxnSpPr>
          <p:cNvPr id="83" name="Straight Connector 82">
            <a:extLst>
              <a:ext uri="{FF2B5EF4-FFF2-40B4-BE49-F238E27FC236}">
                <a16:creationId xmlns:a16="http://schemas.microsoft.com/office/drawing/2014/main" id="{9B28410A-4190-44CE-9F24-DDE15656012A}"/>
              </a:ext>
            </a:extLst>
          </p:cNvPr>
          <p:cNvCxnSpPr>
            <a:cxnSpLocks/>
          </p:cNvCxnSpPr>
          <p:nvPr/>
        </p:nvCxnSpPr>
        <p:spPr>
          <a:xfrm>
            <a:off x="476256" y="1815735"/>
            <a:ext cx="8267694" cy="0"/>
          </a:xfrm>
          <a:prstGeom prst="line">
            <a:avLst/>
          </a:prstGeom>
          <a:noFill/>
          <a:ln w="9525" cap="flat" cmpd="sng" algn="ctr">
            <a:solidFill>
              <a:schemeClr val="accent5">
                <a:lumMod val="60000"/>
                <a:lumOff val="40000"/>
              </a:schemeClr>
            </a:solidFill>
            <a:prstDash val="solid"/>
            <a:miter lim="800000"/>
          </a:ln>
          <a:effectLst/>
        </p:spPr>
      </p:cxnSp>
      <p:cxnSp>
        <p:nvCxnSpPr>
          <p:cNvPr id="84" name="Straight Connector 83">
            <a:extLst>
              <a:ext uri="{FF2B5EF4-FFF2-40B4-BE49-F238E27FC236}">
                <a16:creationId xmlns:a16="http://schemas.microsoft.com/office/drawing/2014/main" id="{7BF15AF2-2230-4BA9-BBA7-A3EF07DF181D}"/>
              </a:ext>
            </a:extLst>
          </p:cNvPr>
          <p:cNvCxnSpPr>
            <a:cxnSpLocks/>
          </p:cNvCxnSpPr>
          <p:nvPr/>
        </p:nvCxnSpPr>
        <p:spPr>
          <a:xfrm>
            <a:off x="476256" y="2798415"/>
            <a:ext cx="8267694" cy="0"/>
          </a:xfrm>
          <a:prstGeom prst="line">
            <a:avLst/>
          </a:prstGeom>
          <a:noFill/>
          <a:ln w="9525" cap="flat" cmpd="sng" algn="ctr">
            <a:solidFill>
              <a:schemeClr val="accent5">
                <a:lumMod val="60000"/>
                <a:lumOff val="40000"/>
              </a:schemeClr>
            </a:solidFill>
            <a:prstDash val="solid"/>
            <a:miter lim="800000"/>
          </a:ln>
          <a:effectLst/>
        </p:spPr>
      </p:cxnSp>
      <p:cxnSp>
        <p:nvCxnSpPr>
          <p:cNvPr id="85" name="Straight Connector 84">
            <a:extLst>
              <a:ext uri="{FF2B5EF4-FFF2-40B4-BE49-F238E27FC236}">
                <a16:creationId xmlns:a16="http://schemas.microsoft.com/office/drawing/2014/main" id="{157FB80D-0C55-429F-8F6B-20E1291097CA}"/>
              </a:ext>
            </a:extLst>
          </p:cNvPr>
          <p:cNvCxnSpPr>
            <a:cxnSpLocks/>
          </p:cNvCxnSpPr>
          <p:nvPr/>
        </p:nvCxnSpPr>
        <p:spPr>
          <a:xfrm>
            <a:off x="476256" y="3293120"/>
            <a:ext cx="8267694" cy="0"/>
          </a:xfrm>
          <a:prstGeom prst="line">
            <a:avLst/>
          </a:prstGeom>
          <a:noFill/>
          <a:ln w="9525" cap="flat" cmpd="sng" algn="ctr">
            <a:solidFill>
              <a:schemeClr val="accent5">
                <a:lumMod val="60000"/>
                <a:lumOff val="40000"/>
              </a:schemeClr>
            </a:solidFill>
            <a:prstDash val="solid"/>
            <a:miter lim="800000"/>
          </a:ln>
          <a:effectLst/>
        </p:spPr>
      </p:cxnSp>
      <p:cxnSp>
        <p:nvCxnSpPr>
          <p:cNvPr id="86" name="Straight Connector 85">
            <a:extLst>
              <a:ext uri="{FF2B5EF4-FFF2-40B4-BE49-F238E27FC236}">
                <a16:creationId xmlns:a16="http://schemas.microsoft.com/office/drawing/2014/main" id="{19104069-7246-4D63-A440-287CDF229842}"/>
              </a:ext>
            </a:extLst>
          </p:cNvPr>
          <p:cNvCxnSpPr>
            <a:cxnSpLocks/>
          </p:cNvCxnSpPr>
          <p:nvPr/>
        </p:nvCxnSpPr>
        <p:spPr>
          <a:xfrm>
            <a:off x="476256" y="3795933"/>
            <a:ext cx="8267694" cy="0"/>
          </a:xfrm>
          <a:prstGeom prst="line">
            <a:avLst/>
          </a:prstGeom>
          <a:noFill/>
          <a:ln w="9525" cap="flat" cmpd="sng" algn="ctr">
            <a:solidFill>
              <a:schemeClr val="accent5">
                <a:lumMod val="60000"/>
                <a:lumOff val="40000"/>
              </a:schemeClr>
            </a:solidFill>
            <a:prstDash val="solid"/>
            <a:miter lim="800000"/>
          </a:ln>
          <a:effectLst/>
        </p:spPr>
      </p:cxnSp>
      <p:cxnSp>
        <p:nvCxnSpPr>
          <p:cNvPr id="87" name="Straight Connector 86">
            <a:extLst>
              <a:ext uri="{FF2B5EF4-FFF2-40B4-BE49-F238E27FC236}">
                <a16:creationId xmlns:a16="http://schemas.microsoft.com/office/drawing/2014/main" id="{59333FDF-B575-431C-8655-C71D1581CFF5}"/>
              </a:ext>
            </a:extLst>
          </p:cNvPr>
          <p:cNvCxnSpPr>
            <a:cxnSpLocks/>
          </p:cNvCxnSpPr>
          <p:nvPr/>
        </p:nvCxnSpPr>
        <p:spPr>
          <a:xfrm>
            <a:off x="476256" y="4396557"/>
            <a:ext cx="8267694" cy="0"/>
          </a:xfrm>
          <a:prstGeom prst="line">
            <a:avLst/>
          </a:prstGeom>
          <a:noFill/>
          <a:ln w="9525" cap="flat" cmpd="sng" algn="ctr">
            <a:solidFill>
              <a:schemeClr val="accent5">
                <a:lumMod val="60000"/>
                <a:lumOff val="40000"/>
              </a:schemeClr>
            </a:solidFill>
            <a:prstDash val="solid"/>
            <a:miter lim="800000"/>
          </a:ln>
          <a:effectLst/>
        </p:spPr>
      </p:cxnSp>
      <p:sp>
        <p:nvSpPr>
          <p:cNvPr id="2" name="Title 1">
            <a:extLst>
              <a:ext uri="{FF2B5EF4-FFF2-40B4-BE49-F238E27FC236}">
                <a16:creationId xmlns:a16="http://schemas.microsoft.com/office/drawing/2014/main" id="{C384F639-56EC-4FC7-B59D-63709A3CC233}"/>
              </a:ext>
            </a:extLst>
          </p:cNvPr>
          <p:cNvSpPr>
            <a:spLocks noGrp="1"/>
          </p:cNvSpPr>
          <p:nvPr>
            <p:ph type="title"/>
          </p:nvPr>
        </p:nvSpPr>
        <p:spPr>
          <a:xfrm>
            <a:off x="882700" y="420032"/>
            <a:ext cx="8383587" cy="582612"/>
          </a:xfrm>
        </p:spPr>
        <p:txBody>
          <a:bodyPr>
            <a:noAutofit/>
          </a:bodyPr>
          <a:lstStyle/>
          <a:p>
            <a:r>
              <a:rPr lang="en-GB" dirty="0"/>
              <a:t>Opportunities to overcome real </a:t>
            </a:r>
            <a:br>
              <a:rPr lang="en-GB" dirty="0"/>
            </a:br>
            <a:r>
              <a:rPr lang="en-GB" dirty="0"/>
              <a:t>or perceived barriers to uptake of PLS </a:t>
            </a:r>
          </a:p>
        </p:txBody>
      </p:sp>
      <p:sp>
        <p:nvSpPr>
          <p:cNvPr id="30" name="Slide Number Placeholder 2">
            <a:extLst>
              <a:ext uri="{FF2B5EF4-FFF2-40B4-BE49-F238E27FC236}">
                <a16:creationId xmlns:a16="http://schemas.microsoft.com/office/drawing/2014/main" id="{DE9F6B72-14BC-47D4-91CB-AD3C1292D88E}"/>
              </a:ext>
            </a:extLst>
          </p:cNvPr>
          <p:cNvSpPr txBox="1">
            <a:spLocks/>
          </p:cNvSpPr>
          <p:nvPr/>
        </p:nvSpPr>
        <p:spPr>
          <a:xfrm>
            <a:off x="6985487" y="59945"/>
            <a:ext cx="2057400" cy="273844"/>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defRPr/>
            </a:pPr>
            <a:fld id="{42AD0A0E-4515-A647-B2E3-7F1B29FB990E}" type="slidenum">
              <a:rPr lang="en-US" sz="900" smtClean="0">
                <a:solidFill>
                  <a:prstClr val="black"/>
                </a:solidFill>
                <a:latin typeface="Franklin Gothic Book" panose="020B0503020102020204"/>
              </a:rPr>
              <a:pPr algn="r">
                <a:defRPr/>
              </a:pPr>
              <a:t>32</a:t>
            </a:fld>
            <a:endParaRPr lang="en-US" sz="900" dirty="0">
              <a:solidFill>
                <a:prstClr val="black"/>
              </a:solidFill>
              <a:latin typeface="Franklin Gothic Book" panose="020B0503020102020204"/>
            </a:endParaRPr>
          </a:p>
        </p:txBody>
      </p:sp>
    </p:spTree>
    <p:extLst>
      <p:ext uri="{BB962C8B-B14F-4D97-AF65-F5344CB8AC3E}">
        <p14:creationId xmlns:p14="http://schemas.microsoft.com/office/powerpoint/2010/main" val="3082958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0E1F7AB-F9D8-4DEB-8BD1-83F3E7131404}"/>
              </a:ext>
            </a:extLst>
          </p:cNvPr>
          <p:cNvPicPr>
            <a:picLocks noChangeAspect="1"/>
          </p:cNvPicPr>
          <p:nvPr/>
        </p:nvPicPr>
        <p:blipFill>
          <a:blip r:embed="rId2"/>
          <a:stretch>
            <a:fillRect/>
          </a:stretch>
        </p:blipFill>
        <p:spPr>
          <a:xfrm>
            <a:off x="755168" y="196867"/>
            <a:ext cx="7630732" cy="4721157"/>
          </a:xfrm>
          <a:prstGeom prst="rect">
            <a:avLst/>
          </a:prstGeom>
        </p:spPr>
      </p:pic>
      <p:sp>
        <p:nvSpPr>
          <p:cNvPr id="4" name="Slide Number Placeholder 3">
            <a:extLst>
              <a:ext uri="{FF2B5EF4-FFF2-40B4-BE49-F238E27FC236}">
                <a16:creationId xmlns:a16="http://schemas.microsoft.com/office/drawing/2014/main" id="{69184156-D75E-40FA-BE66-082916E5FCE1}"/>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3</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 name="Subtitle 2">
            <a:extLst>
              <a:ext uri="{FF2B5EF4-FFF2-40B4-BE49-F238E27FC236}">
                <a16:creationId xmlns:a16="http://schemas.microsoft.com/office/drawing/2014/main" id="{CDFAB9D4-6B21-4C91-90F1-3B3ED5D7B0B8}"/>
              </a:ext>
            </a:extLst>
          </p:cNvPr>
          <p:cNvSpPr txBox="1">
            <a:spLocks/>
          </p:cNvSpPr>
          <p:nvPr/>
        </p:nvSpPr>
        <p:spPr>
          <a:xfrm>
            <a:off x="4983079" y="982936"/>
            <a:ext cx="4059808" cy="665032"/>
          </a:xfrm>
          <a:prstGeom prst="rect">
            <a:avLst/>
          </a:prstGeom>
        </p:spPr>
        <p:txBody>
          <a:bodyPr vert="horz" lIns="91440" tIns="45720" rIns="91440" bIns="45720" rtlCol="0">
            <a:normAutofit lnSpcReduction="10000"/>
          </a:bodyPr>
          <a:lstStyle>
            <a:lvl1pPr marL="180000" indent="-180000" algn="l" defTabSz="685800" rtl="0" eaLnBrk="1" latinLnBrk="0" hangingPunct="1">
              <a:lnSpc>
                <a:spcPct val="90000"/>
              </a:lnSpc>
              <a:spcBef>
                <a:spcPts val="0"/>
              </a:spcBef>
              <a:spcAft>
                <a:spcPts val="600"/>
              </a:spcAft>
              <a:buClr>
                <a:srgbClr val="F28C11"/>
              </a:buClr>
              <a:buFont typeface="Arial" panose="020B0604020202020204" pitchFamily="34" charset="0"/>
              <a:buChar char="•"/>
              <a:defRPr sz="2400" kern="1200">
                <a:solidFill>
                  <a:schemeClr val="tx1"/>
                </a:solidFill>
                <a:latin typeface="+mn-lt"/>
                <a:ea typeface="+mn-ea"/>
                <a:cs typeface="+mn-cs"/>
              </a:defRPr>
            </a:lvl1pPr>
            <a:lvl2pPr marL="584200" indent="-228600" algn="l" defTabSz="685800" rtl="0" eaLnBrk="1" latinLnBrk="0" hangingPunct="1">
              <a:lnSpc>
                <a:spcPct val="90000"/>
              </a:lnSpc>
              <a:spcBef>
                <a:spcPts val="0"/>
              </a:spcBef>
              <a:spcAft>
                <a:spcPts val="600"/>
              </a:spcAft>
              <a:buClr>
                <a:srgbClr val="F28C11"/>
              </a:buClr>
              <a:buFont typeface=".AppleSystemUIFont" charset="-120"/>
              <a:buChar char="–"/>
              <a:tabLst/>
              <a:defRPr sz="2200" kern="1200">
                <a:solidFill>
                  <a:schemeClr val="tx1"/>
                </a:solidFill>
                <a:latin typeface="+mn-lt"/>
                <a:ea typeface="+mn-ea"/>
                <a:cs typeface="+mn-cs"/>
              </a:defRPr>
            </a:lvl2pPr>
            <a:lvl3pPr marL="927100" indent="-228600" algn="l" defTabSz="685800" rtl="0" eaLnBrk="1" latinLnBrk="0" hangingPunct="1">
              <a:lnSpc>
                <a:spcPct val="90000"/>
              </a:lnSpc>
              <a:spcBef>
                <a:spcPts val="0"/>
              </a:spcBef>
              <a:spcAft>
                <a:spcPts val="600"/>
              </a:spcAft>
              <a:buClr>
                <a:srgbClr val="F28C11"/>
              </a:buClr>
              <a:buFont typeface="Wingdings" charset="2"/>
              <a:buChar char="§"/>
              <a:tabLst/>
              <a:defRPr sz="2000" kern="1200">
                <a:solidFill>
                  <a:schemeClr val="tx1"/>
                </a:solidFill>
                <a:latin typeface="+mn-lt"/>
                <a:ea typeface="+mn-ea"/>
                <a:cs typeface="+mn-cs"/>
              </a:defRPr>
            </a:lvl3pPr>
            <a:lvl4pPr marL="1155700" indent="-157163" algn="l" defTabSz="685800" rtl="0" eaLnBrk="1" latinLnBrk="0" hangingPunct="1">
              <a:lnSpc>
                <a:spcPct val="90000"/>
              </a:lnSpc>
              <a:spcBef>
                <a:spcPts val="0"/>
              </a:spcBef>
              <a:spcAft>
                <a:spcPts val="600"/>
              </a:spcAft>
              <a:buClr>
                <a:srgbClr val="F28C11"/>
              </a:buClr>
              <a:buFont typeface="Arial" panose="020B0604020202020204" pitchFamily="34" charset="0"/>
              <a:buChar char="•"/>
              <a:tabLst/>
              <a:defRPr sz="1800" kern="1200">
                <a:solidFill>
                  <a:schemeClr val="tx1"/>
                </a:solidFill>
                <a:latin typeface="+mn-lt"/>
                <a:ea typeface="+mn-ea"/>
                <a:cs typeface="+mn-cs"/>
              </a:defRPr>
            </a:lvl4pPr>
            <a:lvl5pPr marL="1497013" indent="-200025" algn="l" defTabSz="685800" rtl="0" eaLnBrk="1" latinLnBrk="0" hangingPunct="1">
              <a:lnSpc>
                <a:spcPct val="90000"/>
              </a:lnSpc>
              <a:spcBef>
                <a:spcPts val="0"/>
              </a:spcBef>
              <a:spcAft>
                <a:spcPts val="600"/>
              </a:spcAft>
              <a:buClr>
                <a:srgbClr val="F28C11"/>
              </a:buClr>
              <a:buFont typeface="Courier New" charset="0"/>
              <a:buChar char="o"/>
              <a:tabLst/>
              <a:defRPr sz="16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GB" sz="1900" i="1" dirty="0">
                <a:solidFill>
                  <a:srgbClr val="0070C0"/>
                </a:solidFill>
              </a:rPr>
              <a:t>The authors would like to thank everyone who took part in this study</a:t>
            </a:r>
            <a:endParaRPr lang="en-GB" sz="2000" i="1" dirty="0">
              <a:solidFill>
                <a:srgbClr val="0070C0"/>
              </a:solidFill>
            </a:endParaRPr>
          </a:p>
          <a:p>
            <a:endParaRPr lang="en-GB" sz="2000" dirty="0"/>
          </a:p>
        </p:txBody>
      </p:sp>
    </p:spTree>
    <p:extLst>
      <p:ext uri="{BB962C8B-B14F-4D97-AF65-F5344CB8AC3E}">
        <p14:creationId xmlns:p14="http://schemas.microsoft.com/office/powerpoint/2010/main" val="28866246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a:xfrm>
            <a:off x="3000375" y="557214"/>
            <a:ext cx="5375530" cy="2308622"/>
          </a:xfrm>
        </p:spPr>
        <p:txBody>
          <a:bodyPr/>
          <a:lstStyle/>
          <a:p>
            <a:r>
              <a:rPr lang="en-GB" dirty="0"/>
              <a:t>Open Pharma recommendations &amp;</a:t>
            </a:r>
            <a:br>
              <a:rPr lang="en-GB" dirty="0"/>
            </a:br>
            <a:r>
              <a:rPr lang="en-GB" dirty="0"/>
              <a:t>Ipsen commitment on</a:t>
            </a:r>
            <a:br>
              <a:rPr lang="en-GB" dirty="0"/>
            </a:br>
            <a:r>
              <a:rPr lang="en-GB" dirty="0"/>
              <a:t>plain language summaries</a:t>
            </a:r>
            <a:endParaRPr lang="en-US" dirty="0"/>
          </a:p>
        </p:txBody>
      </p:sp>
      <p:sp>
        <p:nvSpPr>
          <p:cNvPr id="6" name="Text Placeholder 5">
            <a:extLst>
              <a:ext uri="{FF2B5EF4-FFF2-40B4-BE49-F238E27FC236}">
                <a16:creationId xmlns:a16="http://schemas.microsoft.com/office/drawing/2014/main" id="{5992C889-06EC-4A3C-949B-CB79887518ED}"/>
              </a:ext>
            </a:extLst>
          </p:cNvPr>
          <p:cNvSpPr>
            <a:spLocks noGrp="1"/>
          </p:cNvSpPr>
          <p:nvPr>
            <p:ph type="body" idx="1"/>
          </p:nvPr>
        </p:nvSpPr>
        <p:spPr>
          <a:xfrm>
            <a:off x="3000375" y="3285874"/>
            <a:ext cx="5510214" cy="1409700"/>
          </a:xfrm>
        </p:spPr>
        <p:txBody>
          <a:bodyPr/>
          <a:lstStyle/>
          <a:p>
            <a:pPr algn="r"/>
            <a:r>
              <a:rPr lang="en-GB" dirty="0"/>
              <a:t>Will </a:t>
            </a:r>
            <a:r>
              <a:rPr lang="en-GB" dirty="0" err="1"/>
              <a:t>Gattrell</a:t>
            </a:r>
            <a:r>
              <a:rPr lang="en-GB" dirty="0"/>
              <a:t>                                                         Global Medical Publications and Communications Senior Manager, Ipsen</a:t>
            </a:r>
            <a:endParaRPr lang="en-US" dirty="0"/>
          </a:p>
        </p:txBody>
      </p:sp>
    </p:spTree>
    <p:extLst>
      <p:ext uri="{BB962C8B-B14F-4D97-AF65-F5344CB8AC3E}">
        <p14:creationId xmlns:p14="http://schemas.microsoft.com/office/powerpoint/2010/main" val="23368058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DA67A3-7339-4B54-A994-95407F98A681}"/>
              </a:ext>
            </a:extLst>
          </p:cNvPr>
          <p:cNvSpPr>
            <a:spLocks noGrp="1"/>
          </p:cNvSpPr>
          <p:nvPr>
            <p:ph type="title"/>
          </p:nvPr>
        </p:nvSpPr>
        <p:spPr/>
        <p:txBody>
          <a:bodyPr/>
          <a:lstStyle/>
          <a:p>
            <a:r>
              <a:rPr lang="en-GB" dirty="0"/>
              <a:t>Disclosure</a:t>
            </a:r>
            <a:endParaRPr lang="en-US" dirty="0"/>
          </a:p>
        </p:txBody>
      </p:sp>
      <p:sp>
        <p:nvSpPr>
          <p:cNvPr id="3" name="Content Placeholder 2">
            <a:extLst>
              <a:ext uri="{FF2B5EF4-FFF2-40B4-BE49-F238E27FC236}">
                <a16:creationId xmlns:a16="http://schemas.microsoft.com/office/drawing/2014/main" id="{A46C5213-6923-446B-A476-D660BCD5ADCE}"/>
              </a:ext>
            </a:extLst>
          </p:cNvPr>
          <p:cNvSpPr>
            <a:spLocks noGrp="1"/>
          </p:cNvSpPr>
          <p:nvPr>
            <p:ph idx="1"/>
          </p:nvPr>
        </p:nvSpPr>
        <p:spPr/>
        <p:txBody>
          <a:bodyPr/>
          <a:lstStyle/>
          <a:p>
            <a:r>
              <a:rPr lang="en-GB" dirty="0"/>
              <a:t>Will Gattrell is an employee and shareholder of Ipsen</a:t>
            </a:r>
            <a:endParaRPr lang="en-US" dirty="0"/>
          </a:p>
        </p:txBody>
      </p:sp>
      <p:sp>
        <p:nvSpPr>
          <p:cNvPr id="4" name="Slide Number Placeholder 3">
            <a:extLst>
              <a:ext uri="{FF2B5EF4-FFF2-40B4-BE49-F238E27FC236}">
                <a16:creationId xmlns:a16="http://schemas.microsoft.com/office/drawing/2014/main" id="{69184156-D75E-40FA-BE66-082916E5FCE1}"/>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5</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0951919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68104-E3F6-4991-B4C1-71680052D03E}"/>
              </a:ext>
            </a:extLst>
          </p:cNvPr>
          <p:cNvSpPr>
            <a:spLocks noGrp="1"/>
          </p:cNvSpPr>
          <p:nvPr>
            <p:ph type="title"/>
          </p:nvPr>
        </p:nvSpPr>
        <p:spPr/>
        <p:txBody>
          <a:bodyPr>
            <a:normAutofit fontScale="90000"/>
          </a:bodyPr>
          <a:lstStyle/>
          <a:p>
            <a:r>
              <a:rPr lang="en-GB" dirty="0"/>
              <a:t>All Ipsen publications are open access from 2019… but is the content accessible?</a:t>
            </a:r>
            <a:endParaRPr lang="en-US" dirty="0"/>
          </a:p>
        </p:txBody>
      </p:sp>
      <p:sp>
        <p:nvSpPr>
          <p:cNvPr id="4" name="Slide Number Placeholder 3">
            <a:extLst>
              <a:ext uri="{FF2B5EF4-FFF2-40B4-BE49-F238E27FC236}">
                <a16:creationId xmlns:a16="http://schemas.microsoft.com/office/drawing/2014/main" id="{F2D11B3D-68EC-450D-80CE-2E4E9EF03355}"/>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6</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5" name="Picture 4">
            <a:extLst>
              <a:ext uri="{FF2B5EF4-FFF2-40B4-BE49-F238E27FC236}">
                <a16:creationId xmlns:a16="http://schemas.microsoft.com/office/drawing/2014/main" id="{788C7F92-2293-4E7D-84B6-CE01C27C13FF}"/>
              </a:ext>
            </a:extLst>
          </p:cNvPr>
          <p:cNvPicPr>
            <a:picLocks noChangeAspect="1"/>
          </p:cNvPicPr>
          <p:nvPr/>
        </p:nvPicPr>
        <p:blipFill rotWithShape="1">
          <a:blip r:embed="rId2"/>
          <a:srcRect l="16264" t="15580" r="18849" b="5768"/>
          <a:stretch/>
        </p:blipFill>
        <p:spPr>
          <a:xfrm>
            <a:off x="382912" y="1063837"/>
            <a:ext cx="3267132" cy="2227591"/>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32E479C0-D4A6-4CD0-B5DB-E8F85319C711}"/>
              </a:ext>
            </a:extLst>
          </p:cNvPr>
          <p:cNvPicPr>
            <a:picLocks noChangeAspect="1"/>
          </p:cNvPicPr>
          <p:nvPr/>
        </p:nvPicPr>
        <p:blipFill rotWithShape="1">
          <a:blip r:embed="rId3"/>
          <a:srcRect l="20646" t="25917" r="54495" b="45169"/>
          <a:stretch/>
        </p:blipFill>
        <p:spPr>
          <a:xfrm>
            <a:off x="4080373" y="3221151"/>
            <a:ext cx="2241280" cy="1466368"/>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E6C852B7-0877-471B-B958-B65D1E0A264A}"/>
              </a:ext>
            </a:extLst>
          </p:cNvPr>
          <p:cNvPicPr>
            <a:picLocks noChangeAspect="1"/>
          </p:cNvPicPr>
          <p:nvPr/>
        </p:nvPicPr>
        <p:blipFill rotWithShape="1">
          <a:blip r:embed="rId4"/>
          <a:srcRect l="20983" t="27266" r="55168" b="36480"/>
          <a:stretch/>
        </p:blipFill>
        <p:spPr>
          <a:xfrm>
            <a:off x="6508919" y="3215530"/>
            <a:ext cx="1699984" cy="1453628"/>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C9308804-1A8D-4BAD-A015-C1A8FB5D6490}"/>
              </a:ext>
            </a:extLst>
          </p:cNvPr>
          <p:cNvPicPr>
            <a:picLocks noChangeAspect="1"/>
          </p:cNvPicPr>
          <p:nvPr/>
        </p:nvPicPr>
        <p:blipFill rotWithShape="1">
          <a:blip r:embed="rId5"/>
          <a:srcRect l="9714" t="20952" r="56286" b="46576"/>
          <a:stretch/>
        </p:blipFill>
        <p:spPr>
          <a:xfrm>
            <a:off x="4687302" y="1100486"/>
            <a:ext cx="2873001" cy="1543418"/>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CEF1AB71-8FA6-4E2D-BE86-174D36FAA91D}"/>
              </a:ext>
            </a:extLst>
          </p:cNvPr>
          <p:cNvSpPr txBox="1"/>
          <p:nvPr/>
        </p:nvSpPr>
        <p:spPr>
          <a:xfrm>
            <a:off x="4182918" y="2658745"/>
            <a:ext cx="3881768" cy="64633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Medium" panose="020B0603020102020204"/>
                <a:ea typeface="+mn-ea"/>
                <a:cs typeface="+mn-cs"/>
              </a:rPr>
              <a:t>Patients regularly seek information from journals</a:t>
            </a:r>
            <a:r>
              <a:rPr kumimoji="0" lang="en-GB" sz="1350" b="0" i="0" u="none" strike="noStrike" kern="1200" cap="none" spc="0" normalizeH="0" baseline="30000" noProof="0" dirty="0">
                <a:ln>
                  <a:noFill/>
                </a:ln>
                <a:solidFill>
                  <a:prstClr val="black"/>
                </a:solidFill>
                <a:effectLst/>
                <a:uLnTx/>
                <a:uFillTx/>
                <a:latin typeface="Franklin Gothic Medium" panose="020B0603020102020204"/>
                <a:ea typeface="+mn-ea"/>
                <a:cs typeface="+mn-cs"/>
              </a:rPr>
              <a:t>1</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Medium" panose="020B0603020102020204"/>
                <a:ea typeface="+mn-ea"/>
                <a:cs typeface="+mn-cs"/>
              </a:rPr>
              <a:t>but the readability of articles is </a:t>
            </a:r>
            <a:r>
              <a:rPr kumimoji="0" lang="en-GB" sz="1350" b="0" i="1" u="none" strike="noStrike" kern="1200" cap="none" spc="0" normalizeH="0" baseline="0" noProof="0" dirty="0">
                <a:ln>
                  <a:noFill/>
                </a:ln>
                <a:solidFill>
                  <a:prstClr val="black"/>
                </a:solidFill>
                <a:effectLst/>
                <a:uLnTx/>
                <a:uFillTx/>
                <a:latin typeface="Franklin Gothic Medium" panose="020B0603020102020204"/>
                <a:ea typeface="+mn-ea"/>
                <a:cs typeface="+mn-cs"/>
              </a:rPr>
              <a:t>decreasing</a:t>
            </a:r>
            <a:r>
              <a:rPr kumimoji="0" lang="en-GB" sz="1350" b="0" i="0" u="none" strike="noStrike" kern="1200" cap="none" spc="0" normalizeH="0" baseline="30000" noProof="0" dirty="0">
                <a:ln>
                  <a:noFill/>
                </a:ln>
                <a:solidFill>
                  <a:prstClr val="black"/>
                </a:solidFill>
                <a:effectLst/>
                <a:uLnTx/>
                <a:uFillTx/>
                <a:latin typeface="Franklin Gothic Medium" panose="020B0603020102020204"/>
                <a:ea typeface="+mn-ea"/>
                <a:cs typeface="+mn-cs"/>
              </a:rPr>
              <a:t>2</a:t>
            </a:r>
            <a:endParaRPr kumimoji="0" lang="en-US" sz="1350" b="0" i="0" u="none" strike="noStrike" kern="1200" cap="none" spc="0" normalizeH="0" baseline="30000" noProof="0" dirty="0">
              <a:ln>
                <a:noFill/>
              </a:ln>
              <a:solidFill>
                <a:prstClr val="black"/>
              </a:solidFill>
              <a:effectLst/>
              <a:uLnTx/>
              <a:uFillTx/>
              <a:latin typeface="Franklin Gothic Medium" panose="020B0603020102020204"/>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30000" noProof="0" dirty="0">
              <a:ln>
                <a:noFill/>
              </a:ln>
              <a:solidFill>
                <a:prstClr val="black"/>
              </a:solidFill>
              <a:effectLst/>
              <a:uLnTx/>
              <a:uFillTx/>
              <a:latin typeface="Franklin Gothic Medium" panose="020B0603020102020204"/>
              <a:ea typeface="+mn-ea"/>
              <a:cs typeface="+mn-cs"/>
            </a:endParaRPr>
          </a:p>
        </p:txBody>
      </p:sp>
      <p:sp>
        <p:nvSpPr>
          <p:cNvPr id="10" name="Text Placeholder 1">
            <a:extLst>
              <a:ext uri="{FF2B5EF4-FFF2-40B4-BE49-F238E27FC236}">
                <a16:creationId xmlns:a16="http://schemas.microsoft.com/office/drawing/2014/main" id="{2F283559-89F1-4F50-9265-28228DC1D36F}"/>
              </a:ext>
            </a:extLst>
          </p:cNvPr>
          <p:cNvSpPr txBox="1">
            <a:spLocks/>
          </p:cNvSpPr>
          <p:nvPr/>
        </p:nvSpPr>
        <p:spPr>
          <a:xfrm>
            <a:off x="405459" y="4768158"/>
            <a:ext cx="8685066" cy="435893"/>
          </a:xfrm>
          <a:prstGeom prst="rect">
            <a:avLst/>
          </a:prstGeom>
        </p:spPr>
        <p:txBody>
          <a:bodyPr>
            <a:normAutofit/>
          </a:bodyPr>
          <a:lstStyle>
            <a:lvl1pPr marL="171450" indent="-171450" algn="l" defTabSz="685800" rtl="0" eaLnBrk="1" latinLnBrk="0" hangingPunct="1">
              <a:lnSpc>
                <a:spcPct val="90000"/>
              </a:lnSpc>
              <a:spcBef>
                <a:spcPts val="750"/>
              </a:spcBef>
              <a:buClr>
                <a:srgbClr val="F28C11"/>
              </a:buClr>
              <a:buFont typeface="Arial" panose="020B0604020202020204" pitchFamily="34" charset="0"/>
              <a:buChar char="•"/>
              <a:defRPr sz="2000" kern="1200">
                <a:solidFill>
                  <a:schemeClr val="tx1"/>
                </a:solidFill>
                <a:latin typeface="+mn-lt"/>
                <a:ea typeface="+mn-ea"/>
                <a:cs typeface="+mn-cs"/>
              </a:defRPr>
            </a:lvl1pPr>
            <a:lvl2pPr marL="527050" indent="-171450" algn="l" defTabSz="685800" rtl="0" eaLnBrk="1" latinLnBrk="0" hangingPunct="1">
              <a:lnSpc>
                <a:spcPct val="90000"/>
              </a:lnSpc>
              <a:spcBef>
                <a:spcPts val="375"/>
              </a:spcBef>
              <a:buClr>
                <a:srgbClr val="F28C11"/>
              </a:buClr>
              <a:buFont typeface=".AppleSystemUIFont" charset="-120"/>
              <a:buChar char="–"/>
              <a:tabLst/>
              <a:defRPr sz="1600" kern="1200">
                <a:solidFill>
                  <a:schemeClr val="tx1"/>
                </a:solidFill>
                <a:latin typeface="+mn-lt"/>
                <a:ea typeface="+mn-ea"/>
                <a:cs typeface="+mn-cs"/>
              </a:defRPr>
            </a:lvl2pPr>
            <a:lvl3pPr marL="755650" indent="-114300" algn="l" defTabSz="685800" rtl="0" eaLnBrk="1" latinLnBrk="0" hangingPunct="1">
              <a:lnSpc>
                <a:spcPct val="90000"/>
              </a:lnSpc>
              <a:spcBef>
                <a:spcPts val="375"/>
              </a:spcBef>
              <a:buClr>
                <a:srgbClr val="F28C11"/>
              </a:buClr>
              <a:buFont typeface="Wingdings" charset="2"/>
              <a:buChar char="§"/>
              <a:tabLst/>
              <a:defRPr sz="1400" kern="1200">
                <a:solidFill>
                  <a:schemeClr val="tx1"/>
                </a:solidFill>
                <a:latin typeface="+mn-lt"/>
                <a:ea typeface="+mn-ea"/>
                <a:cs typeface="+mn-cs"/>
              </a:defRPr>
            </a:lvl3pPr>
            <a:lvl4pPr marL="984250" indent="-114300" algn="l" defTabSz="685800" rtl="0" eaLnBrk="1" latinLnBrk="0" hangingPunct="1">
              <a:lnSpc>
                <a:spcPct val="90000"/>
              </a:lnSpc>
              <a:spcBef>
                <a:spcPts val="375"/>
              </a:spcBef>
              <a:buClr>
                <a:srgbClr val="F28C11"/>
              </a:buClr>
              <a:buFont typeface="Arial" panose="020B0604020202020204" pitchFamily="34" charset="0"/>
              <a:buChar char="•"/>
              <a:tabLst/>
              <a:defRPr sz="1200" kern="1200">
                <a:solidFill>
                  <a:schemeClr val="tx1"/>
                </a:solidFill>
                <a:latin typeface="+mn-lt"/>
                <a:ea typeface="+mn-ea"/>
                <a:cs typeface="+mn-cs"/>
              </a:defRPr>
            </a:lvl4pPr>
            <a:lvl5pPr marL="1270000" indent="-171450" algn="l" defTabSz="685800" rtl="0" eaLnBrk="1" latinLnBrk="0" hangingPunct="1">
              <a:lnSpc>
                <a:spcPct val="90000"/>
              </a:lnSpc>
              <a:spcBef>
                <a:spcPts val="375"/>
              </a:spcBef>
              <a:buClr>
                <a:srgbClr val="F28C11"/>
              </a:buClr>
              <a:buFont typeface="Courier New" charset="0"/>
              <a:buChar char="o"/>
              <a:tabLs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28C11"/>
              </a:buClr>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Franklin Gothic Book" panose="020B0503020102020204"/>
                <a:ea typeface="Calibri" panose="020F0502020204030204" pitchFamily="34" charset="0"/>
                <a:cs typeface="+mn-cs"/>
              </a:rPr>
              <a:t>1  </a:t>
            </a:r>
            <a:r>
              <a:rPr kumimoji="0" lang="en-US" sz="1200" b="0" i="0" u="none" strike="noStrike" kern="1200" cap="none" spc="0" normalizeH="0" baseline="0" noProof="0" dirty="0" err="1">
                <a:ln>
                  <a:noFill/>
                </a:ln>
                <a:solidFill>
                  <a:prstClr val="black"/>
                </a:solidFill>
                <a:effectLst/>
                <a:uLnTx/>
                <a:uFillTx/>
                <a:latin typeface="Franklin Gothic Book" panose="020B0503020102020204"/>
                <a:ea typeface="Calibri" panose="020F0502020204030204" pitchFamily="34" charset="0"/>
                <a:cs typeface="+mn-cs"/>
              </a:rPr>
              <a:t>Ther</a:t>
            </a:r>
            <a:r>
              <a:rPr kumimoji="0" lang="en-US" sz="1200" b="0" i="0" u="none" strike="noStrike" kern="1200" cap="none" spc="0" normalizeH="0" baseline="0" noProof="0" dirty="0">
                <a:ln>
                  <a:noFill/>
                </a:ln>
                <a:solidFill>
                  <a:prstClr val="black"/>
                </a:solidFill>
                <a:effectLst/>
                <a:uLnTx/>
                <a:uFillTx/>
                <a:latin typeface="Franklin Gothic Book" panose="020B0503020102020204"/>
                <a:ea typeface="Calibri" panose="020F0502020204030204" pitchFamily="34" charset="0"/>
                <a:cs typeface="+mn-cs"/>
              </a:rPr>
              <a:t> </a:t>
            </a:r>
            <a:r>
              <a:rPr kumimoji="0" lang="en-US" sz="1200" b="0" i="0" u="none" strike="noStrike" kern="1200" cap="none" spc="0" normalizeH="0" baseline="0" noProof="0" dirty="0" err="1">
                <a:ln>
                  <a:noFill/>
                </a:ln>
                <a:solidFill>
                  <a:prstClr val="black"/>
                </a:solidFill>
                <a:effectLst/>
                <a:uLnTx/>
                <a:uFillTx/>
                <a:latin typeface="Franklin Gothic Book" panose="020B0503020102020204"/>
                <a:ea typeface="Calibri" panose="020F0502020204030204" pitchFamily="34" charset="0"/>
                <a:cs typeface="+mn-cs"/>
              </a:rPr>
              <a:t>Innov</a:t>
            </a:r>
            <a:r>
              <a:rPr kumimoji="0" lang="en-US" sz="1200" b="0" i="0" u="none" strike="noStrike" kern="1200" cap="none" spc="0" normalizeH="0" baseline="0" noProof="0" dirty="0">
                <a:ln>
                  <a:noFill/>
                </a:ln>
                <a:solidFill>
                  <a:prstClr val="black"/>
                </a:solidFill>
                <a:effectLst/>
                <a:uLnTx/>
                <a:uFillTx/>
                <a:latin typeface="Franklin Gothic Book" panose="020B0503020102020204"/>
                <a:ea typeface="Calibri" panose="020F0502020204030204" pitchFamily="34" charset="0"/>
                <a:cs typeface="+mn-cs"/>
              </a:rPr>
              <a:t> </a:t>
            </a:r>
            <a:r>
              <a:rPr kumimoji="0" lang="en-US" sz="1200" b="0" i="0" u="none" strike="noStrike" kern="1200" cap="none" spc="0" normalizeH="0" baseline="0" noProof="0" dirty="0" err="1">
                <a:ln>
                  <a:noFill/>
                </a:ln>
                <a:solidFill>
                  <a:prstClr val="black"/>
                </a:solidFill>
                <a:effectLst/>
                <a:uLnTx/>
                <a:uFillTx/>
                <a:latin typeface="Franklin Gothic Book" panose="020B0503020102020204"/>
                <a:ea typeface="Calibri" panose="020F0502020204030204" pitchFamily="34" charset="0"/>
                <a:cs typeface="+mn-cs"/>
              </a:rPr>
              <a:t>Regul</a:t>
            </a:r>
            <a:r>
              <a:rPr kumimoji="0" lang="en-US" sz="1200" b="0" i="0" u="none" strike="noStrike" kern="1200" cap="none" spc="0" normalizeH="0" baseline="0" noProof="0" dirty="0">
                <a:ln>
                  <a:noFill/>
                </a:ln>
                <a:solidFill>
                  <a:prstClr val="black"/>
                </a:solidFill>
                <a:effectLst/>
                <a:uLnTx/>
                <a:uFillTx/>
                <a:latin typeface="Franklin Gothic Book" panose="020B0503020102020204"/>
                <a:ea typeface="Calibri" panose="020F0502020204030204" pitchFamily="34" charset="0"/>
                <a:cs typeface="+mn-cs"/>
              </a:rPr>
              <a:t> Sci 2018; 474-481; 2 </a:t>
            </a:r>
            <a:r>
              <a:rPr kumimoji="0" lang="en-US" sz="1200" b="0" i="0" u="none" strike="noStrike" kern="1200" cap="none" spc="0" normalizeH="0" baseline="0" noProof="0" dirty="0" err="1">
                <a:ln>
                  <a:noFill/>
                </a:ln>
                <a:solidFill>
                  <a:prstClr val="black"/>
                </a:solidFill>
                <a:effectLst/>
                <a:uLnTx/>
                <a:uFillTx/>
                <a:latin typeface="Franklin Gothic Book" panose="020B0503020102020204"/>
                <a:ea typeface="Calibri" panose="020F0502020204030204" pitchFamily="34" charset="0"/>
                <a:cs typeface="+mn-cs"/>
              </a:rPr>
              <a:t>Elife</a:t>
            </a:r>
            <a:r>
              <a:rPr kumimoji="0" lang="en-US" sz="1200" b="0" i="0" u="none" strike="noStrike" kern="1200" cap="none" spc="0" normalizeH="0" baseline="0" noProof="0" dirty="0">
                <a:ln>
                  <a:noFill/>
                </a:ln>
                <a:solidFill>
                  <a:prstClr val="black"/>
                </a:solidFill>
                <a:effectLst/>
                <a:uLnTx/>
                <a:uFillTx/>
                <a:latin typeface="Franklin Gothic Book" panose="020B0503020102020204"/>
                <a:ea typeface="Calibri" panose="020F0502020204030204" pitchFamily="34" charset="0"/>
                <a:cs typeface="+mn-cs"/>
              </a:rPr>
              <a:t> 2017 6:e27725. </a:t>
            </a:r>
            <a:r>
              <a:rPr kumimoji="0" lang="en-US" sz="1200" b="0" i="0" u="none" strike="noStrike" kern="1200" cap="none" spc="0" normalizeH="0" baseline="0" noProof="0" dirty="0" err="1">
                <a:ln>
                  <a:noFill/>
                </a:ln>
                <a:solidFill>
                  <a:prstClr val="black"/>
                </a:solidFill>
                <a:effectLst/>
                <a:uLnTx/>
                <a:uFillTx/>
                <a:latin typeface="Franklin Gothic Book" panose="020B0503020102020204"/>
                <a:ea typeface="Calibri" panose="020F0502020204030204" pitchFamily="34" charset="0"/>
                <a:cs typeface="+mn-cs"/>
              </a:rPr>
              <a:t>doi</a:t>
            </a:r>
            <a:r>
              <a:rPr kumimoji="0" lang="en-US" sz="1200" b="0" i="0" u="none" strike="noStrike" kern="1200" cap="none" spc="0" normalizeH="0" baseline="0" noProof="0" dirty="0">
                <a:ln>
                  <a:noFill/>
                </a:ln>
                <a:solidFill>
                  <a:prstClr val="black"/>
                </a:solidFill>
                <a:effectLst/>
                <a:uLnTx/>
                <a:uFillTx/>
                <a:latin typeface="Franklin Gothic Book" panose="020B0503020102020204"/>
                <a:ea typeface="Calibri" panose="020F0502020204030204" pitchFamily="34" charset="0"/>
                <a:cs typeface="+mn-cs"/>
              </a:rPr>
              <a:t>: 10.7554/eLife.27725. </a:t>
            </a:r>
          </a:p>
          <a:p>
            <a:pPr marL="171450" marR="0" lvl="0" indent="-171450" algn="l" defTabSz="685800" rtl="0" eaLnBrk="1" fontAlgn="auto" latinLnBrk="0" hangingPunct="1">
              <a:lnSpc>
                <a:spcPct val="90000"/>
              </a:lnSpc>
              <a:spcBef>
                <a:spcPts val="750"/>
              </a:spcBef>
              <a:spcAft>
                <a:spcPts val="0"/>
              </a:spcAft>
              <a:buClr>
                <a:srgbClr val="F28C11"/>
              </a:buClr>
              <a:buSzTx/>
              <a:buFont typeface="Arial" panose="020B0604020202020204" pitchFamily="34" charset="0"/>
              <a:buChar char="•"/>
              <a:tabLst/>
              <a:defRPr/>
            </a:pPr>
            <a:endParaRPr kumimoji="0" lang="en-US" sz="8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2497519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D6D8FE-8B42-4D23-926A-3F09E6BAA233}"/>
              </a:ext>
            </a:extLst>
          </p:cNvPr>
          <p:cNvSpPr>
            <a:spLocks noGrp="1"/>
          </p:cNvSpPr>
          <p:nvPr>
            <p:ph type="title"/>
          </p:nvPr>
        </p:nvSpPr>
        <p:spPr/>
        <p:txBody>
          <a:bodyPr>
            <a:normAutofit/>
          </a:bodyPr>
          <a:lstStyle/>
          <a:p>
            <a:r>
              <a:rPr lang="en-GB" dirty="0"/>
              <a:t>Ipsen commitment on PLS</a:t>
            </a:r>
            <a:endParaRPr lang="en-US" dirty="0"/>
          </a:p>
        </p:txBody>
      </p:sp>
      <p:sp>
        <p:nvSpPr>
          <p:cNvPr id="3" name="Content Placeholder 2">
            <a:extLst>
              <a:ext uri="{FF2B5EF4-FFF2-40B4-BE49-F238E27FC236}">
                <a16:creationId xmlns:a16="http://schemas.microsoft.com/office/drawing/2014/main" id="{F725B3D6-3388-4E9A-AA58-CA7734C9E163}"/>
              </a:ext>
            </a:extLst>
          </p:cNvPr>
          <p:cNvSpPr>
            <a:spLocks noGrp="1"/>
          </p:cNvSpPr>
          <p:nvPr>
            <p:ph idx="1"/>
          </p:nvPr>
        </p:nvSpPr>
        <p:spPr>
          <a:xfrm>
            <a:off x="449944" y="1215384"/>
            <a:ext cx="7869968" cy="3675929"/>
          </a:xfrm>
        </p:spPr>
        <p:txBody>
          <a:bodyPr/>
          <a:lstStyle/>
          <a:p>
            <a:r>
              <a:rPr lang="en-GB" dirty="0"/>
              <a:t>From July 2022, Ipsen commits to publishing, as a minimum, 250-word plain language summaries for all company-sponsored journal publications that include</a:t>
            </a:r>
            <a:br>
              <a:rPr lang="en-GB" dirty="0"/>
            </a:br>
            <a:r>
              <a:rPr lang="en-GB" dirty="0"/>
              <a:t>data from human studies</a:t>
            </a:r>
            <a:endParaRPr lang="en-US" dirty="0"/>
          </a:p>
        </p:txBody>
      </p:sp>
      <p:sp>
        <p:nvSpPr>
          <p:cNvPr id="4" name="Slide Number Placeholder 3">
            <a:extLst>
              <a:ext uri="{FF2B5EF4-FFF2-40B4-BE49-F238E27FC236}">
                <a16:creationId xmlns:a16="http://schemas.microsoft.com/office/drawing/2014/main" id="{0E605E64-8DB6-4DCE-AAB8-65BF7A8DF8B7}"/>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7</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5493148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F8F7FAD-027B-4212-A597-CBACADB16623}"/>
              </a:ext>
            </a:extLst>
          </p:cNvPr>
          <p:cNvSpPr>
            <a:spLocks noGrp="1"/>
          </p:cNvSpPr>
          <p:nvPr>
            <p:ph type="title"/>
          </p:nvPr>
        </p:nvSpPr>
        <p:spPr/>
        <p:txBody>
          <a:bodyPr>
            <a:normAutofit fontScale="90000"/>
          </a:bodyPr>
          <a:lstStyle/>
          <a:p>
            <a:r>
              <a:rPr lang="en-GB" sz="3600" dirty="0"/>
              <a:t>Open Pharma PLS recommendations</a:t>
            </a:r>
            <a:endParaRPr lang="en-US" dirty="0"/>
          </a:p>
        </p:txBody>
      </p:sp>
      <p:sp>
        <p:nvSpPr>
          <p:cNvPr id="7" name="Content Placeholder 6">
            <a:extLst>
              <a:ext uri="{FF2B5EF4-FFF2-40B4-BE49-F238E27FC236}">
                <a16:creationId xmlns:a16="http://schemas.microsoft.com/office/drawing/2014/main" id="{7692921A-B59B-4C33-9463-69A43173C621}"/>
              </a:ext>
            </a:extLst>
          </p:cNvPr>
          <p:cNvSpPr>
            <a:spLocks noGrp="1"/>
          </p:cNvSpPr>
          <p:nvPr>
            <p:ph idx="1"/>
          </p:nvPr>
        </p:nvSpPr>
        <p:spPr>
          <a:xfrm>
            <a:off x="308610" y="1215384"/>
            <a:ext cx="8679942" cy="3502920"/>
          </a:xfrm>
        </p:spPr>
        <p:txBody>
          <a:bodyPr>
            <a:normAutofit/>
          </a:bodyPr>
          <a:lstStyle/>
          <a:p>
            <a:pPr marL="0" indent="0">
              <a:buNone/>
            </a:pPr>
            <a:r>
              <a:rPr lang="en-GB" sz="1600" b="1" dirty="0"/>
              <a:t>As a minimum standard, we recommend that these plain language summaries are:</a:t>
            </a:r>
          </a:p>
          <a:p>
            <a:pPr lvl="0"/>
            <a:r>
              <a:rPr lang="en-GB" sz="1600" dirty="0"/>
              <a:t>text based and concise (of 250 words or fewer) </a:t>
            </a:r>
            <a:endParaRPr lang="en-US" sz="1600" dirty="0"/>
          </a:p>
          <a:p>
            <a:pPr lvl="0"/>
            <a:r>
              <a:rPr lang="en-GB" sz="1600" dirty="0"/>
              <a:t>explicitly linked to the source publication citation and relevant clinical trial identifiers, with brief reference to the existing evidence </a:t>
            </a:r>
            <a:endParaRPr lang="en-US" sz="1600" dirty="0"/>
          </a:p>
          <a:p>
            <a:pPr lvl="0"/>
            <a:r>
              <a:rPr lang="en-GB" sz="1600" dirty="0"/>
              <a:t>consistent with the same overall key points and conclusions as the scientific publication abstract</a:t>
            </a:r>
            <a:endParaRPr lang="en-US" sz="1600" dirty="0"/>
          </a:p>
          <a:p>
            <a:pPr lvl="0"/>
            <a:r>
              <a:rPr lang="en-GB" sz="1600" dirty="0"/>
              <a:t>developed alongside the main content of the manuscript</a:t>
            </a:r>
          </a:p>
          <a:p>
            <a:pPr lvl="0"/>
            <a:r>
              <a:rPr lang="en-GB" sz="1600" dirty="0"/>
              <a:t>ideally reviewed by a non-expert during development</a:t>
            </a:r>
            <a:endParaRPr lang="en-US" sz="1600" dirty="0"/>
          </a:p>
          <a:p>
            <a:pPr lvl="0"/>
            <a:r>
              <a:rPr lang="en-GB" sz="1600" dirty="0"/>
              <a:t>fully peer reviewed alongside the main content </a:t>
            </a:r>
            <a:endParaRPr lang="en-US" sz="1600" dirty="0"/>
          </a:p>
          <a:p>
            <a:pPr lvl="0"/>
            <a:r>
              <a:rPr lang="en-GB" sz="1600" dirty="0"/>
              <a:t>made available to read free of charge alongside the scientific publication abstract</a:t>
            </a:r>
            <a:endParaRPr lang="en-US" sz="1600" dirty="0"/>
          </a:p>
          <a:p>
            <a:pPr lvl="0"/>
            <a:r>
              <a:rPr lang="en-GB" sz="1600" dirty="0"/>
              <a:t>tagged with appropriate metadata and keywords to improve discoverability in search engines, directories, and indexes</a:t>
            </a:r>
            <a:endParaRPr lang="en-US" sz="1600" dirty="0"/>
          </a:p>
        </p:txBody>
      </p:sp>
      <p:sp>
        <p:nvSpPr>
          <p:cNvPr id="5" name="Slide Number Placeholder 4">
            <a:extLst>
              <a:ext uri="{FF2B5EF4-FFF2-40B4-BE49-F238E27FC236}">
                <a16:creationId xmlns:a16="http://schemas.microsoft.com/office/drawing/2014/main" id="{A2B966BB-5CF6-4607-90E6-E83E13101715}"/>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8</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8" name="TextBox 7">
            <a:extLst>
              <a:ext uri="{FF2B5EF4-FFF2-40B4-BE49-F238E27FC236}">
                <a16:creationId xmlns:a16="http://schemas.microsoft.com/office/drawing/2014/main" id="{BB6B0731-8948-4BA5-92AA-7938E7C83037}"/>
              </a:ext>
            </a:extLst>
          </p:cNvPr>
          <p:cNvSpPr txBox="1"/>
          <p:nvPr/>
        </p:nvSpPr>
        <p:spPr>
          <a:xfrm>
            <a:off x="478390" y="4602840"/>
            <a:ext cx="5929497" cy="461665"/>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Franklin Gothic Book" panose="020B0503020102020204"/>
                <a:ea typeface="Calibri" panose="020F0502020204030204" pitchFamily="34" charset="0"/>
                <a:cs typeface="Times New Roman" panose="02020603050405020304" pitchFamily="18" charset="0"/>
              </a:rPr>
              <a:t>PLS, plain language summary. </a:t>
            </a:r>
            <a:br>
              <a:rPr kumimoji="0" lang="en-US" sz="1200" b="0" i="0" u="none" strike="noStrike" kern="1200" cap="none" spc="0" normalizeH="0" baseline="0" noProof="0" dirty="0">
                <a:ln>
                  <a:noFill/>
                </a:ln>
                <a:solidFill>
                  <a:prstClr val="black"/>
                </a:solidFill>
                <a:effectLst/>
                <a:uLnTx/>
                <a:uFillTx/>
                <a:latin typeface="Franklin Gothic Book" panose="020B0503020102020204"/>
                <a:ea typeface="Calibri" panose="020F0502020204030204" pitchFamily="34" charset="0"/>
                <a:cs typeface="Times New Roman" panose="02020603050405020304" pitchFamily="18" charset="0"/>
              </a:rPr>
            </a:br>
            <a:r>
              <a:rPr kumimoji="0" lang="en-US" sz="1200" b="0" i="0" u="none" strike="noStrike" kern="1200" cap="none" spc="0" normalizeH="0" baseline="0" noProof="0" dirty="0">
                <a:ln>
                  <a:noFill/>
                </a:ln>
                <a:solidFill>
                  <a:prstClr val="black"/>
                </a:solidFill>
                <a:effectLst/>
                <a:uLnTx/>
                <a:uFillTx/>
                <a:latin typeface="Franklin Gothic Book" panose="020B0503020102020204"/>
                <a:ea typeface="Calibri" panose="020F0502020204030204" pitchFamily="34" charset="0"/>
                <a:cs typeface="Times New Roman" panose="02020603050405020304" pitchFamily="18" charset="0"/>
              </a:rPr>
              <a:t>Rosenberg et al. </a:t>
            </a:r>
            <a:r>
              <a:rPr kumimoji="0" lang="en-US" sz="1200" b="0" i="0" u="none" strike="noStrike" kern="1200" cap="none" spc="0" normalizeH="0" baseline="0" noProof="0" dirty="0" err="1">
                <a:ln>
                  <a:noFill/>
                </a:ln>
                <a:solidFill>
                  <a:prstClr val="black"/>
                </a:solidFill>
                <a:effectLst/>
                <a:uLnTx/>
                <a:uFillTx/>
                <a:latin typeface="Franklin Gothic Book" panose="020B0503020102020204"/>
                <a:ea typeface="Calibri" panose="020F0502020204030204" pitchFamily="34" charset="0"/>
                <a:cs typeface="Times New Roman" panose="02020603050405020304" pitchFamily="18" charset="0"/>
              </a:rPr>
              <a:t>Curr</a:t>
            </a:r>
            <a:r>
              <a:rPr kumimoji="0" lang="en-US" sz="1200" b="0" i="0" u="none" strike="noStrike" kern="1200" cap="none" spc="0" normalizeH="0" baseline="0" noProof="0" dirty="0">
                <a:ln>
                  <a:noFill/>
                </a:ln>
                <a:solidFill>
                  <a:prstClr val="black"/>
                </a:solidFill>
                <a:effectLst/>
                <a:uLnTx/>
                <a:uFillTx/>
                <a:latin typeface="Franklin Gothic Book" panose="020B0503020102020204"/>
                <a:ea typeface="Calibri" panose="020F0502020204030204" pitchFamily="34" charset="0"/>
                <a:cs typeface="Times New Roman" panose="02020603050405020304" pitchFamily="18" charset="0"/>
              </a:rPr>
              <a:t> Med Res </a:t>
            </a:r>
            <a:r>
              <a:rPr kumimoji="0" lang="en-US" sz="1200" b="0" i="0" u="none" strike="noStrike" kern="1200" cap="none" spc="0" normalizeH="0" baseline="0" noProof="0" dirty="0" err="1">
                <a:ln>
                  <a:noFill/>
                </a:ln>
                <a:solidFill>
                  <a:prstClr val="black"/>
                </a:solidFill>
                <a:effectLst/>
                <a:uLnTx/>
                <a:uFillTx/>
                <a:latin typeface="Franklin Gothic Book" panose="020B0503020102020204"/>
                <a:ea typeface="Calibri" panose="020F0502020204030204" pitchFamily="34" charset="0"/>
                <a:cs typeface="Times New Roman" panose="02020603050405020304" pitchFamily="18" charset="0"/>
              </a:rPr>
              <a:t>Opin</a:t>
            </a:r>
            <a:r>
              <a:rPr kumimoji="0" lang="en-US" sz="1200" b="0" i="0" u="none" strike="noStrike" kern="1200" cap="none" spc="0" normalizeH="0" baseline="0" noProof="0" dirty="0">
                <a:ln>
                  <a:noFill/>
                </a:ln>
                <a:solidFill>
                  <a:prstClr val="black"/>
                </a:solidFill>
                <a:effectLst/>
                <a:uLnTx/>
                <a:uFillTx/>
                <a:latin typeface="Franklin Gothic Book" panose="020B0503020102020204"/>
                <a:ea typeface="Calibri" panose="020F0502020204030204" pitchFamily="34" charset="0"/>
                <a:cs typeface="Times New Roman" panose="02020603050405020304" pitchFamily="18" charset="0"/>
              </a:rPr>
              <a:t> 2021, 2015-16 </a:t>
            </a: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504085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18896-75B7-4CF2-B4CF-74FC8B1B79F2}"/>
              </a:ext>
            </a:extLst>
          </p:cNvPr>
          <p:cNvSpPr>
            <a:spLocks noGrp="1"/>
          </p:cNvSpPr>
          <p:nvPr>
            <p:ph type="title"/>
          </p:nvPr>
        </p:nvSpPr>
        <p:spPr/>
        <p:txBody>
          <a:bodyPr>
            <a:normAutofit/>
          </a:bodyPr>
          <a:lstStyle/>
          <a:p>
            <a:r>
              <a:rPr lang="en-GB" dirty="0"/>
              <a:t>Publishing a PLS on PubMed</a:t>
            </a:r>
            <a:endParaRPr lang="en-US" dirty="0"/>
          </a:p>
        </p:txBody>
      </p:sp>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9</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pSp>
        <p:nvGrpSpPr>
          <p:cNvPr id="8" name="Group 7">
            <a:extLst>
              <a:ext uri="{FF2B5EF4-FFF2-40B4-BE49-F238E27FC236}">
                <a16:creationId xmlns:a16="http://schemas.microsoft.com/office/drawing/2014/main" id="{B187D005-97C5-434C-BEE0-F9BDAED58BDA}"/>
              </a:ext>
            </a:extLst>
          </p:cNvPr>
          <p:cNvGrpSpPr>
            <a:grpSpLocks noChangeAspect="1"/>
          </p:cNvGrpSpPr>
          <p:nvPr/>
        </p:nvGrpSpPr>
        <p:grpSpPr>
          <a:xfrm>
            <a:off x="1229111" y="1384912"/>
            <a:ext cx="2339646" cy="3135860"/>
            <a:chOff x="1466851" y="2037718"/>
            <a:chExt cx="3249508" cy="4355362"/>
          </a:xfrm>
        </p:grpSpPr>
        <p:pic>
          <p:nvPicPr>
            <p:cNvPr id="6" name="Picture 5">
              <a:extLst>
                <a:ext uri="{FF2B5EF4-FFF2-40B4-BE49-F238E27FC236}">
                  <a16:creationId xmlns:a16="http://schemas.microsoft.com/office/drawing/2014/main" id="{F1EBC41A-46C9-4409-8AA1-363FCB51F172}"/>
                </a:ext>
              </a:extLst>
            </p:cNvPr>
            <p:cNvPicPr>
              <a:picLocks noChangeAspect="1"/>
            </p:cNvPicPr>
            <p:nvPr/>
          </p:nvPicPr>
          <p:blipFill rotWithShape="1">
            <a:blip r:embed="rId2"/>
            <a:srcRect l="34375" t="22223" r="35781" b="6666"/>
            <a:stretch/>
          </p:blipFill>
          <p:spPr>
            <a:xfrm>
              <a:off x="1466851" y="2037718"/>
              <a:ext cx="3249508" cy="4355362"/>
            </a:xfrm>
            <a:prstGeom prst="rect">
              <a:avLst/>
            </a:prstGeom>
            <a:ln>
              <a:noFill/>
            </a:ln>
            <a:effectLst>
              <a:outerShdw blurRad="292100" dist="139700" dir="2700000" algn="tl" rotWithShape="0">
                <a:srgbClr val="333333">
                  <a:alpha val="65000"/>
                </a:srgbClr>
              </a:outerShdw>
            </a:effectLst>
          </p:spPr>
        </p:pic>
        <p:sp>
          <p:nvSpPr>
            <p:cNvPr id="7" name="Rectangle: Rounded Corners 6">
              <a:extLst>
                <a:ext uri="{FF2B5EF4-FFF2-40B4-BE49-F238E27FC236}">
                  <a16:creationId xmlns:a16="http://schemas.microsoft.com/office/drawing/2014/main" id="{9D827B4C-103E-4237-A8DC-F0CC1BC6591B}"/>
                </a:ext>
              </a:extLst>
            </p:cNvPr>
            <p:cNvSpPr/>
            <p:nvPr/>
          </p:nvSpPr>
          <p:spPr>
            <a:xfrm>
              <a:off x="1581151" y="4016189"/>
              <a:ext cx="1485900" cy="147021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11" name="Group 10">
            <a:extLst>
              <a:ext uri="{FF2B5EF4-FFF2-40B4-BE49-F238E27FC236}">
                <a16:creationId xmlns:a16="http://schemas.microsoft.com/office/drawing/2014/main" id="{52D8A788-0A4E-4632-8D84-57FCF9C849D2}"/>
              </a:ext>
            </a:extLst>
          </p:cNvPr>
          <p:cNvGrpSpPr>
            <a:grpSpLocks noChangeAspect="1"/>
          </p:cNvGrpSpPr>
          <p:nvPr/>
        </p:nvGrpSpPr>
        <p:grpSpPr>
          <a:xfrm>
            <a:off x="5966997" y="1298112"/>
            <a:ext cx="2047190" cy="3309459"/>
            <a:chOff x="7772400" y="2037718"/>
            <a:chExt cx="2685810" cy="4341843"/>
          </a:xfrm>
        </p:grpSpPr>
        <p:pic>
          <p:nvPicPr>
            <p:cNvPr id="9" name="Picture 8">
              <a:extLst>
                <a:ext uri="{FF2B5EF4-FFF2-40B4-BE49-F238E27FC236}">
                  <a16:creationId xmlns:a16="http://schemas.microsoft.com/office/drawing/2014/main" id="{DC9C93CA-5A30-479B-8D0D-97BEB38DBC0F}"/>
                </a:ext>
              </a:extLst>
            </p:cNvPr>
            <p:cNvPicPr>
              <a:picLocks noChangeAspect="1"/>
            </p:cNvPicPr>
            <p:nvPr/>
          </p:nvPicPr>
          <p:blipFill rotWithShape="1">
            <a:blip r:embed="rId3"/>
            <a:srcRect l="34687" t="14861" r="38047" b="7639"/>
            <a:stretch/>
          </p:blipFill>
          <p:spPr>
            <a:xfrm>
              <a:off x="7772400" y="2037718"/>
              <a:ext cx="2685810" cy="4294218"/>
            </a:xfrm>
            <a:prstGeom prst="rect">
              <a:avLst/>
            </a:prstGeom>
            <a:ln>
              <a:noFill/>
            </a:ln>
            <a:effectLst>
              <a:outerShdw blurRad="292100" dist="139700" dir="2700000" algn="tl" rotWithShape="0">
                <a:srgbClr val="333333">
                  <a:alpha val="65000"/>
                </a:srgbClr>
              </a:outerShdw>
            </a:effectLst>
          </p:spPr>
        </p:pic>
        <p:sp>
          <p:nvSpPr>
            <p:cNvPr id="10" name="Rectangle: Rounded Corners 9">
              <a:extLst>
                <a:ext uri="{FF2B5EF4-FFF2-40B4-BE49-F238E27FC236}">
                  <a16:creationId xmlns:a16="http://schemas.microsoft.com/office/drawing/2014/main" id="{4C7CF359-54AB-4F07-8C11-C6CBA4172FD7}"/>
                </a:ext>
              </a:extLst>
            </p:cNvPr>
            <p:cNvSpPr/>
            <p:nvPr/>
          </p:nvSpPr>
          <p:spPr>
            <a:xfrm>
              <a:off x="7772400" y="4815656"/>
              <a:ext cx="2105025" cy="156390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sp>
        <p:nvSpPr>
          <p:cNvPr id="12" name="Arrow: Right 11">
            <a:extLst>
              <a:ext uri="{FF2B5EF4-FFF2-40B4-BE49-F238E27FC236}">
                <a16:creationId xmlns:a16="http://schemas.microsoft.com/office/drawing/2014/main" id="{857A9880-6276-4A55-AE09-920B9F5C4558}"/>
              </a:ext>
            </a:extLst>
          </p:cNvPr>
          <p:cNvSpPr/>
          <p:nvPr/>
        </p:nvSpPr>
        <p:spPr>
          <a:xfrm>
            <a:off x="4107612" y="2679954"/>
            <a:ext cx="1495425" cy="581025"/>
          </a:xfrm>
          <a:prstGeom prst="rightArrow">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13" name="TextBox 12">
            <a:extLst>
              <a:ext uri="{FF2B5EF4-FFF2-40B4-BE49-F238E27FC236}">
                <a16:creationId xmlns:a16="http://schemas.microsoft.com/office/drawing/2014/main" id="{BAFC4D34-3959-4225-A634-D379C8B5B07F}"/>
              </a:ext>
            </a:extLst>
          </p:cNvPr>
          <p:cNvSpPr txBox="1"/>
          <p:nvPr/>
        </p:nvSpPr>
        <p:spPr>
          <a:xfrm>
            <a:off x="4002283" y="2440079"/>
            <a:ext cx="1531188" cy="369332"/>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Metadata tag</a:t>
            </a: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14" name="TextBox 13">
            <a:extLst>
              <a:ext uri="{FF2B5EF4-FFF2-40B4-BE49-F238E27FC236}">
                <a16:creationId xmlns:a16="http://schemas.microsoft.com/office/drawing/2014/main" id="{E099949B-9BEB-4415-96AE-D6848253DB83}"/>
              </a:ext>
            </a:extLst>
          </p:cNvPr>
          <p:cNvSpPr txBox="1"/>
          <p:nvPr/>
        </p:nvSpPr>
        <p:spPr>
          <a:xfrm>
            <a:off x="503274" y="4697135"/>
            <a:ext cx="2836930"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Kelley et al. Adv </a:t>
            </a:r>
            <a:r>
              <a:rPr kumimoji="0" lang="en-US" sz="1200" b="0" i="0" u="none" strike="noStrike" kern="1200" cap="none" spc="0" normalizeH="0" baseline="0" noProof="0" dirty="0" err="1">
                <a:ln>
                  <a:noFill/>
                </a:ln>
                <a:solidFill>
                  <a:prstClr val="black"/>
                </a:solidFill>
                <a:effectLst/>
                <a:uLnTx/>
                <a:uFillTx/>
                <a:latin typeface="Franklin Gothic Book" panose="020B0503020102020204"/>
                <a:ea typeface="+mn-ea"/>
                <a:cs typeface="+mn-cs"/>
              </a:rPr>
              <a:t>Ther</a:t>
            </a:r>
            <a:r>
              <a:rPr kumimoji="0" lang="en-US"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 2020, 2678-2695. </a:t>
            </a:r>
          </a:p>
        </p:txBody>
      </p:sp>
    </p:spTree>
    <p:extLst>
      <p:ext uri="{BB962C8B-B14F-4D97-AF65-F5344CB8AC3E}">
        <p14:creationId xmlns:p14="http://schemas.microsoft.com/office/powerpoint/2010/main" val="2363601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Freeform: Shape 24">
            <a:extLst>
              <a:ext uri="{FF2B5EF4-FFF2-40B4-BE49-F238E27FC236}">
                <a16:creationId xmlns:a16="http://schemas.microsoft.com/office/drawing/2014/main" id="{A3FD4A1C-9821-443E-9CA3-AE73D3D581DE}"/>
              </a:ext>
            </a:extLst>
          </p:cNvPr>
          <p:cNvSpPr/>
          <p:nvPr/>
        </p:nvSpPr>
        <p:spPr>
          <a:xfrm>
            <a:off x="3595925" y="1279669"/>
            <a:ext cx="1985310" cy="3257942"/>
          </a:xfrm>
          <a:custGeom>
            <a:avLst/>
            <a:gdLst>
              <a:gd name="connsiteX0" fmla="*/ 2074820 w 4149640"/>
              <a:gd name="connsiteY0" fmla="*/ 5213650 h 6809667"/>
              <a:gd name="connsiteX1" fmla="*/ 2872829 w 4149640"/>
              <a:gd name="connsiteY1" fmla="*/ 6011659 h 6809667"/>
              <a:gd name="connsiteX2" fmla="*/ 2074820 w 4149640"/>
              <a:gd name="connsiteY2" fmla="*/ 6809667 h 6809667"/>
              <a:gd name="connsiteX3" fmla="*/ 1276812 w 4149640"/>
              <a:gd name="connsiteY3" fmla="*/ 6011659 h 6809667"/>
              <a:gd name="connsiteX4" fmla="*/ 2074820 w 4149640"/>
              <a:gd name="connsiteY4" fmla="*/ 5213650 h 6809667"/>
              <a:gd name="connsiteX5" fmla="*/ 2074820 w 4149640"/>
              <a:gd name="connsiteY5" fmla="*/ 0 h 6809667"/>
              <a:gd name="connsiteX6" fmla="*/ 4149640 w 4149640"/>
              <a:gd name="connsiteY6" fmla="*/ 2074820 h 6809667"/>
              <a:gd name="connsiteX7" fmla="*/ 3418133 w 4149640"/>
              <a:gd name="connsiteY7" fmla="*/ 3656207 h 6809667"/>
              <a:gd name="connsiteX8" fmla="*/ 2872828 w 4149640"/>
              <a:gd name="connsiteY8" fmla="*/ 4119051 h 6809667"/>
              <a:gd name="connsiteX9" fmla="*/ 2872828 w 4149640"/>
              <a:gd name="connsiteY9" fmla="*/ 4814648 h 6809667"/>
              <a:gd name="connsiteX10" fmla="*/ 1276812 w 4149640"/>
              <a:gd name="connsiteY10" fmla="*/ 4814648 h 6809667"/>
              <a:gd name="connsiteX11" fmla="*/ 1276812 w 4149640"/>
              <a:gd name="connsiteY11" fmla="*/ 3382224 h 6809667"/>
              <a:gd name="connsiteX12" fmla="*/ 2074820 w 4149640"/>
              <a:gd name="connsiteY12" fmla="*/ 2703916 h 6809667"/>
              <a:gd name="connsiteX13" fmla="*/ 2384713 w 4149640"/>
              <a:gd name="connsiteY13" fmla="*/ 2440574 h 6809667"/>
              <a:gd name="connsiteX14" fmla="*/ 2553625 w 4149640"/>
              <a:gd name="connsiteY14" fmla="*/ 2074820 h 6809667"/>
              <a:gd name="connsiteX15" fmla="*/ 2074820 w 4149640"/>
              <a:gd name="connsiteY15" fmla="*/ 1596016 h 6809667"/>
              <a:gd name="connsiteX16" fmla="*/ 1596016 w 4149640"/>
              <a:gd name="connsiteY16" fmla="*/ 2074820 h 6809667"/>
              <a:gd name="connsiteX17" fmla="*/ 1596016 w 4149640"/>
              <a:gd name="connsiteY17" fmla="*/ 2274322 h 6809667"/>
              <a:gd name="connsiteX18" fmla="*/ 0 w 4149640"/>
              <a:gd name="connsiteY18" fmla="*/ 2274322 h 6809667"/>
              <a:gd name="connsiteX19" fmla="*/ 0 w 4149640"/>
              <a:gd name="connsiteY19" fmla="*/ 2074820 h 6809667"/>
              <a:gd name="connsiteX20" fmla="*/ 2074820 w 4149640"/>
              <a:gd name="connsiteY20" fmla="*/ 0 h 6809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49640" h="6809667">
                <a:moveTo>
                  <a:pt x="2074820" y="5213650"/>
                </a:moveTo>
                <a:cubicBezTo>
                  <a:pt x="2515548" y="5213650"/>
                  <a:pt x="2872829" y="5570930"/>
                  <a:pt x="2872829" y="6011659"/>
                </a:cubicBezTo>
                <a:cubicBezTo>
                  <a:pt x="2872829" y="6452386"/>
                  <a:pt x="2515548" y="6809667"/>
                  <a:pt x="2074820" y="6809667"/>
                </a:cubicBezTo>
                <a:cubicBezTo>
                  <a:pt x="1634092" y="6809667"/>
                  <a:pt x="1276812" y="6452386"/>
                  <a:pt x="1276812" y="6011659"/>
                </a:cubicBezTo>
                <a:cubicBezTo>
                  <a:pt x="1276812" y="5570930"/>
                  <a:pt x="1634092" y="5213650"/>
                  <a:pt x="2074820" y="5213650"/>
                </a:cubicBezTo>
                <a:close/>
                <a:moveTo>
                  <a:pt x="2074820" y="0"/>
                </a:moveTo>
                <a:cubicBezTo>
                  <a:pt x="3218631" y="0"/>
                  <a:pt x="4149640" y="931009"/>
                  <a:pt x="4149640" y="2074820"/>
                </a:cubicBezTo>
                <a:cubicBezTo>
                  <a:pt x="4149640" y="2683966"/>
                  <a:pt x="3882308" y="3261193"/>
                  <a:pt x="3418133" y="3656207"/>
                </a:cubicBezTo>
                <a:lnTo>
                  <a:pt x="2872828" y="4119051"/>
                </a:lnTo>
                <a:lnTo>
                  <a:pt x="2872828" y="4814648"/>
                </a:lnTo>
                <a:lnTo>
                  <a:pt x="1276812" y="4814648"/>
                </a:lnTo>
                <a:lnTo>
                  <a:pt x="1276812" y="3382224"/>
                </a:lnTo>
                <a:lnTo>
                  <a:pt x="2074820" y="2703916"/>
                </a:lnTo>
                <a:lnTo>
                  <a:pt x="2384713" y="2440574"/>
                </a:lnTo>
                <a:cubicBezTo>
                  <a:pt x="2492444" y="2348803"/>
                  <a:pt x="2553625" y="2215802"/>
                  <a:pt x="2553625" y="2074820"/>
                </a:cubicBezTo>
                <a:cubicBezTo>
                  <a:pt x="2553625" y="1811478"/>
                  <a:pt x="2338163" y="1596016"/>
                  <a:pt x="2074820" y="1596016"/>
                </a:cubicBezTo>
                <a:cubicBezTo>
                  <a:pt x="1811478" y="1596016"/>
                  <a:pt x="1596016" y="1811478"/>
                  <a:pt x="1596016" y="2074820"/>
                </a:cubicBezTo>
                <a:lnTo>
                  <a:pt x="1596016" y="2274322"/>
                </a:lnTo>
                <a:lnTo>
                  <a:pt x="0" y="2274322"/>
                </a:lnTo>
                <a:lnTo>
                  <a:pt x="0" y="2074820"/>
                </a:lnTo>
                <a:cubicBezTo>
                  <a:pt x="0" y="931009"/>
                  <a:pt x="931009" y="0"/>
                  <a:pt x="2074820" y="0"/>
                </a:cubicBezTo>
                <a:close/>
              </a:path>
            </a:pathLst>
          </a:custGeom>
          <a:solidFill>
            <a:schemeClr val="accent2">
              <a:lumMod val="20000"/>
              <a:lumOff val="80000"/>
            </a:schemeClr>
          </a:solid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506"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200" dirty="0"/>
              <a:t>How To Ask Question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grpSp>
        <p:nvGrpSpPr>
          <p:cNvPr id="11" name="Group 10">
            <a:extLst>
              <a:ext uri="{FF2B5EF4-FFF2-40B4-BE49-F238E27FC236}">
                <a16:creationId xmlns:a16="http://schemas.microsoft.com/office/drawing/2014/main" id="{9F6AFA23-FBDC-4468-A59A-D56F421CFE00}"/>
              </a:ext>
            </a:extLst>
          </p:cNvPr>
          <p:cNvGrpSpPr>
            <a:grpSpLocks/>
          </p:cNvGrpSpPr>
          <p:nvPr/>
        </p:nvGrpSpPr>
        <p:grpSpPr>
          <a:xfrm>
            <a:off x="971550" y="1333152"/>
            <a:ext cx="7348361" cy="720000"/>
            <a:chOff x="395288" y="6318314"/>
            <a:chExt cx="15749901" cy="1008000"/>
          </a:xfrm>
        </p:grpSpPr>
        <p:sp>
          <p:nvSpPr>
            <p:cNvPr id="12" name="Rectangle: Rounded Corners 11">
              <a:extLst>
                <a:ext uri="{FF2B5EF4-FFF2-40B4-BE49-F238E27FC236}">
                  <a16:creationId xmlns:a16="http://schemas.microsoft.com/office/drawing/2014/main" id="{51C084D7-F551-4315-A7A0-4001CAB0044E}"/>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3" name="Rectangle 12">
              <a:extLst>
                <a:ext uri="{FF2B5EF4-FFF2-40B4-BE49-F238E27FC236}">
                  <a16:creationId xmlns:a16="http://schemas.microsoft.com/office/drawing/2014/main" id="{7ACDE58D-D053-4AF3-9A84-474269278395}"/>
                </a:ext>
              </a:extLst>
            </p:cNvPr>
            <p:cNvSpPr>
              <a:spLocks/>
            </p:cNvSpPr>
            <p:nvPr/>
          </p:nvSpPr>
          <p:spPr>
            <a:xfrm>
              <a:off x="596481" y="6408313"/>
              <a:ext cx="15347512" cy="828001"/>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25"/>
                </a:spcAft>
                <a:buClrTx/>
                <a:buSzTx/>
                <a:buFontTx/>
                <a:buNone/>
                <a:tabLst>
                  <a:tab pos="2088356" algn="l"/>
                </a:tabLst>
                <a:defRPr/>
              </a:pP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Feel free to ask a question at any time, however all questions will be held until the end the of the presentation.</a:t>
              </a:r>
            </a:p>
          </p:txBody>
        </p:sp>
      </p:grpSp>
      <p:grpSp>
        <p:nvGrpSpPr>
          <p:cNvPr id="16" name="Group 15">
            <a:extLst>
              <a:ext uri="{FF2B5EF4-FFF2-40B4-BE49-F238E27FC236}">
                <a16:creationId xmlns:a16="http://schemas.microsoft.com/office/drawing/2014/main" id="{67318545-FB83-4C4A-BF86-55A940293317}"/>
              </a:ext>
            </a:extLst>
          </p:cNvPr>
          <p:cNvGrpSpPr>
            <a:grpSpLocks/>
          </p:cNvGrpSpPr>
          <p:nvPr/>
        </p:nvGrpSpPr>
        <p:grpSpPr>
          <a:xfrm>
            <a:off x="971550" y="2215949"/>
            <a:ext cx="7348361" cy="720000"/>
            <a:chOff x="395288" y="6318314"/>
            <a:chExt cx="15749901" cy="1008000"/>
          </a:xfrm>
        </p:grpSpPr>
        <p:sp>
          <p:nvSpPr>
            <p:cNvPr id="17" name="Rectangle: Rounded Corners 16">
              <a:extLst>
                <a:ext uri="{FF2B5EF4-FFF2-40B4-BE49-F238E27FC236}">
                  <a16:creationId xmlns:a16="http://schemas.microsoft.com/office/drawing/2014/main" id="{74D4A3A2-4CC3-4CE0-BCD1-93B258769DE2}"/>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8" name="Rectangle 17">
              <a:extLst>
                <a:ext uri="{FF2B5EF4-FFF2-40B4-BE49-F238E27FC236}">
                  <a16:creationId xmlns:a16="http://schemas.microsoft.com/office/drawing/2014/main" id="{44ECB822-9122-4C41-A74E-9F82C798F7A4}"/>
                </a:ext>
              </a:extLst>
            </p:cNvPr>
            <p:cNvSpPr>
              <a:spLocks/>
            </p:cNvSpPr>
            <p:nvPr/>
          </p:nvSpPr>
          <p:spPr>
            <a:xfrm>
              <a:off x="596481" y="6408313"/>
              <a:ext cx="15347512" cy="828001"/>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25"/>
                </a:spcAft>
                <a:buClrTx/>
                <a:buSzTx/>
                <a:buFontTx/>
                <a:buNone/>
                <a:tabLst>
                  <a:tab pos="2088356" algn="l"/>
                </a:tabLst>
                <a:defRPr/>
              </a:pPr>
              <a:r>
                <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rPr>
                <a:t>To ask a question</a:t>
              </a: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 open the Q&amp;A window, type your question into the </a:t>
              </a:r>
              <a:b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b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Q&amp;A box. </a:t>
              </a:r>
              <a:r>
                <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rPr>
                <a:t>Click Send</a:t>
              </a:r>
            </a:p>
          </p:txBody>
        </p:sp>
      </p:grpSp>
      <p:grpSp>
        <p:nvGrpSpPr>
          <p:cNvPr id="19" name="Group 18">
            <a:extLst>
              <a:ext uri="{FF2B5EF4-FFF2-40B4-BE49-F238E27FC236}">
                <a16:creationId xmlns:a16="http://schemas.microsoft.com/office/drawing/2014/main" id="{55F0C549-3585-4D16-B408-9F8B69CD1A04}"/>
              </a:ext>
            </a:extLst>
          </p:cNvPr>
          <p:cNvGrpSpPr>
            <a:grpSpLocks/>
          </p:cNvGrpSpPr>
          <p:nvPr/>
        </p:nvGrpSpPr>
        <p:grpSpPr>
          <a:xfrm>
            <a:off x="971550" y="3098746"/>
            <a:ext cx="7348361" cy="720000"/>
            <a:chOff x="395288" y="6318314"/>
            <a:chExt cx="15749901" cy="1008000"/>
          </a:xfrm>
        </p:grpSpPr>
        <p:sp>
          <p:nvSpPr>
            <p:cNvPr id="20" name="Rectangle: Rounded Corners 19">
              <a:extLst>
                <a:ext uri="{FF2B5EF4-FFF2-40B4-BE49-F238E27FC236}">
                  <a16:creationId xmlns:a16="http://schemas.microsoft.com/office/drawing/2014/main" id="{A3BF8ABD-6693-48DE-B0B0-29A3F4815509}"/>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1" name="Rectangle 20">
              <a:extLst>
                <a:ext uri="{FF2B5EF4-FFF2-40B4-BE49-F238E27FC236}">
                  <a16:creationId xmlns:a16="http://schemas.microsoft.com/office/drawing/2014/main" id="{6D04F53B-1A0F-4202-8274-305B1E5DBD41}"/>
                </a:ext>
              </a:extLst>
            </p:cNvPr>
            <p:cNvSpPr>
              <a:spLocks/>
            </p:cNvSpPr>
            <p:nvPr/>
          </p:nvSpPr>
          <p:spPr>
            <a:xfrm>
              <a:off x="596481" y="6408313"/>
              <a:ext cx="15347512" cy="828001"/>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25"/>
                </a:spcAft>
                <a:buClrTx/>
                <a:buSzTx/>
                <a:buFontTx/>
                <a:buNone/>
                <a:tabLst>
                  <a:tab pos="2088356" algn="l"/>
                </a:tabLst>
                <a:defRPr/>
              </a:pPr>
              <a:r>
                <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rPr>
                <a:t>Note: </a:t>
              </a: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Check </a:t>
              </a:r>
              <a:r>
                <a:rPr kumimoji="0" lang="en-GB" sz="1800" b="1" i="0" u="none" strike="noStrike" kern="1200" cap="none" spc="0" normalizeH="0" baseline="0" noProof="0">
                  <a:ln>
                    <a:noFill/>
                  </a:ln>
                  <a:solidFill>
                    <a:srgbClr val="4472C4"/>
                  </a:solidFill>
                  <a:effectLst/>
                  <a:uLnTx/>
                  <a:uFillTx/>
                  <a:latin typeface="Franklin Gothic Book" panose="020B0503020102020204"/>
                  <a:ea typeface="+mn-ea"/>
                  <a:cs typeface="+mn-cs"/>
                </a:rPr>
                <a:t>Send Anonymously </a:t>
              </a: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if you do not want your name attached </a:t>
              </a:r>
              <a:b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b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to your question in the Q&amp;A</a:t>
              </a:r>
            </a:p>
          </p:txBody>
        </p:sp>
      </p:grpSp>
      <p:grpSp>
        <p:nvGrpSpPr>
          <p:cNvPr id="22" name="Group 21">
            <a:extLst>
              <a:ext uri="{FF2B5EF4-FFF2-40B4-BE49-F238E27FC236}">
                <a16:creationId xmlns:a16="http://schemas.microsoft.com/office/drawing/2014/main" id="{06AEAA9D-1FC2-4907-B59F-1AAFBFB44AB9}"/>
              </a:ext>
            </a:extLst>
          </p:cNvPr>
          <p:cNvGrpSpPr>
            <a:grpSpLocks/>
          </p:cNvGrpSpPr>
          <p:nvPr/>
        </p:nvGrpSpPr>
        <p:grpSpPr>
          <a:xfrm>
            <a:off x="971550" y="3981543"/>
            <a:ext cx="7348361" cy="432000"/>
            <a:chOff x="395288" y="6318314"/>
            <a:chExt cx="15749901" cy="1008000"/>
          </a:xfrm>
        </p:grpSpPr>
        <p:sp>
          <p:nvSpPr>
            <p:cNvPr id="23" name="Rectangle: Rounded Corners 22">
              <a:extLst>
                <a:ext uri="{FF2B5EF4-FFF2-40B4-BE49-F238E27FC236}">
                  <a16:creationId xmlns:a16="http://schemas.microsoft.com/office/drawing/2014/main" id="{272B71CD-A552-450C-AF69-E10699086A30}"/>
                </a:ext>
              </a:extLst>
            </p:cNvPr>
            <p:cNvSpPr>
              <a:spLocks/>
            </p:cNvSpPr>
            <p:nvPr/>
          </p:nvSpPr>
          <p:spPr>
            <a:xfrm>
              <a:off x="395288" y="6318314"/>
              <a:ext cx="15749901" cy="1008000"/>
            </a:xfrm>
            <a:prstGeom prst="roundRect">
              <a:avLst>
                <a:gd name="adj" fmla="val 16620"/>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24" name="Rectangle 23">
              <a:extLst>
                <a:ext uri="{FF2B5EF4-FFF2-40B4-BE49-F238E27FC236}">
                  <a16:creationId xmlns:a16="http://schemas.microsoft.com/office/drawing/2014/main" id="{D17A5F58-2D98-4A01-B36B-2207B1F5A0E6}"/>
                </a:ext>
              </a:extLst>
            </p:cNvPr>
            <p:cNvSpPr>
              <a:spLocks/>
            </p:cNvSpPr>
            <p:nvPr/>
          </p:nvSpPr>
          <p:spPr>
            <a:xfrm>
              <a:off x="596481" y="6408313"/>
              <a:ext cx="15347512" cy="828001"/>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25"/>
                </a:spcAft>
                <a:buClrTx/>
                <a:buSzTx/>
                <a:buFontTx/>
                <a:buNone/>
                <a:tabLst>
                  <a:tab pos="2088356" algn="l"/>
                </a:tabLst>
                <a:defRPr/>
              </a:pPr>
              <a:r>
                <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rPr>
                <a:t>We will make every effort to respond to all questions live (out loud)</a:t>
              </a:r>
            </a:p>
          </p:txBody>
        </p:sp>
      </p:grpSp>
    </p:spTree>
    <p:extLst>
      <p:ext uri="{BB962C8B-B14F-4D97-AF65-F5344CB8AC3E}">
        <p14:creationId xmlns:p14="http://schemas.microsoft.com/office/powerpoint/2010/main" val="3481307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914844-34C6-4745-B2FA-4658AF324FE1}"/>
              </a:ext>
            </a:extLst>
          </p:cNvPr>
          <p:cNvSpPr>
            <a:spLocks noGrp="1"/>
          </p:cNvSpPr>
          <p:nvPr>
            <p:ph type="title"/>
          </p:nvPr>
        </p:nvSpPr>
        <p:spPr/>
        <p:txBody>
          <a:bodyPr/>
          <a:lstStyle/>
          <a:p>
            <a:r>
              <a:rPr lang="en-GB" dirty="0"/>
              <a:t>Feasibility of PLS commitment</a:t>
            </a:r>
            <a:endParaRPr lang="en-US" dirty="0"/>
          </a:p>
        </p:txBody>
      </p:sp>
      <p:sp>
        <p:nvSpPr>
          <p:cNvPr id="4" name="Slide Number Placeholder 3">
            <a:extLst>
              <a:ext uri="{FF2B5EF4-FFF2-40B4-BE49-F238E27FC236}">
                <a16:creationId xmlns:a16="http://schemas.microsoft.com/office/drawing/2014/main" id="{8A4AB773-F500-4239-B433-ADCEE3393D0D}"/>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0</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5" name="Text Placeholder 4">
            <a:extLst>
              <a:ext uri="{FF2B5EF4-FFF2-40B4-BE49-F238E27FC236}">
                <a16:creationId xmlns:a16="http://schemas.microsoft.com/office/drawing/2014/main" id="{5826F6B6-CB78-4B21-A426-9B7F1CB2900D}"/>
              </a:ext>
            </a:extLst>
          </p:cNvPr>
          <p:cNvSpPr>
            <a:spLocks noGrp="1"/>
          </p:cNvSpPr>
          <p:nvPr>
            <p:ph idx="1"/>
          </p:nvPr>
        </p:nvSpPr>
        <p:spPr>
          <a:xfrm>
            <a:off x="370114" y="1216025"/>
            <a:ext cx="7949974" cy="3675063"/>
          </a:xfrm>
        </p:spPr>
        <p:txBody>
          <a:bodyPr>
            <a:normAutofit/>
          </a:bodyPr>
          <a:lstStyle/>
          <a:p>
            <a:pPr>
              <a:lnSpc>
                <a:spcPct val="100000"/>
              </a:lnSpc>
            </a:pPr>
            <a:r>
              <a:rPr lang="en-GB" sz="2200" dirty="0">
                <a:latin typeface="Arial" panose="020B0604020202020204" pitchFamily="34" charset="0"/>
                <a:cs typeface="Arial" panose="020B0604020202020204" pitchFamily="34" charset="0"/>
              </a:rPr>
              <a:t>Evaluation of the prevalence of text-only PLS in PubMed</a:t>
            </a:r>
          </a:p>
        </p:txBody>
      </p:sp>
      <p:pic>
        <p:nvPicPr>
          <p:cNvPr id="6" name="Picture 5">
            <a:extLst>
              <a:ext uri="{FF2B5EF4-FFF2-40B4-BE49-F238E27FC236}">
                <a16:creationId xmlns:a16="http://schemas.microsoft.com/office/drawing/2014/main" id="{DB20313F-67C0-45EE-A1B3-CE10CF827D19}"/>
              </a:ext>
            </a:extLst>
          </p:cNvPr>
          <p:cNvPicPr>
            <a:picLocks noChangeAspect="1"/>
          </p:cNvPicPr>
          <p:nvPr/>
        </p:nvPicPr>
        <p:blipFill rotWithShape="1">
          <a:blip r:embed="rId2"/>
          <a:srcRect l="7200" t="24889" r="33600" b="26755"/>
          <a:stretch/>
        </p:blipFill>
        <p:spPr>
          <a:xfrm>
            <a:off x="1527846" y="1846125"/>
            <a:ext cx="6088308" cy="2797331"/>
          </a:xfrm>
          <a:prstGeom prst="rect">
            <a:avLst/>
          </a:prstGeom>
        </p:spPr>
      </p:pic>
      <p:sp>
        <p:nvSpPr>
          <p:cNvPr id="7" name="TextBox 6">
            <a:extLst>
              <a:ext uri="{FF2B5EF4-FFF2-40B4-BE49-F238E27FC236}">
                <a16:creationId xmlns:a16="http://schemas.microsoft.com/office/drawing/2014/main" id="{9BA4FBB5-21D7-41B7-A7B9-84EBC142E329}"/>
              </a:ext>
            </a:extLst>
          </p:cNvPr>
          <p:cNvSpPr txBox="1"/>
          <p:nvPr/>
        </p:nvSpPr>
        <p:spPr>
          <a:xfrm>
            <a:off x="420914" y="4731657"/>
            <a:ext cx="3674211"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Gattrell et al. Poster 12, presented at ISMPP EU 2022</a:t>
            </a:r>
            <a:endParaRPr kumimoji="0" lang="en-US" sz="12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6955710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69D4D-AC32-40CB-AA21-CCA33BAC1773}"/>
              </a:ext>
            </a:extLst>
          </p:cNvPr>
          <p:cNvSpPr>
            <a:spLocks noGrp="1"/>
          </p:cNvSpPr>
          <p:nvPr>
            <p:ph type="title"/>
          </p:nvPr>
        </p:nvSpPr>
        <p:spPr/>
        <p:txBody>
          <a:bodyPr/>
          <a:lstStyle/>
          <a:p>
            <a:r>
              <a:rPr lang="en-GB" dirty="0"/>
              <a:t>Results</a:t>
            </a:r>
            <a:endParaRPr lang="en-US" dirty="0"/>
          </a:p>
        </p:txBody>
      </p:sp>
      <p:sp>
        <p:nvSpPr>
          <p:cNvPr id="3" name="Slide Number Placeholder 2">
            <a:extLst>
              <a:ext uri="{FF2B5EF4-FFF2-40B4-BE49-F238E27FC236}">
                <a16:creationId xmlns:a16="http://schemas.microsoft.com/office/drawing/2014/main" id="{3D596937-672A-4AC8-8A67-AB374782599F}"/>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1</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7" name="Picture 6">
            <a:extLst>
              <a:ext uri="{FF2B5EF4-FFF2-40B4-BE49-F238E27FC236}">
                <a16:creationId xmlns:a16="http://schemas.microsoft.com/office/drawing/2014/main" id="{6A21C4AA-FE9B-4538-8CDB-3E3B427F7D93}"/>
              </a:ext>
            </a:extLst>
          </p:cNvPr>
          <p:cNvPicPr>
            <a:picLocks noChangeAspect="1"/>
          </p:cNvPicPr>
          <p:nvPr/>
        </p:nvPicPr>
        <p:blipFill rotWithShape="1">
          <a:blip r:embed="rId2"/>
          <a:srcRect l="14300" t="26311" r="28000" b="24622"/>
          <a:stretch/>
        </p:blipFill>
        <p:spPr>
          <a:xfrm>
            <a:off x="1005839" y="1453896"/>
            <a:ext cx="6403947" cy="3063240"/>
          </a:xfrm>
          <a:prstGeom prst="rect">
            <a:avLst/>
          </a:prstGeom>
        </p:spPr>
      </p:pic>
      <p:sp>
        <p:nvSpPr>
          <p:cNvPr id="4" name="TextBox 3">
            <a:extLst>
              <a:ext uri="{FF2B5EF4-FFF2-40B4-BE49-F238E27FC236}">
                <a16:creationId xmlns:a16="http://schemas.microsoft.com/office/drawing/2014/main" id="{918B6E00-88FD-4123-9794-E713C6F99F3C}"/>
              </a:ext>
            </a:extLst>
          </p:cNvPr>
          <p:cNvSpPr txBox="1"/>
          <p:nvPr/>
        </p:nvSpPr>
        <p:spPr>
          <a:xfrm>
            <a:off x="420914" y="4731657"/>
            <a:ext cx="3674211"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Gattrell et al. Poster 12, presented at ISMPP EU 2022</a:t>
            </a:r>
            <a:endParaRPr kumimoji="0" lang="en-US" sz="12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1316628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2232C-4939-4B7F-9D27-4F0B57EE6AD9}"/>
              </a:ext>
            </a:extLst>
          </p:cNvPr>
          <p:cNvSpPr>
            <a:spLocks noGrp="1"/>
          </p:cNvSpPr>
          <p:nvPr>
            <p:ph type="title"/>
          </p:nvPr>
        </p:nvSpPr>
        <p:spPr/>
        <p:txBody>
          <a:bodyPr>
            <a:normAutofit fontScale="90000"/>
          </a:bodyPr>
          <a:lstStyle/>
          <a:p>
            <a:r>
              <a:rPr lang="en-GB" sz="3600" dirty="0"/>
              <a:t>Of 91 target journals of interest to Ipsen, only 6 have indexed PLSs in PubMed</a:t>
            </a:r>
          </a:p>
        </p:txBody>
      </p:sp>
      <p:sp>
        <p:nvSpPr>
          <p:cNvPr id="4" name="Slide Number Placeholder 3">
            <a:extLst>
              <a:ext uri="{FF2B5EF4-FFF2-40B4-BE49-F238E27FC236}">
                <a16:creationId xmlns:a16="http://schemas.microsoft.com/office/drawing/2014/main" id="{F850C3A3-58F1-4A86-92CE-8CE44D68A095}"/>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2</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5" name="Text Placeholder 4">
            <a:extLst>
              <a:ext uri="{FF2B5EF4-FFF2-40B4-BE49-F238E27FC236}">
                <a16:creationId xmlns:a16="http://schemas.microsoft.com/office/drawing/2014/main" id="{638192CC-256F-4E5C-9032-1FFB9A47E02D}"/>
              </a:ext>
            </a:extLst>
          </p:cNvPr>
          <p:cNvSpPr>
            <a:spLocks noGrp="1"/>
          </p:cNvSpPr>
          <p:nvPr>
            <p:ph idx="1"/>
          </p:nvPr>
        </p:nvSpPr>
        <p:spPr>
          <a:xfrm>
            <a:off x="449943" y="1205023"/>
            <a:ext cx="8345714" cy="3722573"/>
          </a:xfrm>
        </p:spPr>
        <p:txBody>
          <a:bodyPr numCol="3">
            <a:normAutofit fontScale="85000" lnSpcReduction="20000"/>
          </a:bodyPr>
          <a:lstStyle/>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Acta </a:t>
            </a:r>
            <a:r>
              <a:rPr lang="en-GB" sz="900" dirty="0" err="1">
                <a:effectLst/>
                <a:latin typeface="Arial" panose="020B0604020202020204" pitchFamily="34" charset="0"/>
                <a:ea typeface="Calibri" panose="020F0502020204030204" pitchFamily="34" charset="0"/>
              </a:rPr>
              <a:t>otorhinolaryngologica</a:t>
            </a:r>
            <a:r>
              <a:rPr lang="en-GB" sz="900" dirty="0">
                <a:effectLst/>
                <a:latin typeface="Arial" panose="020B0604020202020204" pitchFamily="34" charset="0"/>
                <a:ea typeface="Calibri" panose="020F0502020204030204" pitchFamily="34" charset="0"/>
              </a:rPr>
              <a:t> </a:t>
            </a:r>
            <a:r>
              <a:rPr lang="en-GB" sz="900" dirty="0" err="1">
                <a:effectLst/>
                <a:latin typeface="Arial" panose="020B0604020202020204" pitchFamily="34" charset="0"/>
                <a:ea typeface="Calibri" panose="020F0502020204030204" pitchFamily="34" charset="0"/>
              </a:rPr>
              <a:t>Italica</a:t>
            </a:r>
            <a:r>
              <a:rPr lang="en-GB" sz="900" dirty="0">
                <a:effectLst/>
                <a:latin typeface="Arial" panose="020B0604020202020204" pitchFamily="34" charset="0"/>
                <a:ea typeface="Calibri" panose="020F0502020204030204" pitchFamily="34" charset="0"/>
              </a:rPr>
              <a:t>:</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Advances in skin &amp; wound car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solidFill>
                  <a:schemeClr val="bg1"/>
                </a:solidFill>
                <a:effectLst/>
                <a:highlight>
                  <a:srgbClr val="4A7992"/>
                </a:highlight>
                <a:latin typeface="Arial" panose="020B0604020202020204" pitchFamily="34" charset="0"/>
                <a:ea typeface="Calibri" panose="020F0502020204030204" pitchFamily="34" charset="0"/>
              </a:rPr>
              <a:t>Advances in therapy</a:t>
            </a:r>
            <a:endParaRPr lang="en-GB" sz="900" dirty="0">
              <a:solidFill>
                <a:schemeClr val="bg1"/>
              </a:solidFill>
              <a:effectLst/>
              <a:highlight>
                <a:srgbClr val="4A7992"/>
              </a:highligh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American journal of clinical dermatolog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Applied health economics and health polic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Archives of public health </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Bioanalysi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err="1">
                <a:effectLst/>
                <a:latin typeface="Arial" panose="020B0604020202020204" pitchFamily="34" charset="0"/>
                <a:ea typeface="Calibri" panose="020F0502020204030204" pitchFamily="34" charset="0"/>
              </a:rPr>
              <a:t>BioDrugs</a:t>
            </a:r>
            <a:r>
              <a:rPr lang="en-GB" sz="900" dirty="0">
                <a:effectLst/>
                <a:latin typeface="Arial" panose="020B0604020202020204" pitchFamily="34" charset="0"/>
                <a:ea typeface="Calibri" panose="020F0502020204030204" pitchFamily="34" charset="0"/>
              </a:rPr>
              <a:t>: clinical </a:t>
            </a:r>
            <a:r>
              <a:rPr lang="en-GB" sz="900" dirty="0" err="1">
                <a:effectLst/>
                <a:latin typeface="Arial" panose="020B0604020202020204" pitchFamily="34" charset="0"/>
                <a:ea typeface="Calibri" panose="020F0502020204030204" pitchFamily="34" charset="0"/>
              </a:rPr>
              <a:t>immunotherapeutics</a:t>
            </a:r>
            <a:r>
              <a:rPr lang="en-GB" sz="900" dirty="0">
                <a:effectLst/>
                <a:latin typeface="Arial" panose="020B0604020202020204" pitchFamily="34" charset="0"/>
                <a:ea typeface="Calibri" panose="020F0502020204030204" pitchFamily="34" charset="0"/>
              </a:rPr>
              <a:t>, biopharmaceuticals </a:t>
            </a:r>
            <a:br>
              <a:rPr lang="en-GB" sz="900" dirty="0">
                <a:effectLst/>
                <a:latin typeface="Arial" panose="020B0604020202020204" pitchFamily="34" charset="0"/>
                <a:ea typeface="Calibri" panose="020F0502020204030204" pitchFamily="34" charset="0"/>
              </a:rPr>
            </a:br>
            <a:r>
              <a:rPr lang="en-GB" sz="900" dirty="0">
                <a:effectLst/>
                <a:latin typeface="Arial" panose="020B0604020202020204" pitchFamily="34" charset="0"/>
                <a:ea typeface="Calibri" panose="020F0502020204030204" pitchFamily="34" charset="0"/>
              </a:rPr>
              <a:t>and gene therap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Biomarkers in medicin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BMC health services research</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Canadian journal of surgery. Journal </a:t>
            </a:r>
            <a:r>
              <a:rPr lang="en-GB" sz="900" dirty="0" err="1">
                <a:effectLst/>
                <a:latin typeface="Arial" panose="020B0604020202020204" pitchFamily="34" charset="0"/>
                <a:ea typeface="Calibri" panose="020F0502020204030204" pitchFamily="34" charset="0"/>
              </a:rPr>
              <a:t>canadien</a:t>
            </a:r>
            <a:r>
              <a:rPr lang="en-GB" sz="900" dirty="0">
                <a:effectLst/>
                <a:latin typeface="Arial" panose="020B0604020202020204" pitchFamily="34" charset="0"/>
                <a:ea typeface="Calibri" panose="020F0502020204030204" pitchFamily="34" charset="0"/>
              </a:rPr>
              <a:t> de </a:t>
            </a:r>
            <a:r>
              <a:rPr lang="en-GB" sz="900" dirty="0" err="1">
                <a:effectLst/>
                <a:latin typeface="Arial" panose="020B0604020202020204" pitchFamily="34" charset="0"/>
                <a:ea typeface="Calibri" panose="020F0502020204030204" pitchFamily="34" charset="0"/>
              </a:rPr>
              <a:t>chirurgi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Cardiology and therap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Clinical &amp; translational oncology</a:t>
            </a: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Clinical drug investigation</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Clinical pharmacokinetic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CNS drug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CNS oncolog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Current medical research and opinion</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Dermatology and therap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Diabetes therapy : research, treatment and education of diabetes and related disorder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Drug safety</a:t>
            </a:r>
            <a:endParaRPr lang="en-GB" sz="900" dirty="0">
              <a:effectLst/>
              <a:latin typeface="Calibri" panose="020F0502020204030204" pitchFamily="34" charset="0"/>
              <a:ea typeface="Calibri" panose="020F0502020204030204" pitchFamily="34" charset="0"/>
            </a:endParaRPr>
          </a:p>
          <a:p>
            <a:pPr marL="342900" indent="-342900">
              <a:lnSpc>
                <a:spcPct val="100000"/>
              </a:lnSpc>
              <a:spcBef>
                <a:spcPts val="0"/>
              </a:spcBef>
              <a:buFont typeface="+mj-lt"/>
              <a:buAutoNum type="arabicPeriod"/>
            </a:pPr>
            <a:r>
              <a:rPr lang="en-GB" sz="900" dirty="0">
                <a:solidFill>
                  <a:schemeClr val="bg1"/>
                </a:solidFill>
                <a:highlight>
                  <a:srgbClr val="4A7992"/>
                </a:highlight>
                <a:latin typeface="Arial" panose="020B0604020202020204" pitchFamily="34" charset="0"/>
              </a:rPr>
              <a:t>Drugs</a:t>
            </a: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Drugs - real world outcome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err="1">
                <a:effectLst/>
                <a:latin typeface="Arial" panose="020B0604020202020204" pitchFamily="34" charset="0"/>
                <a:ea typeface="Calibri" panose="020F0502020204030204" pitchFamily="34" charset="0"/>
              </a:rPr>
              <a:t>eLif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Environmental entomolog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Epigenomic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European journal of drug metabolism and pharmacokinetic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Expert opinion on drug metabolism &amp; toxicology</a:t>
            </a:r>
            <a:endParaRPr lang="en-GB" sz="900" dirty="0">
              <a:latin typeface="Arial" panose="020B060402020202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Expert opinion on pharmacotherap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Expert review of anti-infective therap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Expert review of clinical pharmacolog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Expert review of gastroenterology &amp; hepatolog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Expert review of </a:t>
            </a:r>
            <a:r>
              <a:rPr lang="en-GB" sz="900" dirty="0" err="1">
                <a:effectLst/>
                <a:latin typeface="Arial" panose="020B0604020202020204" pitchFamily="34" charset="0"/>
                <a:ea typeface="Calibri" panose="020F0502020204030204" pitchFamily="34" charset="0"/>
              </a:rPr>
              <a:t>hematolog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Expert review of medical device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Expert review of vaccine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Family practic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Future cardiolog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Future microbiolog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solidFill>
                  <a:schemeClr val="bg1"/>
                </a:solidFill>
                <a:highlight>
                  <a:srgbClr val="4A7992"/>
                </a:highlight>
                <a:latin typeface="Arial" panose="020B0604020202020204" pitchFamily="34" charset="0"/>
              </a:rPr>
              <a:t>Future oncology </a:t>
            </a: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Health promotion and chronic disease prevention in Canada : research, policy and practic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Health promotion international</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Health technology assessment </a:t>
            </a:r>
            <a:endParaRPr lang="en-GB" sz="900" dirty="0">
              <a:latin typeface="Arial" panose="020B060402020202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Hong Kong medical journal </a:t>
            </a: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Immunotherap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Infectious diseases and therap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Inflammatory bowel disease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International journal of phytoremediation</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JBJS case connector</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JBJS review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Journal of biological regulators and homeostatic agent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Journal of comparative effectiveness research</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Journal of eating disorders</a:t>
            </a:r>
            <a:endParaRPr lang="en-GB" sz="900" dirty="0">
              <a:effectLst/>
              <a:latin typeface="Calibri" panose="020F0502020204030204" pitchFamily="34" charset="0"/>
              <a:ea typeface="Calibri" panose="020F0502020204030204" pitchFamily="34" charset="0"/>
            </a:endParaRPr>
          </a:p>
          <a:p>
            <a:pPr marL="342900" indent="-342900">
              <a:lnSpc>
                <a:spcPct val="100000"/>
              </a:lnSpc>
              <a:spcBef>
                <a:spcPts val="0"/>
              </a:spcBef>
              <a:buFont typeface="+mj-lt"/>
              <a:buAutoNum type="arabicPeriod"/>
            </a:pPr>
            <a:r>
              <a:rPr lang="en-GB" sz="900" dirty="0">
                <a:solidFill>
                  <a:schemeClr val="bg1"/>
                </a:solidFill>
                <a:highlight>
                  <a:srgbClr val="4A7992"/>
                </a:highlight>
                <a:latin typeface="Arial" panose="020B0604020202020204" pitchFamily="34" charset="0"/>
              </a:rPr>
              <a:t>Journal of patient-reported outcomes</a:t>
            </a: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Journal of psychosocial oncolog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Journal of tropical </a:t>
            </a:r>
            <a:r>
              <a:rPr lang="en-GB" sz="900" dirty="0" err="1">
                <a:effectLst/>
                <a:latin typeface="Arial" panose="020B0604020202020204" pitchFamily="34" charset="0"/>
                <a:ea typeface="Calibri" panose="020F0502020204030204" pitchFamily="34" charset="0"/>
              </a:rPr>
              <a:t>pediatric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Medical mycolog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Menopause </a:t>
            </a:r>
            <a:endParaRPr lang="en-GB" sz="900" dirty="0">
              <a:latin typeface="Arial" panose="020B060402020202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Nanomedicine </a:t>
            </a: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Neurodegenerative disease management</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Neurology and therapy</a:t>
            </a: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Oncology and therap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Ophthalmic plastic and reconstructive surger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Ophthalmology and therap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err="1">
                <a:solidFill>
                  <a:schemeClr val="bg1"/>
                </a:solidFill>
                <a:highlight>
                  <a:srgbClr val="4A7992"/>
                </a:highlight>
                <a:latin typeface="Arial" panose="020B0604020202020204" pitchFamily="34" charset="0"/>
              </a:rPr>
              <a:t>Orphanet</a:t>
            </a:r>
            <a:r>
              <a:rPr lang="en-GB" sz="900" dirty="0">
                <a:solidFill>
                  <a:schemeClr val="bg1"/>
                </a:solidFill>
                <a:highlight>
                  <a:srgbClr val="4A7992"/>
                </a:highlight>
                <a:latin typeface="Arial" panose="020B0604020202020204" pitchFamily="34" charset="0"/>
              </a:rPr>
              <a:t> journal of rare diseases</a:t>
            </a: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Paediatric drug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Pain and therap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Pain management</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err="1">
                <a:effectLst/>
                <a:latin typeface="Arial" panose="020B0604020202020204" pitchFamily="34" charset="0"/>
                <a:ea typeface="Calibri" panose="020F0502020204030204" pitchFamily="34" charset="0"/>
              </a:rPr>
              <a:t>Pathologica</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Personalized medicin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Pharmaceutical medicine</a:t>
            </a:r>
            <a:endParaRPr lang="en-GB" sz="900" dirty="0">
              <a:effectLst/>
              <a:latin typeface="Calibri" panose="020F0502020204030204" pitchFamily="34" charset="0"/>
              <a:ea typeface="Calibri" panose="020F0502020204030204" pitchFamily="34" charset="0"/>
            </a:endParaRPr>
          </a:p>
          <a:p>
            <a:pPr marL="342900" indent="-342900">
              <a:lnSpc>
                <a:spcPct val="100000"/>
              </a:lnSpc>
              <a:spcBef>
                <a:spcPts val="0"/>
              </a:spcBef>
              <a:buFont typeface="+mj-lt"/>
              <a:buAutoNum type="arabicPeriod"/>
            </a:pPr>
            <a:r>
              <a:rPr lang="en-GB" sz="900" dirty="0" err="1">
                <a:solidFill>
                  <a:schemeClr val="bg1"/>
                </a:solidFill>
                <a:highlight>
                  <a:srgbClr val="4A7992"/>
                </a:highlight>
                <a:latin typeface="Arial" panose="020B0604020202020204" pitchFamily="34" charset="0"/>
              </a:rPr>
              <a:t>PharmacoEconomics</a:t>
            </a:r>
            <a:endParaRPr lang="en-GB" sz="900" dirty="0">
              <a:solidFill>
                <a:schemeClr val="bg1"/>
              </a:solidFill>
              <a:highlight>
                <a:srgbClr val="4A7992"/>
              </a:highlight>
              <a:latin typeface="Arial" panose="020B0604020202020204" pitchFamily="34" charset="0"/>
            </a:endParaRPr>
          </a:p>
          <a:p>
            <a:pPr marL="342900" lvl="0" indent="-342900">
              <a:lnSpc>
                <a:spcPct val="100000"/>
              </a:lnSpc>
              <a:spcBef>
                <a:spcPts val="0"/>
              </a:spcBef>
              <a:buFont typeface="+mj-lt"/>
              <a:buAutoNum type="arabicPeriod"/>
            </a:pPr>
            <a:r>
              <a:rPr lang="en-GB" sz="900" dirty="0" err="1">
                <a:effectLst/>
                <a:latin typeface="Arial" panose="020B0604020202020204" pitchFamily="34" charset="0"/>
                <a:ea typeface="Calibri" panose="020F0502020204030204" pitchFamily="34" charset="0"/>
              </a:rPr>
              <a:t>PharmacoEconomics</a:t>
            </a:r>
            <a:r>
              <a:rPr lang="en-GB" sz="900" dirty="0">
                <a:effectLst/>
                <a:latin typeface="Arial" panose="020B0604020202020204" pitchFamily="34" charset="0"/>
                <a:ea typeface="Calibri" panose="020F0502020204030204" pitchFamily="34" charset="0"/>
              </a:rPr>
              <a:t> - open</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Pharmacogenomics</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Postgraduate medicin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Pulmonary therap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Regenerative medicin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Reproductive health</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Research involvement and engagement</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Rheumatology and therap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Spin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Sports medicin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Stress </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Targeted oncolog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The British journal of surger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The International journal of neuroscienc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The Journal of asthma : official journal of the Association for the Care of Asthma</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The Journal of bone and joint surgery. American volume</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The patient</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Therapeutic delivery</a:t>
            </a:r>
            <a:endParaRPr lang="en-GB" sz="900" dirty="0">
              <a:effectLst/>
              <a:latin typeface="Calibri" panose="020F0502020204030204" pitchFamily="34" charset="0"/>
              <a:ea typeface="Calibri" panose="020F0502020204030204" pitchFamily="34" charset="0"/>
            </a:endParaRPr>
          </a:p>
          <a:p>
            <a:pPr marL="342900" lvl="0" indent="-342900">
              <a:lnSpc>
                <a:spcPct val="100000"/>
              </a:lnSpc>
              <a:spcBef>
                <a:spcPts val="0"/>
              </a:spcBef>
              <a:buFont typeface="+mj-lt"/>
              <a:buAutoNum type="arabicPeriod"/>
            </a:pPr>
            <a:r>
              <a:rPr lang="en-GB" sz="900" dirty="0" err="1">
                <a:effectLst/>
                <a:latin typeface="Arial" panose="020B0604020202020204" pitchFamily="34" charset="0"/>
                <a:ea typeface="Calibri" panose="020F0502020204030204" pitchFamily="34" charset="0"/>
              </a:rPr>
              <a:t>Tidsskrift</a:t>
            </a:r>
            <a:r>
              <a:rPr lang="en-GB" sz="900" dirty="0">
                <a:effectLst/>
                <a:latin typeface="Arial" panose="020B0604020202020204" pitchFamily="34" charset="0"/>
                <a:ea typeface="Calibri" panose="020F0502020204030204" pitchFamily="34" charset="0"/>
              </a:rPr>
              <a:t> for den Norske </a:t>
            </a:r>
            <a:r>
              <a:rPr lang="en-GB" sz="900" dirty="0" err="1">
                <a:effectLst/>
                <a:latin typeface="Arial" panose="020B0604020202020204" pitchFamily="34" charset="0"/>
                <a:ea typeface="Calibri" panose="020F0502020204030204" pitchFamily="34" charset="0"/>
              </a:rPr>
              <a:t>laegeforening</a:t>
            </a:r>
            <a:r>
              <a:rPr lang="en-GB" sz="900" dirty="0">
                <a:effectLst/>
                <a:latin typeface="Arial" panose="020B0604020202020204" pitchFamily="34" charset="0"/>
                <a:ea typeface="Calibri" panose="020F0502020204030204" pitchFamily="34" charset="0"/>
              </a:rPr>
              <a:t> </a:t>
            </a:r>
          </a:p>
          <a:p>
            <a:pPr marL="342900" lvl="0" indent="-342900">
              <a:lnSpc>
                <a:spcPct val="100000"/>
              </a:lnSpc>
              <a:spcBef>
                <a:spcPts val="0"/>
              </a:spcBef>
              <a:buFont typeface="+mj-lt"/>
              <a:buAutoNum type="arabicPeriod"/>
            </a:pPr>
            <a:r>
              <a:rPr lang="en-GB" sz="900" dirty="0">
                <a:effectLst/>
                <a:latin typeface="Arial" panose="020B0604020202020204" pitchFamily="34" charset="0"/>
                <a:ea typeface="Calibri" panose="020F0502020204030204" pitchFamily="34" charset="0"/>
              </a:rPr>
              <a:t>Translational </a:t>
            </a:r>
            <a:r>
              <a:rPr lang="en-GB" sz="900" dirty="0" err="1">
                <a:effectLst/>
                <a:latin typeface="Arial" panose="020B0604020202020204" pitchFamily="34" charset="0"/>
                <a:ea typeface="Calibri" panose="020F0502020204030204" pitchFamily="34" charset="0"/>
              </a:rPr>
              <a:t>behavioral</a:t>
            </a:r>
            <a:r>
              <a:rPr lang="en-GB" sz="900" dirty="0">
                <a:effectLst/>
                <a:latin typeface="Arial" panose="020B0604020202020204" pitchFamily="34" charset="0"/>
                <a:ea typeface="Calibri" panose="020F0502020204030204" pitchFamily="34" charset="0"/>
              </a:rPr>
              <a:t> medicine</a:t>
            </a:r>
            <a:endParaRPr lang="en-GB" sz="900" dirty="0">
              <a:effectLst/>
              <a:latin typeface="Calibri" panose="020F0502020204030204" pitchFamily="34" charset="0"/>
              <a:ea typeface="Calibri" panose="020F0502020204030204" pitchFamily="34" charset="0"/>
            </a:endParaRPr>
          </a:p>
          <a:p>
            <a:pPr>
              <a:lnSpc>
                <a:spcPct val="100000"/>
              </a:lnSpc>
              <a:spcBef>
                <a:spcPts val="0"/>
              </a:spcBef>
            </a:pPr>
            <a:endParaRPr lang="en-GB" sz="900" dirty="0"/>
          </a:p>
        </p:txBody>
      </p:sp>
    </p:spTree>
    <p:extLst>
      <p:ext uri="{BB962C8B-B14F-4D97-AF65-F5344CB8AC3E}">
        <p14:creationId xmlns:p14="http://schemas.microsoft.com/office/powerpoint/2010/main" val="16479923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D957C-92C9-45BC-A343-54AD0D441CA2}"/>
              </a:ext>
            </a:extLst>
          </p:cNvPr>
          <p:cNvSpPr>
            <a:spLocks noGrp="1"/>
          </p:cNvSpPr>
          <p:nvPr>
            <p:ph type="title"/>
          </p:nvPr>
        </p:nvSpPr>
        <p:spPr/>
        <p:txBody>
          <a:bodyPr/>
          <a:lstStyle/>
          <a:p>
            <a:r>
              <a:rPr lang="en-GB" dirty="0"/>
              <a:t>Timeline &amp; process</a:t>
            </a:r>
            <a:endParaRPr lang="en-US" dirty="0"/>
          </a:p>
        </p:txBody>
      </p:sp>
      <p:sp>
        <p:nvSpPr>
          <p:cNvPr id="3" name="Slide Number Placeholder 2">
            <a:extLst>
              <a:ext uri="{FF2B5EF4-FFF2-40B4-BE49-F238E27FC236}">
                <a16:creationId xmlns:a16="http://schemas.microsoft.com/office/drawing/2014/main" id="{0473838D-911D-4986-B860-1FBCF9F50630}"/>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3</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graphicFrame>
        <p:nvGraphicFramePr>
          <p:cNvPr id="4" name="Diagram 3">
            <a:extLst>
              <a:ext uri="{FF2B5EF4-FFF2-40B4-BE49-F238E27FC236}">
                <a16:creationId xmlns:a16="http://schemas.microsoft.com/office/drawing/2014/main" id="{7EBC678E-A5C0-4AE5-8A38-CE42A956D3AD}"/>
              </a:ext>
            </a:extLst>
          </p:cNvPr>
          <p:cNvGraphicFramePr/>
          <p:nvPr/>
        </p:nvGraphicFramePr>
        <p:xfrm>
          <a:off x="557784" y="782066"/>
          <a:ext cx="7838694" cy="3757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FE0300D8-B56B-4D38-BB1A-1ADED543B893}"/>
              </a:ext>
            </a:extLst>
          </p:cNvPr>
          <p:cNvGrpSpPr/>
          <p:nvPr/>
        </p:nvGrpSpPr>
        <p:grpSpPr>
          <a:xfrm rot="10800000">
            <a:off x="797004" y="1240943"/>
            <a:ext cx="310551" cy="1284207"/>
            <a:chOff x="8166141" y="3703865"/>
            <a:chExt cx="288000" cy="1189254"/>
          </a:xfrm>
          <a:solidFill>
            <a:srgbClr val="7030A0"/>
          </a:solidFill>
        </p:grpSpPr>
        <p:cxnSp>
          <p:nvCxnSpPr>
            <p:cNvPr id="6" name="Straight Connector 5">
              <a:extLst>
                <a:ext uri="{FF2B5EF4-FFF2-40B4-BE49-F238E27FC236}">
                  <a16:creationId xmlns:a16="http://schemas.microsoft.com/office/drawing/2014/main" id="{E324A336-4883-4A65-9F7D-F42F90BF1034}"/>
                </a:ext>
              </a:extLst>
            </p:cNvPr>
            <p:cNvCxnSpPr>
              <a:cxnSpLocks/>
            </p:cNvCxnSpPr>
            <p:nvPr/>
          </p:nvCxnSpPr>
          <p:spPr>
            <a:xfrm>
              <a:off x="8310140" y="3703865"/>
              <a:ext cx="0" cy="1008000"/>
            </a:xfrm>
            <a:prstGeom prst="line">
              <a:avLst/>
            </a:prstGeom>
            <a:grpFill/>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7" name="Diamond 6">
              <a:extLst>
                <a:ext uri="{FF2B5EF4-FFF2-40B4-BE49-F238E27FC236}">
                  <a16:creationId xmlns:a16="http://schemas.microsoft.com/office/drawing/2014/main" id="{5739AA26-F9E3-4D25-B807-E9B1591BA202}"/>
                </a:ext>
              </a:extLst>
            </p:cNvPr>
            <p:cNvSpPr/>
            <p:nvPr/>
          </p:nvSpPr>
          <p:spPr>
            <a:xfrm flipV="1">
              <a:off x="8166141" y="4589035"/>
              <a:ext cx="288000" cy="304084"/>
            </a:xfrm>
            <a:prstGeom prst="diamond">
              <a:avLst/>
            </a:prstGeom>
            <a:gr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B2C966">
                    <a:lumMod val="50000"/>
                  </a:srgbClr>
                </a:solidFill>
                <a:effectLst/>
                <a:uLnTx/>
                <a:uFillTx/>
                <a:latin typeface="Arial" panose="020B0604020202020204"/>
                <a:ea typeface="+mn-ea"/>
                <a:cs typeface="+mn-cs"/>
              </a:endParaRPr>
            </a:p>
          </p:txBody>
        </p:sp>
      </p:grpSp>
      <p:grpSp>
        <p:nvGrpSpPr>
          <p:cNvPr id="8" name="Group 7">
            <a:extLst>
              <a:ext uri="{FF2B5EF4-FFF2-40B4-BE49-F238E27FC236}">
                <a16:creationId xmlns:a16="http://schemas.microsoft.com/office/drawing/2014/main" id="{796B8C23-122E-485D-8DE3-6DBCAB566E42}"/>
              </a:ext>
            </a:extLst>
          </p:cNvPr>
          <p:cNvGrpSpPr/>
          <p:nvPr/>
        </p:nvGrpSpPr>
        <p:grpSpPr>
          <a:xfrm rot="10800000">
            <a:off x="6903363" y="1240943"/>
            <a:ext cx="310551" cy="1284207"/>
            <a:chOff x="8166141" y="3703865"/>
            <a:chExt cx="288000" cy="1189254"/>
          </a:xfrm>
          <a:solidFill>
            <a:srgbClr val="7030A0"/>
          </a:solidFill>
        </p:grpSpPr>
        <p:cxnSp>
          <p:nvCxnSpPr>
            <p:cNvPr id="9" name="Straight Connector 8">
              <a:extLst>
                <a:ext uri="{FF2B5EF4-FFF2-40B4-BE49-F238E27FC236}">
                  <a16:creationId xmlns:a16="http://schemas.microsoft.com/office/drawing/2014/main" id="{6596D79F-5476-4CCA-B7A3-E3E62FBDCB78}"/>
                </a:ext>
              </a:extLst>
            </p:cNvPr>
            <p:cNvCxnSpPr>
              <a:cxnSpLocks/>
            </p:cNvCxnSpPr>
            <p:nvPr/>
          </p:nvCxnSpPr>
          <p:spPr>
            <a:xfrm>
              <a:off x="8310140" y="3703865"/>
              <a:ext cx="0" cy="1008000"/>
            </a:xfrm>
            <a:prstGeom prst="line">
              <a:avLst/>
            </a:prstGeom>
            <a:grpFill/>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10" name="Diamond 9">
              <a:extLst>
                <a:ext uri="{FF2B5EF4-FFF2-40B4-BE49-F238E27FC236}">
                  <a16:creationId xmlns:a16="http://schemas.microsoft.com/office/drawing/2014/main" id="{F98424D7-A35C-403E-8BB2-07ABAE494047}"/>
                </a:ext>
              </a:extLst>
            </p:cNvPr>
            <p:cNvSpPr/>
            <p:nvPr/>
          </p:nvSpPr>
          <p:spPr>
            <a:xfrm flipV="1">
              <a:off x="8166141" y="4589035"/>
              <a:ext cx="288000" cy="304084"/>
            </a:xfrm>
            <a:prstGeom prst="diamond">
              <a:avLst/>
            </a:prstGeom>
            <a:gr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B2C966">
                    <a:lumMod val="50000"/>
                  </a:srgbClr>
                </a:solidFill>
                <a:effectLst/>
                <a:uLnTx/>
                <a:uFillTx/>
                <a:latin typeface="Arial" panose="020B0604020202020204"/>
                <a:ea typeface="+mn-ea"/>
                <a:cs typeface="+mn-cs"/>
              </a:endParaRPr>
            </a:p>
          </p:txBody>
        </p:sp>
      </p:grpSp>
      <p:sp>
        <p:nvSpPr>
          <p:cNvPr id="11" name="TextBox 10">
            <a:extLst>
              <a:ext uri="{FF2B5EF4-FFF2-40B4-BE49-F238E27FC236}">
                <a16:creationId xmlns:a16="http://schemas.microsoft.com/office/drawing/2014/main" id="{7E7A1E66-9193-42C4-88C5-10843A2E4966}"/>
              </a:ext>
            </a:extLst>
          </p:cNvPr>
          <p:cNvSpPr txBox="1"/>
          <p:nvPr/>
        </p:nvSpPr>
        <p:spPr>
          <a:xfrm>
            <a:off x="1126370" y="1126597"/>
            <a:ext cx="2121093" cy="64633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Open Pharma PL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recommendations</a:t>
            </a: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grpSp>
        <p:nvGrpSpPr>
          <p:cNvPr id="12" name="Group 11">
            <a:extLst>
              <a:ext uri="{FF2B5EF4-FFF2-40B4-BE49-F238E27FC236}">
                <a16:creationId xmlns:a16="http://schemas.microsoft.com/office/drawing/2014/main" id="{EA67C658-0BD1-4816-B87C-7DBAC378CFC6}"/>
              </a:ext>
            </a:extLst>
          </p:cNvPr>
          <p:cNvGrpSpPr/>
          <p:nvPr/>
        </p:nvGrpSpPr>
        <p:grpSpPr>
          <a:xfrm rot="10800000">
            <a:off x="3450555" y="1240943"/>
            <a:ext cx="310551" cy="1284207"/>
            <a:chOff x="8166141" y="3703865"/>
            <a:chExt cx="288000" cy="1189254"/>
          </a:xfrm>
          <a:solidFill>
            <a:srgbClr val="7030A0"/>
          </a:solidFill>
        </p:grpSpPr>
        <p:cxnSp>
          <p:nvCxnSpPr>
            <p:cNvPr id="13" name="Straight Connector 12">
              <a:extLst>
                <a:ext uri="{FF2B5EF4-FFF2-40B4-BE49-F238E27FC236}">
                  <a16:creationId xmlns:a16="http://schemas.microsoft.com/office/drawing/2014/main" id="{AFA7B1C7-1517-403A-BDE8-7D5AF8DDBBCA}"/>
                </a:ext>
              </a:extLst>
            </p:cNvPr>
            <p:cNvCxnSpPr>
              <a:cxnSpLocks/>
            </p:cNvCxnSpPr>
            <p:nvPr/>
          </p:nvCxnSpPr>
          <p:spPr>
            <a:xfrm>
              <a:off x="8310140" y="3703865"/>
              <a:ext cx="0" cy="1008000"/>
            </a:xfrm>
            <a:prstGeom prst="line">
              <a:avLst/>
            </a:prstGeom>
            <a:grpFill/>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14" name="Diamond 13">
              <a:extLst>
                <a:ext uri="{FF2B5EF4-FFF2-40B4-BE49-F238E27FC236}">
                  <a16:creationId xmlns:a16="http://schemas.microsoft.com/office/drawing/2014/main" id="{541A1350-5DAF-4191-AFEE-66E884B41ECC}"/>
                </a:ext>
              </a:extLst>
            </p:cNvPr>
            <p:cNvSpPr/>
            <p:nvPr/>
          </p:nvSpPr>
          <p:spPr>
            <a:xfrm flipV="1">
              <a:off x="8166141" y="4589035"/>
              <a:ext cx="288000" cy="304084"/>
            </a:xfrm>
            <a:prstGeom prst="diamond">
              <a:avLst/>
            </a:prstGeom>
            <a:gr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B2C966">
                    <a:lumMod val="50000"/>
                  </a:srgbClr>
                </a:solidFill>
                <a:effectLst/>
                <a:uLnTx/>
                <a:uFillTx/>
                <a:latin typeface="Arial" panose="020B0604020202020204"/>
                <a:ea typeface="+mn-ea"/>
                <a:cs typeface="+mn-cs"/>
              </a:endParaRPr>
            </a:p>
          </p:txBody>
        </p:sp>
      </p:grpSp>
      <p:sp>
        <p:nvSpPr>
          <p:cNvPr id="15" name="TextBox 14">
            <a:extLst>
              <a:ext uri="{FF2B5EF4-FFF2-40B4-BE49-F238E27FC236}">
                <a16:creationId xmlns:a16="http://schemas.microsoft.com/office/drawing/2014/main" id="{2246DB9B-EC93-423B-8D3D-7469CA59FB8F}"/>
              </a:ext>
            </a:extLst>
          </p:cNvPr>
          <p:cNvSpPr txBox="1"/>
          <p:nvPr/>
        </p:nvSpPr>
        <p:spPr>
          <a:xfrm>
            <a:off x="3730773" y="1126597"/>
            <a:ext cx="1128835" cy="71558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Commitmen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made public</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at ISMPP EU</a:t>
            </a:r>
          </a:p>
        </p:txBody>
      </p:sp>
      <p:sp>
        <p:nvSpPr>
          <p:cNvPr id="16" name="TextBox 15">
            <a:extLst>
              <a:ext uri="{FF2B5EF4-FFF2-40B4-BE49-F238E27FC236}">
                <a16:creationId xmlns:a16="http://schemas.microsoft.com/office/drawing/2014/main" id="{8D61C4E7-D0B7-4B40-8B02-0EAA3648B48A}"/>
              </a:ext>
            </a:extLst>
          </p:cNvPr>
          <p:cNvSpPr txBox="1"/>
          <p:nvPr/>
        </p:nvSpPr>
        <p:spPr>
          <a:xfrm>
            <a:off x="7168138" y="1126597"/>
            <a:ext cx="1975862" cy="64633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Commitmen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comes into effect</a:t>
            </a:r>
          </a:p>
        </p:txBody>
      </p:sp>
      <p:grpSp>
        <p:nvGrpSpPr>
          <p:cNvPr id="22" name="Group 21">
            <a:extLst>
              <a:ext uri="{FF2B5EF4-FFF2-40B4-BE49-F238E27FC236}">
                <a16:creationId xmlns:a16="http://schemas.microsoft.com/office/drawing/2014/main" id="{3877C13A-D298-4362-9D10-DEB60E185CEF}"/>
              </a:ext>
            </a:extLst>
          </p:cNvPr>
          <p:cNvGrpSpPr/>
          <p:nvPr/>
        </p:nvGrpSpPr>
        <p:grpSpPr>
          <a:xfrm rot="10800000">
            <a:off x="1495897" y="1689002"/>
            <a:ext cx="310551" cy="836148"/>
            <a:chOff x="8166141" y="4118799"/>
            <a:chExt cx="288000" cy="774320"/>
          </a:xfrm>
          <a:solidFill>
            <a:srgbClr val="7030A0"/>
          </a:solidFill>
        </p:grpSpPr>
        <p:cxnSp>
          <p:nvCxnSpPr>
            <p:cNvPr id="23" name="Straight Connector 22">
              <a:extLst>
                <a:ext uri="{FF2B5EF4-FFF2-40B4-BE49-F238E27FC236}">
                  <a16:creationId xmlns:a16="http://schemas.microsoft.com/office/drawing/2014/main" id="{CAA96220-1B48-4B01-8D6F-DF7B62EE0E81}"/>
                </a:ext>
              </a:extLst>
            </p:cNvPr>
            <p:cNvCxnSpPr>
              <a:cxnSpLocks/>
            </p:cNvCxnSpPr>
            <p:nvPr/>
          </p:nvCxnSpPr>
          <p:spPr>
            <a:xfrm>
              <a:off x="8310140" y="4118799"/>
              <a:ext cx="0" cy="500073"/>
            </a:xfrm>
            <a:prstGeom prst="line">
              <a:avLst/>
            </a:prstGeom>
            <a:grpFill/>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24" name="Diamond 23">
              <a:extLst>
                <a:ext uri="{FF2B5EF4-FFF2-40B4-BE49-F238E27FC236}">
                  <a16:creationId xmlns:a16="http://schemas.microsoft.com/office/drawing/2014/main" id="{2BA96898-572E-467C-B62A-94F3D14F435B}"/>
                </a:ext>
              </a:extLst>
            </p:cNvPr>
            <p:cNvSpPr/>
            <p:nvPr/>
          </p:nvSpPr>
          <p:spPr>
            <a:xfrm flipV="1">
              <a:off x="8166141" y="4589035"/>
              <a:ext cx="288000" cy="304084"/>
            </a:xfrm>
            <a:prstGeom prst="diamond">
              <a:avLst/>
            </a:prstGeom>
            <a:gr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B2C966">
                    <a:lumMod val="50000"/>
                  </a:srgbClr>
                </a:solidFill>
                <a:effectLst/>
                <a:uLnTx/>
                <a:uFillTx/>
                <a:latin typeface="Arial" panose="020B0604020202020204"/>
                <a:ea typeface="+mn-ea"/>
                <a:cs typeface="+mn-cs"/>
              </a:endParaRPr>
            </a:p>
          </p:txBody>
        </p:sp>
      </p:grpSp>
      <p:sp>
        <p:nvSpPr>
          <p:cNvPr id="25" name="TextBox 24">
            <a:extLst>
              <a:ext uri="{FF2B5EF4-FFF2-40B4-BE49-F238E27FC236}">
                <a16:creationId xmlns:a16="http://schemas.microsoft.com/office/drawing/2014/main" id="{14799715-4E9F-4E7B-ADE6-E315DADC0081}"/>
              </a:ext>
            </a:extLst>
          </p:cNvPr>
          <p:cNvSpPr txBox="1"/>
          <p:nvPr/>
        </p:nvSpPr>
        <p:spPr>
          <a:xfrm>
            <a:off x="1788687" y="1703144"/>
            <a:ext cx="1295804"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Ethics approval</a:t>
            </a: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grpSp>
        <p:nvGrpSpPr>
          <p:cNvPr id="26" name="Group 25">
            <a:extLst>
              <a:ext uri="{FF2B5EF4-FFF2-40B4-BE49-F238E27FC236}">
                <a16:creationId xmlns:a16="http://schemas.microsoft.com/office/drawing/2014/main" id="{BF58914C-619E-4E97-B45C-624F1A015CE4}"/>
              </a:ext>
            </a:extLst>
          </p:cNvPr>
          <p:cNvGrpSpPr/>
          <p:nvPr/>
        </p:nvGrpSpPr>
        <p:grpSpPr>
          <a:xfrm rot="10800000">
            <a:off x="2201393" y="2034419"/>
            <a:ext cx="310551" cy="488673"/>
            <a:chOff x="8166141" y="4440577"/>
            <a:chExt cx="288000" cy="452542"/>
          </a:xfrm>
          <a:solidFill>
            <a:srgbClr val="7030A0"/>
          </a:solidFill>
        </p:grpSpPr>
        <p:cxnSp>
          <p:nvCxnSpPr>
            <p:cNvPr id="27" name="Straight Connector 26">
              <a:extLst>
                <a:ext uri="{FF2B5EF4-FFF2-40B4-BE49-F238E27FC236}">
                  <a16:creationId xmlns:a16="http://schemas.microsoft.com/office/drawing/2014/main" id="{8D968AEF-1BA8-4F4A-B9D8-8BE34657913B}"/>
                </a:ext>
              </a:extLst>
            </p:cNvPr>
            <p:cNvCxnSpPr>
              <a:cxnSpLocks/>
            </p:cNvCxnSpPr>
            <p:nvPr/>
          </p:nvCxnSpPr>
          <p:spPr>
            <a:xfrm>
              <a:off x="8310140" y="4440577"/>
              <a:ext cx="0" cy="200029"/>
            </a:xfrm>
            <a:prstGeom prst="line">
              <a:avLst/>
            </a:prstGeom>
            <a:grpFill/>
            <a:ln w="28575">
              <a:solidFill>
                <a:srgbClr val="7030A0"/>
              </a:solidFill>
            </a:ln>
          </p:spPr>
          <p:style>
            <a:lnRef idx="1">
              <a:schemeClr val="accent1"/>
            </a:lnRef>
            <a:fillRef idx="0">
              <a:schemeClr val="accent1"/>
            </a:fillRef>
            <a:effectRef idx="0">
              <a:schemeClr val="accent1"/>
            </a:effectRef>
            <a:fontRef idx="minor">
              <a:schemeClr val="tx1"/>
            </a:fontRef>
          </p:style>
        </p:cxnSp>
        <p:sp>
          <p:nvSpPr>
            <p:cNvPr id="28" name="Diamond 27">
              <a:extLst>
                <a:ext uri="{FF2B5EF4-FFF2-40B4-BE49-F238E27FC236}">
                  <a16:creationId xmlns:a16="http://schemas.microsoft.com/office/drawing/2014/main" id="{2B7975E8-E21E-46B2-BCD2-382BD357DE65}"/>
                </a:ext>
              </a:extLst>
            </p:cNvPr>
            <p:cNvSpPr/>
            <p:nvPr/>
          </p:nvSpPr>
          <p:spPr>
            <a:xfrm flipV="1">
              <a:off x="8166141" y="4589035"/>
              <a:ext cx="288000" cy="304084"/>
            </a:xfrm>
            <a:prstGeom prst="diamond">
              <a:avLst/>
            </a:prstGeom>
            <a:grp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B2C966">
                    <a:lumMod val="50000"/>
                  </a:srgbClr>
                </a:solidFill>
                <a:effectLst/>
                <a:uLnTx/>
                <a:uFillTx/>
                <a:latin typeface="Arial" panose="020B0604020202020204"/>
                <a:ea typeface="+mn-ea"/>
                <a:cs typeface="+mn-cs"/>
              </a:endParaRPr>
            </a:p>
          </p:txBody>
        </p:sp>
      </p:grpSp>
      <p:sp>
        <p:nvSpPr>
          <p:cNvPr id="29" name="TextBox 28">
            <a:extLst>
              <a:ext uri="{FF2B5EF4-FFF2-40B4-BE49-F238E27FC236}">
                <a16:creationId xmlns:a16="http://schemas.microsoft.com/office/drawing/2014/main" id="{B67372A6-8A11-432B-A4BE-261F5B2EC481}"/>
              </a:ext>
            </a:extLst>
          </p:cNvPr>
          <p:cNvSpPr txBox="1"/>
          <p:nvPr/>
        </p:nvSpPr>
        <p:spPr>
          <a:xfrm>
            <a:off x="2455715" y="1937227"/>
            <a:ext cx="1197764" cy="507831"/>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Leadership</a:t>
            </a:r>
            <a:b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b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endorsement</a:t>
            </a: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grpSp>
        <p:nvGrpSpPr>
          <p:cNvPr id="41" name="Group 40">
            <a:extLst>
              <a:ext uri="{FF2B5EF4-FFF2-40B4-BE49-F238E27FC236}">
                <a16:creationId xmlns:a16="http://schemas.microsoft.com/office/drawing/2014/main" id="{48562F84-5B3F-46BC-B566-F9358C2E8335}"/>
              </a:ext>
            </a:extLst>
          </p:cNvPr>
          <p:cNvGrpSpPr/>
          <p:nvPr/>
        </p:nvGrpSpPr>
        <p:grpSpPr>
          <a:xfrm>
            <a:off x="1550967" y="4230307"/>
            <a:ext cx="5468654" cy="356553"/>
            <a:chOff x="1550967" y="4230307"/>
            <a:chExt cx="5468654" cy="356553"/>
          </a:xfrm>
        </p:grpSpPr>
        <p:sp>
          <p:nvSpPr>
            <p:cNvPr id="17" name="TextBox 16">
              <a:extLst>
                <a:ext uri="{FF2B5EF4-FFF2-40B4-BE49-F238E27FC236}">
                  <a16:creationId xmlns:a16="http://schemas.microsoft.com/office/drawing/2014/main" id="{636C5A68-DD2B-4660-9840-73E4B43DBF31}"/>
                </a:ext>
              </a:extLst>
            </p:cNvPr>
            <p:cNvSpPr txBox="1"/>
            <p:nvPr/>
          </p:nvSpPr>
          <p:spPr>
            <a:xfrm>
              <a:off x="3889277" y="4258542"/>
              <a:ext cx="3130344"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Vocabularies for Ipsen therapeutic areas</a:t>
              </a: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30" name="Arrow: Right 29">
              <a:extLst>
                <a:ext uri="{FF2B5EF4-FFF2-40B4-BE49-F238E27FC236}">
                  <a16:creationId xmlns:a16="http://schemas.microsoft.com/office/drawing/2014/main" id="{11CAE6DF-CCD7-481C-8EB5-F3C799FACDAB}"/>
                </a:ext>
              </a:extLst>
            </p:cNvPr>
            <p:cNvSpPr/>
            <p:nvPr/>
          </p:nvSpPr>
          <p:spPr>
            <a:xfrm>
              <a:off x="1550967" y="4230307"/>
              <a:ext cx="2329586" cy="356553"/>
            </a:xfrm>
            <a:prstGeom prst="rightArrow">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sp>
        <p:nvSpPr>
          <p:cNvPr id="33" name="Arrow: Striped Right 32">
            <a:extLst>
              <a:ext uri="{FF2B5EF4-FFF2-40B4-BE49-F238E27FC236}">
                <a16:creationId xmlns:a16="http://schemas.microsoft.com/office/drawing/2014/main" id="{9BF724D1-4322-4A6B-9D94-A90AF7115A18}"/>
              </a:ext>
            </a:extLst>
          </p:cNvPr>
          <p:cNvSpPr/>
          <p:nvPr/>
        </p:nvSpPr>
        <p:spPr>
          <a:xfrm>
            <a:off x="18981" y="2881895"/>
            <a:ext cx="547947" cy="373521"/>
          </a:xfrm>
          <a:prstGeom prst="stripedRightArrow">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nvGrpSpPr>
          <p:cNvPr id="39" name="Group 38">
            <a:extLst>
              <a:ext uri="{FF2B5EF4-FFF2-40B4-BE49-F238E27FC236}">
                <a16:creationId xmlns:a16="http://schemas.microsoft.com/office/drawing/2014/main" id="{E2B58F50-81A4-436B-8844-7120389124F6}"/>
              </a:ext>
            </a:extLst>
          </p:cNvPr>
          <p:cNvGrpSpPr/>
          <p:nvPr/>
        </p:nvGrpSpPr>
        <p:grpSpPr>
          <a:xfrm>
            <a:off x="1550967" y="3755655"/>
            <a:ext cx="5856475" cy="373521"/>
            <a:chOff x="1550967" y="3710831"/>
            <a:chExt cx="5856475" cy="373521"/>
          </a:xfrm>
        </p:grpSpPr>
        <p:sp>
          <p:nvSpPr>
            <p:cNvPr id="21" name="TextBox 20">
              <a:extLst>
                <a:ext uri="{FF2B5EF4-FFF2-40B4-BE49-F238E27FC236}">
                  <a16:creationId xmlns:a16="http://schemas.microsoft.com/office/drawing/2014/main" id="{6DF1C418-AC75-443F-A8E5-908460122BC7}"/>
                </a:ext>
              </a:extLst>
            </p:cNvPr>
            <p:cNvSpPr txBox="1"/>
            <p:nvPr/>
          </p:nvSpPr>
          <p:spPr>
            <a:xfrm>
              <a:off x="3907188" y="3738374"/>
              <a:ext cx="3500254"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Internal guidelines on writing &amp; reviewing PLS</a:t>
              </a: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35" name="Arrow: Right 34">
              <a:extLst>
                <a:ext uri="{FF2B5EF4-FFF2-40B4-BE49-F238E27FC236}">
                  <a16:creationId xmlns:a16="http://schemas.microsoft.com/office/drawing/2014/main" id="{8367665B-CCBA-4223-AB60-A8D91CE293AF}"/>
                </a:ext>
              </a:extLst>
            </p:cNvPr>
            <p:cNvSpPr/>
            <p:nvPr/>
          </p:nvSpPr>
          <p:spPr>
            <a:xfrm>
              <a:off x="1550967" y="3710831"/>
              <a:ext cx="2052945" cy="373521"/>
            </a:xfrm>
            <a:prstGeom prst="rightArrow">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40" name="Group 39">
            <a:extLst>
              <a:ext uri="{FF2B5EF4-FFF2-40B4-BE49-F238E27FC236}">
                <a16:creationId xmlns:a16="http://schemas.microsoft.com/office/drawing/2014/main" id="{4452A903-3C8D-4B44-B6EB-98CF91CFE5E0}"/>
              </a:ext>
            </a:extLst>
          </p:cNvPr>
          <p:cNvGrpSpPr/>
          <p:nvPr/>
        </p:nvGrpSpPr>
        <p:grpSpPr>
          <a:xfrm>
            <a:off x="1571841" y="3281002"/>
            <a:ext cx="6907347" cy="373521"/>
            <a:chOff x="1571841" y="3281002"/>
            <a:chExt cx="6907347" cy="373521"/>
          </a:xfrm>
        </p:grpSpPr>
        <p:sp>
          <p:nvSpPr>
            <p:cNvPr id="20" name="TextBox 19">
              <a:extLst>
                <a:ext uri="{FF2B5EF4-FFF2-40B4-BE49-F238E27FC236}">
                  <a16:creationId xmlns:a16="http://schemas.microsoft.com/office/drawing/2014/main" id="{3C14F1D5-5E16-4221-BCF6-37CCC47B1AE3}"/>
                </a:ext>
              </a:extLst>
            </p:cNvPr>
            <p:cNvSpPr txBox="1"/>
            <p:nvPr/>
          </p:nvSpPr>
          <p:spPr>
            <a:xfrm>
              <a:off x="3907188" y="3315461"/>
              <a:ext cx="4572000" cy="300082"/>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Process for lay review of PLSs</a:t>
              </a: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36" name="Arrow: Right 35">
              <a:extLst>
                <a:ext uri="{FF2B5EF4-FFF2-40B4-BE49-F238E27FC236}">
                  <a16:creationId xmlns:a16="http://schemas.microsoft.com/office/drawing/2014/main" id="{13B04583-B340-433D-A714-C32AA8690171}"/>
                </a:ext>
              </a:extLst>
            </p:cNvPr>
            <p:cNvSpPr/>
            <p:nvPr/>
          </p:nvSpPr>
          <p:spPr>
            <a:xfrm>
              <a:off x="1571841" y="3281002"/>
              <a:ext cx="2052945" cy="373521"/>
            </a:xfrm>
            <a:prstGeom prst="rightArrow">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sp>
        <p:nvSpPr>
          <p:cNvPr id="37" name="TextBox 36">
            <a:extLst>
              <a:ext uri="{FF2B5EF4-FFF2-40B4-BE49-F238E27FC236}">
                <a16:creationId xmlns:a16="http://schemas.microsoft.com/office/drawing/2014/main" id="{AC5B6A37-C989-44AA-A73C-0F89591D43A4}"/>
              </a:ext>
            </a:extLst>
          </p:cNvPr>
          <p:cNvSpPr txBox="1"/>
          <p:nvPr/>
        </p:nvSpPr>
        <p:spPr>
          <a:xfrm>
            <a:off x="557784" y="2941868"/>
            <a:ext cx="2599814" cy="30008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PLS pilot study &amp; benchmarking</a:t>
            </a: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38" name="TextBox 37">
            <a:extLst>
              <a:ext uri="{FF2B5EF4-FFF2-40B4-BE49-F238E27FC236}">
                <a16:creationId xmlns:a16="http://schemas.microsoft.com/office/drawing/2014/main" id="{763CC992-CF06-402A-B2E6-1D99B62FEB97}"/>
              </a:ext>
            </a:extLst>
          </p:cNvPr>
          <p:cNvSpPr txBox="1"/>
          <p:nvPr/>
        </p:nvSpPr>
        <p:spPr>
          <a:xfrm>
            <a:off x="356616" y="4718002"/>
            <a:ext cx="439325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Franklin Gothic Book" panose="020B0503020102020204"/>
                <a:ea typeface="+mn-ea"/>
                <a:cs typeface="+mn-cs"/>
              </a:rPr>
              <a:t>ISMPP, International Society of Medical Publication Professionals</a:t>
            </a:r>
            <a:endParaRPr kumimoji="0" lang="en-US" sz="12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18" name="TextBox 17">
            <a:extLst>
              <a:ext uri="{FF2B5EF4-FFF2-40B4-BE49-F238E27FC236}">
                <a16:creationId xmlns:a16="http://schemas.microsoft.com/office/drawing/2014/main" id="{0432A470-5751-4293-A21C-22432715546D}"/>
              </a:ext>
            </a:extLst>
          </p:cNvPr>
          <p:cNvSpPr txBox="1"/>
          <p:nvPr/>
        </p:nvSpPr>
        <p:spPr>
          <a:xfrm>
            <a:off x="80295" y="2508579"/>
            <a:ext cx="610697"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2021</a:t>
            </a: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42" name="TextBox 41">
            <a:extLst>
              <a:ext uri="{FF2B5EF4-FFF2-40B4-BE49-F238E27FC236}">
                <a16:creationId xmlns:a16="http://schemas.microsoft.com/office/drawing/2014/main" id="{C7F8E29E-7FB9-46E5-B564-DD60FEF79DE3}"/>
              </a:ext>
            </a:extLst>
          </p:cNvPr>
          <p:cNvSpPr txBox="1"/>
          <p:nvPr/>
        </p:nvSpPr>
        <p:spPr>
          <a:xfrm>
            <a:off x="8311912" y="2508579"/>
            <a:ext cx="610697"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prstClr val="black"/>
                </a:solidFill>
                <a:effectLst/>
                <a:uLnTx/>
                <a:uFillTx/>
                <a:latin typeface="Franklin Gothic Book" panose="020B0503020102020204"/>
                <a:ea typeface="+mn-ea"/>
                <a:cs typeface="+mn-cs"/>
              </a:rPr>
              <a:t>2022</a:t>
            </a: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7157805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p:txBody>
          <a:bodyPr/>
          <a:lstStyle/>
          <a:p>
            <a:r>
              <a:rPr lang="en-US" dirty="0"/>
              <a:t>A Company’s Approach to Implementing a Global Publication Plain Language Summary (PLS) Process</a:t>
            </a:r>
          </a:p>
        </p:txBody>
      </p:sp>
      <p:sp>
        <p:nvSpPr>
          <p:cNvPr id="6" name="Text Placeholder 5">
            <a:extLst>
              <a:ext uri="{FF2B5EF4-FFF2-40B4-BE49-F238E27FC236}">
                <a16:creationId xmlns:a16="http://schemas.microsoft.com/office/drawing/2014/main" id="{5992C889-06EC-4A3C-949B-CB79887518ED}"/>
              </a:ext>
            </a:extLst>
          </p:cNvPr>
          <p:cNvSpPr>
            <a:spLocks noGrp="1"/>
          </p:cNvSpPr>
          <p:nvPr>
            <p:ph type="body" idx="1"/>
          </p:nvPr>
        </p:nvSpPr>
        <p:spPr>
          <a:xfrm>
            <a:off x="2859578" y="3315479"/>
            <a:ext cx="5651010" cy="1409700"/>
          </a:xfrm>
        </p:spPr>
        <p:txBody>
          <a:bodyPr>
            <a:noAutofit/>
          </a:bodyPr>
          <a:lstStyle/>
          <a:p>
            <a:pPr algn="r"/>
            <a:r>
              <a:rPr lang="en-US" sz="2200" dirty="0"/>
              <a:t>Angela Sykes                                             Publications Standards &amp; Best Practices Lead                                                                                            Pfizer</a:t>
            </a:r>
          </a:p>
        </p:txBody>
      </p:sp>
    </p:spTree>
    <p:extLst>
      <p:ext uri="{BB962C8B-B14F-4D97-AF65-F5344CB8AC3E}">
        <p14:creationId xmlns:p14="http://schemas.microsoft.com/office/powerpoint/2010/main" val="13302606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Arrow Connector 11">
            <a:extLst>
              <a:ext uri="{FF2B5EF4-FFF2-40B4-BE49-F238E27FC236}">
                <a16:creationId xmlns:a16="http://schemas.microsoft.com/office/drawing/2014/main" id="{60BD9D03-3CAA-44FA-89C1-88F88CAF36F7}"/>
              </a:ext>
            </a:extLst>
          </p:cNvPr>
          <p:cNvCxnSpPr/>
          <p:nvPr/>
        </p:nvCxnSpPr>
        <p:spPr>
          <a:xfrm flipH="1">
            <a:off x="3907972" y="3916371"/>
            <a:ext cx="1441074" cy="0"/>
          </a:xfrm>
          <a:prstGeom prst="straightConnector1">
            <a:avLst/>
          </a:prstGeom>
          <a:ln w="19050">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C1769DF7-554E-4F78-8289-992E4C0D0216}"/>
              </a:ext>
            </a:extLst>
          </p:cNvPr>
          <p:cNvCxnSpPr/>
          <p:nvPr/>
        </p:nvCxnSpPr>
        <p:spPr>
          <a:xfrm flipH="1">
            <a:off x="5733016" y="2645931"/>
            <a:ext cx="1168096" cy="0"/>
          </a:xfrm>
          <a:prstGeom prst="straightConnector1">
            <a:avLst/>
          </a:prstGeom>
          <a:ln w="19050">
            <a:solidFill>
              <a:srgbClr val="0070C0"/>
            </a:solidFill>
            <a:tailEnd type="ova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7F8F7FAD-027B-4212-A597-CBACADB16623}"/>
              </a:ext>
            </a:extLst>
          </p:cNvPr>
          <p:cNvSpPr>
            <a:spLocks noGrp="1"/>
          </p:cNvSpPr>
          <p:nvPr>
            <p:ph type="title"/>
          </p:nvPr>
        </p:nvSpPr>
        <p:spPr>
          <a:xfrm>
            <a:off x="467510" y="59945"/>
            <a:ext cx="7462661" cy="941541"/>
          </a:xfrm>
        </p:spPr>
        <p:txBody>
          <a:bodyPr/>
          <a:lstStyle/>
          <a:p>
            <a:r>
              <a:rPr lang="en-US" dirty="0"/>
              <a:t>The Road to Success</a:t>
            </a:r>
          </a:p>
        </p:txBody>
      </p:sp>
      <p:sp>
        <p:nvSpPr>
          <p:cNvPr id="5" name="Slide Number Placeholder 4">
            <a:extLst>
              <a:ext uri="{FF2B5EF4-FFF2-40B4-BE49-F238E27FC236}">
                <a16:creationId xmlns:a16="http://schemas.microsoft.com/office/drawing/2014/main" id="{A2B966BB-5CF6-4607-90E6-E83E13101715}"/>
              </a:ext>
            </a:extLst>
          </p:cNvPr>
          <p:cNvSpPr>
            <a:spLocks noGrp="1"/>
          </p:cNvSpPr>
          <p:nvPr>
            <p:ph type="sldNum" sz="quarter" idx="10"/>
          </p:nvPr>
        </p:nvSpPr>
        <p:spPr/>
        <p:txBody>
          <a:bodyPr/>
          <a:lstStyle/>
          <a:p>
            <a:fld id="{42AD0A0E-4515-A647-B2E3-7F1B29FB990E}" type="slidenum">
              <a:rPr lang="en-US" smtClean="0"/>
              <a:pPr/>
              <a:t>45</a:t>
            </a:fld>
            <a:endParaRPr lang="en-US" dirty="0"/>
          </a:p>
        </p:txBody>
      </p:sp>
      <p:grpSp>
        <p:nvGrpSpPr>
          <p:cNvPr id="8" name="Group 7">
            <a:extLst>
              <a:ext uri="{FF2B5EF4-FFF2-40B4-BE49-F238E27FC236}">
                <a16:creationId xmlns:a16="http://schemas.microsoft.com/office/drawing/2014/main" id="{16E06229-3270-4E2E-991A-519161D9AB0F}"/>
              </a:ext>
            </a:extLst>
          </p:cNvPr>
          <p:cNvGrpSpPr>
            <a:grpSpLocks/>
          </p:cNvGrpSpPr>
          <p:nvPr/>
        </p:nvGrpSpPr>
        <p:grpSpPr bwMode="auto">
          <a:xfrm>
            <a:off x="3303186" y="1199209"/>
            <a:ext cx="5475449" cy="3815097"/>
            <a:chOff x="2606222" y="2935741"/>
            <a:chExt cx="8845551" cy="3951287"/>
          </a:xfrm>
        </p:grpSpPr>
        <p:sp>
          <p:nvSpPr>
            <p:cNvPr id="9" name="Freeform 8">
              <a:extLst>
                <a:ext uri="{FF2B5EF4-FFF2-40B4-BE49-F238E27FC236}">
                  <a16:creationId xmlns:a16="http://schemas.microsoft.com/office/drawing/2014/main" id="{29149FEA-4F42-4F9F-8A2D-B842351CCCF2}"/>
                </a:ext>
              </a:extLst>
            </p:cNvPr>
            <p:cNvSpPr>
              <a:spLocks/>
            </p:cNvSpPr>
            <p:nvPr/>
          </p:nvSpPr>
          <p:spPr bwMode="auto">
            <a:xfrm>
              <a:off x="2606222" y="2935741"/>
              <a:ext cx="8845551" cy="3951287"/>
            </a:xfrm>
            <a:custGeom>
              <a:avLst/>
              <a:gdLst>
                <a:gd name="T0" fmla="*/ 2339 w 3076"/>
                <a:gd name="T1" fmla="*/ 212 h 1372"/>
                <a:gd name="T2" fmla="*/ 1696 w 3076"/>
                <a:gd name="T3" fmla="*/ 69 h 1372"/>
                <a:gd name="T4" fmla="*/ 1942 w 3076"/>
                <a:gd name="T5" fmla="*/ 0 h 1372"/>
                <a:gd name="T6" fmla="*/ 1920 w 3076"/>
                <a:gd name="T7" fmla="*/ 0 h 1372"/>
                <a:gd name="T8" fmla="*/ 1567 w 3076"/>
                <a:gd name="T9" fmla="*/ 43 h 1372"/>
                <a:gd name="T10" fmla="*/ 1835 w 3076"/>
                <a:gd name="T11" fmla="*/ 196 h 1372"/>
                <a:gd name="T12" fmla="*/ 1888 w 3076"/>
                <a:gd name="T13" fmla="*/ 574 h 1372"/>
                <a:gd name="T14" fmla="*/ 0 w 3076"/>
                <a:gd name="T15" fmla="*/ 1364 h 1372"/>
                <a:gd name="T16" fmla="*/ 0 w 3076"/>
                <a:gd name="T17" fmla="*/ 1372 h 1372"/>
                <a:gd name="T18" fmla="*/ 2499 w 3076"/>
                <a:gd name="T19" fmla="*/ 1372 h 1372"/>
                <a:gd name="T20" fmla="*/ 2832 w 3076"/>
                <a:gd name="T21" fmla="*/ 944 h 1372"/>
                <a:gd name="T22" fmla="*/ 2339 w 3076"/>
                <a:gd name="T23" fmla="*/ 212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76" h="1372">
                  <a:moveTo>
                    <a:pt x="2339" y="212"/>
                  </a:moveTo>
                  <a:cubicBezTo>
                    <a:pt x="1881" y="99"/>
                    <a:pt x="1736" y="99"/>
                    <a:pt x="1696" y="69"/>
                  </a:cubicBezTo>
                  <a:cubicBezTo>
                    <a:pt x="1661" y="43"/>
                    <a:pt x="1885" y="8"/>
                    <a:pt x="1942" y="0"/>
                  </a:cubicBezTo>
                  <a:cubicBezTo>
                    <a:pt x="1920" y="0"/>
                    <a:pt x="1920" y="0"/>
                    <a:pt x="1920" y="0"/>
                  </a:cubicBezTo>
                  <a:cubicBezTo>
                    <a:pt x="1861" y="4"/>
                    <a:pt x="1734" y="14"/>
                    <a:pt x="1567" y="43"/>
                  </a:cubicBezTo>
                  <a:cubicBezTo>
                    <a:pt x="1354" y="79"/>
                    <a:pt x="1620" y="150"/>
                    <a:pt x="1835" y="196"/>
                  </a:cubicBezTo>
                  <a:cubicBezTo>
                    <a:pt x="2050" y="243"/>
                    <a:pt x="2255" y="353"/>
                    <a:pt x="1888" y="574"/>
                  </a:cubicBezTo>
                  <a:cubicBezTo>
                    <a:pt x="996" y="1111"/>
                    <a:pt x="256" y="1307"/>
                    <a:pt x="0" y="1364"/>
                  </a:cubicBezTo>
                  <a:cubicBezTo>
                    <a:pt x="0" y="1372"/>
                    <a:pt x="0" y="1372"/>
                    <a:pt x="0" y="1372"/>
                  </a:cubicBezTo>
                  <a:cubicBezTo>
                    <a:pt x="2499" y="1372"/>
                    <a:pt x="2499" y="1372"/>
                    <a:pt x="2499" y="1372"/>
                  </a:cubicBezTo>
                  <a:cubicBezTo>
                    <a:pt x="2628" y="1226"/>
                    <a:pt x="2767" y="1050"/>
                    <a:pt x="2832" y="944"/>
                  </a:cubicBezTo>
                  <a:cubicBezTo>
                    <a:pt x="3076" y="549"/>
                    <a:pt x="2796" y="324"/>
                    <a:pt x="2339" y="212"/>
                  </a:cubicBezTo>
                  <a:close/>
                </a:path>
              </a:pathLst>
            </a:custGeom>
            <a:solidFill>
              <a:srgbClr val="292929"/>
            </a:solidFill>
            <a:ln>
              <a:noFill/>
            </a:ln>
          </p:spPr>
          <p:txBody>
            <a:bodyPr lIns="68562" tIns="34281" rIns="68562" bIns="34281"/>
            <a:lstStyle/>
            <a:p>
              <a:pPr defTabSz="914103">
                <a:buClr>
                  <a:srgbClr val="000000"/>
                </a:buClr>
                <a:defRPr/>
              </a:pPr>
              <a:endParaRPr lang="id-ID" sz="1349" kern="0">
                <a:solidFill>
                  <a:srgbClr val="000000"/>
                </a:solidFill>
                <a:latin typeface="Arial"/>
                <a:cs typeface="Arial"/>
                <a:sym typeface="Arial"/>
              </a:endParaRPr>
            </a:p>
          </p:txBody>
        </p:sp>
        <p:sp>
          <p:nvSpPr>
            <p:cNvPr id="10" name="Freeform 9">
              <a:extLst>
                <a:ext uri="{FF2B5EF4-FFF2-40B4-BE49-F238E27FC236}">
                  <a16:creationId xmlns:a16="http://schemas.microsoft.com/office/drawing/2014/main" id="{A12A3A29-AC17-4331-AEE0-A54DD0EAF61A}"/>
                </a:ext>
              </a:extLst>
            </p:cNvPr>
            <p:cNvSpPr>
              <a:spLocks/>
            </p:cNvSpPr>
            <p:nvPr/>
          </p:nvSpPr>
          <p:spPr bwMode="auto">
            <a:xfrm>
              <a:off x="6531596" y="2935741"/>
              <a:ext cx="3271572" cy="3951287"/>
            </a:xfrm>
            <a:custGeom>
              <a:avLst/>
              <a:gdLst>
                <a:gd name="T0" fmla="*/ 1070 w 1138"/>
                <a:gd name="T1" fmla="*/ 369 h 1372"/>
                <a:gd name="T2" fmla="*/ 878 w 1138"/>
                <a:gd name="T3" fmla="*/ 253 h 1372"/>
                <a:gd name="T4" fmla="*/ 680 w 1138"/>
                <a:gd name="T5" fmla="*/ 193 h 1372"/>
                <a:gd name="T6" fmla="*/ 332 w 1138"/>
                <a:gd name="T7" fmla="*/ 117 h 1372"/>
                <a:gd name="T8" fmla="*/ 259 w 1138"/>
                <a:gd name="T9" fmla="*/ 98 h 1372"/>
                <a:gd name="T10" fmla="*/ 229 w 1138"/>
                <a:gd name="T11" fmla="*/ 82 h 1372"/>
                <a:gd name="T12" fmla="*/ 245 w 1138"/>
                <a:gd name="T13" fmla="*/ 61 h 1372"/>
                <a:gd name="T14" fmla="*/ 363 w 1138"/>
                <a:gd name="T15" fmla="*/ 30 h 1372"/>
                <a:gd name="T16" fmla="*/ 572 w 1138"/>
                <a:gd name="T17" fmla="*/ 0 h 1372"/>
                <a:gd name="T18" fmla="*/ 563 w 1138"/>
                <a:gd name="T19" fmla="*/ 0 h 1372"/>
                <a:gd name="T20" fmla="*/ 363 w 1138"/>
                <a:gd name="T21" fmla="*/ 27 h 1372"/>
                <a:gd name="T22" fmla="*/ 244 w 1138"/>
                <a:gd name="T23" fmla="*/ 58 h 1372"/>
                <a:gd name="T24" fmla="*/ 226 w 1138"/>
                <a:gd name="T25" fmla="*/ 84 h 1372"/>
                <a:gd name="T26" fmla="*/ 258 w 1138"/>
                <a:gd name="T27" fmla="*/ 101 h 1372"/>
                <a:gd name="T28" fmla="*/ 332 w 1138"/>
                <a:gd name="T29" fmla="*/ 120 h 1372"/>
                <a:gd name="T30" fmla="*/ 679 w 1138"/>
                <a:gd name="T31" fmla="*/ 198 h 1372"/>
                <a:gd name="T32" fmla="*/ 876 w 1138"/>
                <a:gd name="T33" fmla="*/ 258 h 1372"/>
                <a:gd name="T34" fmla="*/ 1065 w 1138"/>
                <a:gd name="T35" fmla="*/ 373 h 1372"/>
                <a:gd name="T36" fmla="*/ 1085 w 1138"/>
                <a:gd name="T37" fmla="*/ 592 h 1372"/>
                <a:gd name="T38" fmla="*/ 917 w 1138"/>
                <a:gd name="T39" fmla="*/ 780 h 1372"/>
                <a:gd name="T40" fmla="*/ 0 w 1138"/>
                <a:gd name="T41" fmla="*/ 1372 h 1372"/>
                <a:gd name="T42" fmla="*/ 66 w 1138"/>
                <a:gd name="T43" fmla="*/ 1372 h 1372"/>
                <a:gd name="T44" fmla="*/ 926 w 1138"/>
                <a:gd name="T45" fmla="*/ 786 h 1372"/>
                <a:gd name="T46" fmla="*/ 1090 w 1138"/>
                <a:gd name="T47" fmla="*/ 594 h 1372"/>
                <a:gd name="T48" fmla="*/ 1070 w 1138"/>
                <a:gd name="T49" fmla="*/ 369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38" h="1372">
                  <a:moveTo>
                    <a:pt x="1070" y="369"/>
                  </a:moveTo>
                  <a:cubicBezTo>
                    <a:pt x="1016" y="311"/>
                    <a:pt x="945" y="280"/>
                    <a:pt x="878" y="253"/>
                  </a:cubicBezTo>
                  <a:cubicBezTo>
                    <a:pt x="811" y="228"/>
                    <a:pt x="744" y="209"/>
                    <a:pt x="680" y="193"/>
                  </a:cubicBezTo>
                  <a:cubicBezTo>
                    <a:pt x="551" y="163"/>
                    <a:pt x="435" y="139"/>
                    <a:pt x="332" y="117"/>
                  </a:cubicBezTo>
                  <a:cubicBezTo>
                    <a:pt x="307" y="111"/>
                    <a:pt x="282" y="105"/>
                    <a:pt x="259" y="98"/>
                  </a:cubicBezTo>
                  <a:cubicBezTo>
                    <a:pt x="248" y="94"/>
                    <a:pt x="236" y="90"/>
                    <a:pt x="229" y="82"/>
                  </a:cubicBezTo>
                  <a:cubicBezTo>
                    <a:pt x="221" y="73"/>
                    <a:pt x="237" y="65"/>
                    <a:pt x="245" y="61"/>
                  </a:cubicBezTo>
                  <a:cubicBezTo>
                    <a:pt x="286" y="44"/>
                    <a:pt x="327" y="37"/>
                    <a:pt x="363" y="30"/>
                  </a:cubicBezTo>
                  <a:cubicBezTo>
                    <a:pt x="468" y="11"/>
                    <a:pt x="540" y="3"/>
                    <a:pt x="572" y="0"/>
                  </a:cubicBezTo>
                  <a:cubicBezTo>
                    <a:pt x="563" y="0"/>
                    <a:pt x="563" y="0"/>
                    <a:pt x="563" y="0"/>
                  </a:cubicBezTo>
                  <a:cubicBezTo>
                    <a:pt x="528" y="3"/>
                    <a:pt x="459" y="11"/>
                    <a:pt x="363" y="27"/>
                  </a:cubicBezTo>
                  <a:cubicBezTo>
                    <a:pt x="327" y="35"/>
                    <a:pt x="286" y="41"/>
                    <a:pt x="244" y="58"/>
                  </a:cubicBezTo>
                  <a:cubicBezTo>
                    <a:pt x="236" y="62"/>
                    <a:pt x="216" y="70"/>
                    <a:pt x="226" y="84"/>
                  </a:cubicBezTo>
                  <a:cubicBezTo>
                    <a:pt x="235" y="93"/>
                    <a:pt x="247" y="97"/>
                    <a:pt x="258" y="101"/>
                  </a:cubicBezTo>
                  <a:cubicBezTo>
                    <a:pt x="281" y="109"/>
                    <a:pt x="306" y="115"/>
                    <a:pt x="332" y="120"/>
                  </a:cubicBezTo>
                  <a:cubicBezTo>
                    <a:pt x="434" y="143"/>
                    <a:pt x="551" y="168"/>
                    <a:pt x="679" y="198"/>
                  </a:cubicBezTo>
                  <a:cubicBezTo>
                    <a:pt x="743" y="214"/>
                    <a:pt x="809" y="233"/>
                    <a:pt x="876" y="258"/>
                  </a:cubicBezTo>
                  <a:cubicBezTo>
                    <a:pt x="943" y="284"/>
                    <a:pt x="1013" y="316"/>
                    <a:pt x="1065" y="373"/>
                  </a:cubicBezTo>
                  <a:cubicBezTo>
                    <a:pt x="1119" y="428"/>
                    <a:pt x="1132" y="522"/>
                    <a:pt x="1085" y="592"/>
                  </a:cubicBezTo>
                  <a:cubicBezTo>
                    <a:pt x="1043" y="662"/>
                    <a:pt x="982" y="722"/>
                    <a:pt x="917" y="780"/>
                  </a:cubicBezTo>
                  <a:cubicBezTo>
                    <a:pt x="660" y="998"/>
                    <a:pt x="341" y="1188"/>
                    <a:pt x="0" y="1372"/>
                  </a:cubicBezTo>
                  <a:cubicBezTo>
                    <a:pt x="66" y="1372"/>
                    <a:pt x="66" y="1372"/>
                    <a:pt x="66" y="1372"/>
                  </a:cubicBezTo>
                  <a:cubicBezTo>
                    <a:pt x="399" y="1190"/>
                    <a:pt x="672" y="1003"/>
                    <a:pt x="926" y="786"/>
                  </a:cubicBezTo>
                  <a:cubicBezTo>
                    <a:pt x="991" y="728"/>
                    <a:pt x="1048" y="666"/>
                    <a:pt x="1090" y="594"/>
                  </a:cubicBezTo>
                  <a:cubicBezTo>
                    <a:pt x="1138" y="524"/>
                    <a:pt x="1125" y="426"/>
                    <a:pt x="1070" y="369"/>
                  </a:cubicBezTo>
                  <a:close/>
                </a:path>
              </a:pathLst>
            </a:custGeom>
            <a:solidFill>
              <a:schemeClr val="bg1"/>
            </a:solidFill>
            <a:ln>
              <a:noFill/>
            </a:ln>
          </p:spPr>
          <p:txBody>
            <a:bodyPr lIns="68562" tIns="34281" rIns="68562" bIns="34281"/>
            <a:lstStyle/>
            <a:p>
              <a:pPr defTabSz="914103">
                <a:buClr>
                  <a:srgbClr val="000000"/>
                </a:buClr>
                <a:defRPr/>
              </a:pPr>
              <a:endParaRPr lang="id-ID" sz="1349" kern="0">
                <a:solidFill>
                  <a:srgbClr val="000000"/>
                </a:solidFill>
                <a:latin typeface="Arial"/>
                <a:cs typeface="Arial"/>
                <a:sym typeface="Arial"/>
              </a:endParaRPr>
            </a:p>
          </p:txBody>
        </p:sp>
      </p:grpSp>
      <p:cxnSp>
        <p:nvCxnSpPr>
          <p:cNvPr id="11" name="Straight Arrow Connector 10">
            <a:extLst>
              <a:ext uri="{FF2B5EF4-FFF2-40B4-BE49-F238E27FC236}">
                <a16:creationId xmlns:a16="http://schemas.microsoft.com/office/drawing/2014/main" id="{03654169-5D9D-4C47-AB0E-B46736808211}"/>
              </a:ext>
            </a:extLst>
          </p:cNvPr>
          <p:cNvCxnSpPr/>
          <p:nvPr/>
        </p:nvCxnSpPr>
        <p:spPr>
          <a:xfrm flipH="1">
            <a:off x="3246982" y="4388360"/>
            <a:ext cx="1168096" cy="0"/>
          </a:xfrm>
          <a:prstGeom prst="straightConnector1">
            <a:avLst/>
          </a:prstGeom>
          <a:ln w="19050">
            <a:solidFill>
              <a:srgbClr val="0070C0"/>
            </a:solidFill>
            <a:tailEnd type="oval"/>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894A80E2-A98C-422A-82A4-7847EB11486E}"/>
              </a:ext>
            </a:extLst>
          </p:cNvPr>
          <p:cNvCxnSpPr/>
          <p:nvPr/>
        </p:nvCxnSpPr>
        <p:spPr>
          <a:xfrm flipH="1">
            <a:off x="4986057" y="3219227"/>
            <a:ext cx="1168096" cy="0"/>
          </a:xfrm>
          <a:prstGeom prst="straightConnector1">
            <a:avLst/>
          </a:prstGeom>
          <a:ln w="19050">
            <a:solidFill>
              <a:srgbClr val="0070C0"/>
            </a:solidFil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D6C56CD-5747-4E9F-B2C1-80B42DAED170}"/>
              </a:ext>
            </a:extLst>
          </p:cNvPr>
          <p:cNvSpPr txBox="1"/>
          <p:nvPr/>
        </p:nvSpPr>
        <p:spPr>
          <a:xfrm>
            <a:off x="1017961" y="3659962"/>
            <a:ext cx="2427268" cy="276999"/>
          </a:xfrm>
          <a:prstGeom prst="rect">
            <a:avLst/>
          </a:prstGeom>
          <a:noFill/>
        </p:spPr>
        <p:txBody>
          <a:bodyPr wrap="none">
            <a:spAutoFit/>
          </a:bodyPr>
          <a:lstStyle/>
          <a:p>
            <a:pPr algn="r" defTabSz="914103">
              <a:buClr>
                <a:srgbClr val="000000"/>
              </a:buClr>
              <a:defRPr/>
            </a:pPr>
            <a:r>
              <a:rPr lang="en-US" sz="1200" b="1" kern="0" dirty="0">
                <a:solidFill>
                  <a:srgbClr val="000000"/>
                </a:solidFill>
                <a:latin typeface="Arial" panose="020B0604020202020204"/>
                <a:cs typeface="Arial"/>
                <a:sym typeface="Arial"/>
              </a:rPr>
              <a:t>Enterprise-wide PLS Guidance</a:t>
            </a:r>
          </a:p>
        </p:txBody>
      </p:sp>
      <p:sp>
        <p:nvSpPr>
          <p:cNvPr id="22" name="TextBox 21">
            <a:extLst>
              <a:ext uri="{FF2B5EF4-FFF2-40B4-BE49-F238E27FC236}">
                <a16:creationId xmlns:a16="http://schemas.microsoft.com/office/drawing/2014/main" id="{38E5CE6D-0A22-4584-AB25-53BA72A2C0A0}"/>
              </a:ext>
            </a:extLst>
          </p:cNvPr>
          <p:cNvSpPr txBox="1"/>
          <p:nvPr/>
        </p:nvSpPr>
        <p:spPr>
          <a:xfrm>
            <a:off x="2378825" y="3007248"/>
            <a:ext cx="2081019" cy="276999"/>
          </a:xfrm>
          <a:prstGeom prst="rect">
            <a:avLst/>
          </a:prstGeom>
          <a:noFill/>
        </p:spPr>
        <p:txBody>
          <a:bodyPr wrap="none">
            <a:spAutoFit/>
          </a:bodyPr>
          <a:lstStyle/>
          <a:p>
            <a:pPr algn="r" defTabSz="914103">
              <a:buClr>
                <a:srgbClr val="000000"/>
              </a:buClr>
              <a:defRPr/>
            </a:pPr>
            <a:r>
              <a:rPr lang="en-US" sz="1200" b="1" kern="0" dirty="0">
                <a:solidFill>
                  <a:srgbClr val="000000"/>
                </a:solidFill>
                <a:latin typeface="Arial" panose="020B0604020202020204"/>
                <a:cs typeface="Arial"/>
                <a:sym typeface="Arial"/>
              </a:rPr>
              <a:t>Publication PLS HLT Pilot</a:t>
            </a:r>
            <a:endParaRPr lang="id-ID" sz="1200" b="1" kern="0" dirty="0">
              <a:solidFill>
                <a:srgbClr val="000000"/>
              </a:solidFill>
              <a:latin typeface="Arial" panose="020B0604020202020204"/>
              <a:cs typeface="Arial"/>
              <a:sym typeface="Arial"/>
            </a:endParaRPr>
          </a:p>
        </p:txBody>
      </p:sp>
      <p:sp>
        <p:nvSpPr>
          <p:cNvPr id="23" name="TextBox 22">
            <a:extLst>
              <a:ext uri="{FF2B5EF4-FFF2-40B4-BE49-F238E27FC236}">
                <a16:creationId xmlns:a16="http://schemas.microsoft.com/office/drawing/2014/main" id="{74F4C2AF-B730-4D03-B7EB-C9E2083A8132}"/>
              </a:ext>
            </a:extLst>
          </p:cNvPr>
          <p:cNvSpPr txBox="1"/>
          <p:nvPr/>
        </p:nvSpPr>
        <p:spPr>
          <a:xfrm>
            <a:off x="2781384" y="1793434"/>
            <a:ext cx="2294218" cy="276999"/>
          </a:xfrm>
          <a:prstGeom prst="rect">
            <a:avLst/>
          </a:prstGeom>
          <a:noFill/>
        </p:spPr>
        <p:txBody>
          <a:bodyPr wrap="none">
            <a:spAutoFit/>
          </a:bodyPr>
          <a:lstStyle/>
          <a:p>
            <a:pPr algn="r" defTabSz="914103">
              <a:buClr>
                <a:srgbClr val="000000"/>
              </a:buClr>
              <a:defRPr/>
            </a:pPr>
            <a:r>
              <a:rPr lang="en-US" sz="1200" b="1" kern="0" dirty="0">
                <a:solidFill>
                  <a:srgbClr val="000000"/>
                </a:solidFill>
                <a:latin typeface="Arial" panose="020B0604020202020204"/>
                <a:cs typeface="Arial"/>
                <a:sym typeface="Arial"/>
              </a:rPr>
              <a:t>Publication PLS HLT Launch</a:t>
            </a:r>
          </a:p>
        </p:txBody>
      </p:sp>
      <p:cxnSp>
        <p:nvCxnSpPr>
          <p:cNvPr id="24" name="Straight Arrow Connector 23">
            <a:extLst>
              <a:ext uri="{FF2B5EF4-FFF2-40B4-BE49-F238E27FC236}">
                <a16:creationId xmlns:a16="http://schemas.microsoft.com/office/drawing/2014/main" id="{23A1C070-1D8E-4A60-BC5A-2E4F343BDB92}"/>
              </a:ext>
            </a:extLst>
          </p:cNvPr>
          <p:cNvCxnSpPr/>
          <p:nvPr/>
        </p:nvCxnSpPr>
        <p:spPr>
          <a:xfrm flipH="1">
            <a:off x="5600837" y="2011317"/>
            <a:ext cx="1168096" cy="0"/>
          </a:xfrm>
          <a:prstGeom prst="straightConnector1">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52A3295F-039C-4169-AF5E-764BF8EEAF16}"/>
              </a:ext>
            </a:extLst>
          </p:cNvPr>
          <p:cNvGrpSpPr/>
          <p:nvPr/>
        </p:nvGrpSpPr>
        <p:grpSpPr>
          <a:xfrm>
            <a:off x="6257517" y="2903085"/>
            <a:ext cx="639914" cy="731330"/>
            <a:chOff x="4298614" y="3642110"/>
            <a:chExt cx="649272" cy="1005840"/>
          </a:xfrm>
        </p:grpSpPr>
        <p:sp>
          <p:nvSpPr>
            <p:cNvPr id="26" name="Freeform 6">
              <a:extLst>
                <a:ext uri="{FF2B5EF4-FFF2-40B4-BE49-F238E27FC236}">
                  <a16:creationId xmlns:a16="http://schemas.microsoft.com/office/drawing/2014/main" id="{283171DB-B9C3-4230-9FD4-586F3034B982}"/>
                </a:ext>
              </a:extLst>
            </p:cNvPr>
            <p:cNvSpPr>
              <a:spLocks/>
            </p:cNvSpPr>
            <p:nvPr/>
          </p:nvSpPr>
          <p:spPr bwMode="auto">
            <a:xfrm>
              <a:off x="4298614" y="3642110"/>
              <a:ext cx="649271" cy="1005840"/>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1"/>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27" name="Freeform 7">
              <a:extLst>
                <a:ext uri="{FF2B5EF4-FFF2-40B4-BE49-F238E27FC236}">
                  <a16:creationId xmlns:a16="http://schemas.microsoft.com/office/drawing/2014/main" id="{BBB64EB8-7D32-4270-B112-2E85330B782A}"/>
                </a:ext>
              </a:extLst>
            </p:cNvPr>
            <p:cNvSpPr>
              <a:spLocks/>
            </p:cNvSpPr>
            <p:nvPr/>
          </p:nvSpPr>
          <p:spPr bwMode="auto">
            <a:xfrm>
              <a:off x="4623250" y="3642110"/>
              <a:ext cx="324636" cy="941843"/>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1">
                <a:lumMod val="75000"/>
              </a:schemeClr>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28" name="Oval 27">
              <a:extLst>
                <a:ext uri="{FF2B5EF4-FFF2-40B4-BE49-F238E27FC236}">
                  <a16:creationId xmlns:a16="http://schemas.microsoft.com/office/drawing/2014/main" id="{C53E21D3-2713-4EFE-9E30-E37C1692965B}"/>
                </a:ext>
              </a:extLst>
            </p:cNvPr>
            <p:cNvSpPr>
              <a:spLocks noChangeArrowheads="1"/>
            </p:cNvSpPr>
            <p:nvPr/>
          </p:nvSpPr>
          <p:spPr bwMode="auto">
            <a:xfrm>
              <a:off x="4378771" y="3792124"/>
              <a:ext cx="488957" cy="482946"/>
            </a:xfrm>
            <a:prstGeom prst="ellipse">
              <a:avLst/>
            </a:prstGeom>
            <a:solidFill>
              <a:schemeClr val="bg1">
                <a:lumMod val="75000"/>
              </a:schemeClr>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29" name="TextBox 28">
              <a:extLst>
                <a:ext uri="{FF2B5EF4-FFF2-40B4-BE49-F238E27FC236}">
                  <a16:creationId xmlns:a16="http://schemas.microsoft.com/office/drawing/2014/main" id="{9C85FA10-979A-4594-A77C-FCC4F19F0266}"/>
                </a:ext>
              </a:extLst>
            </p:cNvPr>
            <p:cNvSpPr txBox="1"/>
            <p:nvPr/>
          </p:nvSpPr>
          <p:spPr>
            <a:xfrm>
              <a:off x="4484572" y="3870357"/>
              <a:ext cx="273569" cy="338642"/>
            </a:xfrm>
            <a:prstGeom prst="rect">
              <a:avLst/>
            </a:prstGeom>
            <a:noFill/>
          </p:spPr>
          <p:txBody>
            <a:bodyPr wrap="none">
              <a:spAutoFit/>
            </a:bodyPr>
            <a:lstStyle/>
            <a:p>
              <a:pPr algn="ctr" defTabSz="914103">
                <a:buClr>
                  <a:srgbClr val="000000"/>
                </a:buClr>
                <a:defRPr/>
              </a:pPr>
              <a:r>
                <a:rPr lang="en-US" sz="1000" b="1" kern="0" dirty="0">
                  <a:solidFill>
                    <a:srgbClr val="FFFFFF"/>
                  </a:solidFill>
                  <a:effectLst>
                    <a:outerShdw blurRad="38100" dist="38100" dir="2700000" algn="tl">
                      <a:srgbClr val="000000">
                        <a:alpha val="43137"/>
                      </a:srgbClr>
                    </a:outerShdw>
                  </a:effectLst>
                  <a:latin typeface="Arial Black" panose="020B0A04020102020204"/>
                  <a:cs typeface="Arial"/>
                  <a:sym typeface="Arial"/>
                </a:rPr>
                <a:t>3</a:t>
              </a:r>
              <a:endParaRPr lang="id-ID" sz="1000" b="1" kern="0" dirty="0">
                <a:solidFill>
                  <a:srgbClr val="FFFFFF"/>
                </a:solidFill>
                <a:effectLst>
                  <a:outerShdw blurRad="38100" dist="38100" dir="2700000" algn="tl">
                    <a:srgbClr val="000000">
                      <a:alpha val="43137"/>
                    </a:srgbClr>
                  </a:outerShdw>
                </a:effectLst>
                <a:latin typeface="Arial Black" panose="020B0A04020102020204"/>
                <a:cs typeface="Arial"/>
                <a:sym typeface="Arial"/>
              </a:endParaRPr>
            </a:p>
          </p:txBody>
        </p:sp>
      </p:grpSp>
      <p:sp>
        <p:nvSpPr>
          <p:cNvPr id="32" name="TextBox 31">
            <a:extLst>
              <a:ext uri="{FF2B5EF4-FFF2-40B4-BE49-F238E27FC236}">
                <a16:creationId xmlns:a16="http://schemas.microsoft.com/office/drawing/2014/main" id="{395B0FDF-8A6B-4A7D-98AE-311D4B7FF3CE}"/>
              </a:ext>
            </a:extLst>
          </p:cNvPr>
          <p:cNvSpPr txBox="1"/>
          <p:nvPr/>
        </p:nvSpPr>
        <p:spPr>
          <a:xfrm>
            <a:off x="5460562" y="1753297"/>
            <a:ext cx="1308371" cy="276999"/>
          </a:xfrm>
          <a:prstGeom prst="rect">
            <a:avLst/>
          </a:prstGeom>
          <a:noFill/>
        </p:spPr>
        <p:txBody>
          <a:bodyPr wrap="none" rtlCol="0">
            <a:spAutoFit/>
          </a:bodyPr>
          <a:lstStyle/>
          <a:p>
            <a:pPr defTabSz="914103">
              <a:buClr>
                <a:srgbClr val="000000"/>
              </a:buClr>
            </a:pPr>
            <a:r>
              <a:rPr lang="en-US" sz="1200" b="1" kern="0" dirty="0">
                <a:solidFill>
                  <a:schemeClr val="accent1"/>
                </a:solidFill>
                <a:latin typeface="Arial"/>
                <a:cs typeface="Arial"/>
                <a:sym typeface="Arial"/>
              </a:rPr>
              <a:t>December 2021</a:t>
            </a:r>
          </a:p>
        </p:txBody>
      </p:sp>
      <p:sp>
        <p:nvSpPr>
          <p:cNvPr id="33" name="TextBox 32">
            <a:extLst>
              <a:ext uri="{FF2B5EF4-FFF2-40B4-BE49-F238E27FC236}">
                <a16:creationId xmlns:a16="http://schemas.microsoft.com/office/drawing/2014/main" id="{C4B2E2DB-0497-4FA4-A767-EC51ABF9F332}"/>
              </a:ext>
            </a:extLst>
          </p:cNvPr>
          <p:cNvSpPr txBox="1"/>
          <p:nvPr/>
        </p:nvSpPr>
        <p:spPr>
          <a:xfrm>
            <a:off x="4985635" y="2956598"/>
            <a:ext cx="1029449" cy="276999"/>
          </a:xfrm>
          <a:prstGeom prst="rect">
            <a:avLst/>
          </a:prstGeom>
          <a:noFill/>
        </p:spPr>
        <p:txBody>
          <a:bodyPr wrap="none" rtlCol="0">
            <a:spAutoFit/>
          </a:bodyPr>
          <a:lstStyle/>
          <a:p>
            <a:pPr defTabSz="914103">
              <a:buClr>
                <a:srgbClr val="000000"/>
              </a:buClr>
            </a:pPr>
            <a:r>
              <a:rPr lang="en-US" sz="1200" b="1" kern="0" dirty="0">
                <a:solidFill>
                  <a:schemeClr val="accent1"/>
                </a:solidFill>
                <a:latin typeface="Arial"/>
                <a:cs typeface="Arial"/>
                <a:sym typeface="Arial"/>
              </a:rPr>
              <a:t>Q3-Q4 2020</a:t>
            </a:r>
          </a:p>
        </p:txBody>
      </p:sp>
      <p:sp>
        <p:nvSpPr>
          <p:cNvPr id="34" name="TextBox 33">
            <a:extLst>
              <a:ext uri="{FF2B5EF4-FFF2-40B4-BE49-F238E27FC236}">
                <a16:creationId xmlns:a16="http://schemas.microsoft.com/office/drawing/2014/main" id="{F445C61D-607F-420B-9F76-C317674DC479}"/>
              </a:ext>
            </a:extLst>
          </p:cNvPr>
          <p:cNvSpPr txBox="1"/>
          <p:nvPr/>
        </p:nvSpPr>
        <p:spPr>
          <a:xfrm>
            <a:off x="3871143" y="3653453"/>
            <a:ext cx="1225015" cy="276999"/>
          </a:xfrm>
          <a:prstGeom prst="rect">
            <a:avLst/>
          </a:prstGeom>
          <a:noFill/>
        </p:spPr>
        <p:txBody>
          <a:bodyPr wrap="none" rtlCol="0">
            <a:spAutoFit/>
          </a:bodyPr>
          <a:lstStyle/>
          <a:p>
            <a:pPr defTabSz="914103">
              <a:buClr>
                <a:srgbClr val="000000"/>
              </a:buClr>
            </a:pPr>
            <a:r>
              <a:rPr lang="en-US" sz="1200" b="1" kern="0" dirty="0">
                <a:solidFill>
                  <a:schemeClr val="accent1"/>
                </a:solidFill>
                <a:latin typeface="Arial"/>
                <a:cs typeface="Arial"/>
                <a:sym typeface="Arial"/>
              </a:rPr>
              <a:t>February 2020</a:t>
            </a:r>
          </a:p>
        </p:txBody>
      </p:sp>
      <p:sp>
        <p:nvSpPr>
          <p:cNvPr id="47" name="TextBox 46">
            <a:extLst>
              <a:ext uri="{FF2B5EF4-FFF2-40B4-BE49-F238E27FC236}">
                <a16:creationId xmlns:a16="http://schemas.microsoft.com/office/drawing/2014/main" id="{0842AEDA-432C-4EF5-B0C8-9F7FEC7ADC27}"/>
              </a:ext>
            </a:extLst>
          </p:cNvPr>
          <p:cNvSpPr txBox="1"/>
          <p:nvPr/>
        </p:nvSpPr>
        <p:spPr>
          <a:xfrm>
            <a:off x="508632" y="4227449"/>
            <a:ext cx="2249335" cy="276999"/>
          </a:xfrm>
          <a:prstGeom prst="rect">
            <a:avLst/>
          </a:prstGeom>
          <a:noFill/>
        </p:spPr>
        <p:txBody>
          <a:bodyPr wrap="none">
            <a:spAutoFit/>
          </a:bodyPr>
          <a:lstStyle/>
          <a:p>
            <a:pPr algn="r" defTabSz="914103">
              <a:buClr>
                <a:srgbClr val="000000"/>
              </a:buClr>
              <a:defRPr/>
            </a:pPr>
            <a:r>
              <a:rPr lang="en-US" sz="1200" b="1" kern="0" dirty="0">
                <a:solidFill>
                  <a:srgbClr val="000000"/>
                </a:solidFill>
                <a:latin typeface="Arial" panose="020B0604020202020204"/>
                <a:cs typeface="Arial"/>
                <a:sym typeface="Arial"/>
              </a:rPr>
              <a:t>Oncology abstract PLS pilot</a:t>
            </a:r>
          </a:p>
        </p:txBody>
      </p:sp>
      <p:sp>
        <p:nvSpPr>
          <p:cNvPr id="48" name="TextBox 47">
            <a:extLst>
              <a:ext uri="{FF2B5EF4-FFF2-40B4-BE49-F238E27FC236}">
                <a16:creationId xmlns:a16="http://schemas.microsoft.com/office/drawing/2014/main" id="{750F3897-89C9-4788-897D-40F4BA6CB9CF}"/>
              </a:ext>
            </a:extLst>
          </p:cNvPr>
          <p:cNvSpPr txBox="1"/>
          <p:nvPr/>
        </p:nvSpPr>
        <p:spPr>
          <a:xfrm>
            <a:off x="3327299" y="4108780"/>
            <a:ext cx="1002149" cy="276975"/>
          </a:xfrm>
          <a:prstGeom prst="rect">
            <a:avLst/>
          </a:prstGeom>
          <a:noFill/>
        </p:spPr>
        <p:txBody>
          <a:bodyPr wrap="none" lIns="91416" tIns="45708" rIns="91416" bIns="45708" rtlCol="0" anchor="t">
            <a:spAutoFit/>
          </a:bodyPr>
          <a:lstStyle/>
          <a:p>
            <a:pPr defTabSz="914103">
              <a:buClr>
                <a:srgbClr val="000000"/>
              </a:buClr>
            </a:pPr>
            <a:r>
              <a:rPr lang="en-US" sz="1200" b="1" kern="0" dirty="0">
                <a:solidFill>
                  <a:schemeClr val="accent1"/>
                </a:solidFill>
                <a:latin typeface="Arial"/>
                <a:cs typeface="Arial"/>
                <a:sym typeface="Arial"/>
              </a:rPr>
              <a:t>2018 - 2019</a:t>
            </a:r>
          </a:p>
        </p:txBody>
      </p:sp>
      <p:grpSp>
        <p:nvGrpSpPr>
          <p:cNvPr id="49" name="General_Fill_8">
            <a:extLst>
              <a:ext uri="{FF2B5EF4-FFF2-40B4-BE49-F238E27FC236}">
                <a16:creationId xmlns:a16="http://schemas.microsoft.com/office/drawing/2014/main" id="{C1FBB705-EBC3-4E62-8406-386E5DD34F74}"/>
              </a:ext>
            </a:extLst>
          </p:cNvPr>
          <p:cNvGrpSpPr>
            <a:grpSpLocks noChangeAspect="1"/>
          </p:cNvGrpSpPr>
          <p:nvPr/>
        </p:nvGrpSpPr>
        <p:grpSpPr>
          <a:xfrm>
            <a:off x="2730282" y="4139608"/>
            <a:ext cx="431070" cy="431070"/>
            <a:chOff x="7994616" y="1687513"/>
            <a:chExt cx="369676" cy="369676"/>
          </a:xfrm>
          <a:solidFill>
            <a:schemeClr val="accent2">
              <a:lumMod val="60000"/>
              <a:lumOff val="40000"/>
            </a:schemeClr>
          </a:solidFill>
        </p:grpSpPr>
        <p:sp>
          <p:nvSpPr>
            <p:cNvPr id="50" name="Freeform 438">
              <a:extLst>
                <a:ext uri="{FF2B5EF4-FFF2-40B4-BE49-F238E27FC236}">
                  <a16:creationId xmlns:a16="http://schemas.microsoft.com/office/drawing/2014/main" id="{86609003-02C0-43D1-BDAC-57D743B7D69F}"/>
                </a:ext>
              </a:extLst>
            </p:cNvPr>
            <p:cNvSpPr>
              <a:spLocks/>
            </p:cNvSpPr>
            <p:nvPr/>
          </p:nvSpPr>
          <p:spPr bwMode="auto">
            <a:xfrm>
              <a:off x="8187065" y="1834296"/>
              <a:ext cx="30444" cy="30444"/>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buClr>
                  <a:srgbClr val="000000"/>
                </a:buClr>
              </a:pPr>
              <a:endParaRPr lang="en-US" sz="1200" kern="0" dirty="0">
                <a:solidFill>
                  <a:srgbClr val="000000"/>
                </a:solidFill>
                <a:latin typeface="Arial"/>
                <a:cs typeface="Arial"/>
                <a:sym typeface="Arial"/>
              </a:endParaRPr>
            </a:p>
          </p:txBody>
        </p:sp>
        <p:sp>
          <p:nvSpPr>
            <p:cNvPr id="51" name="Freeform 439">
              <a:extLst>
                <a:ext uri="{FF2B5EF4-FFF2-40B4-BE49-F238E27FC236}">
                  <a16:creationId xmlns:a16="http://schemas.microsoft.com/office/drawing/2014/main" id="{CC9525EF-BEDC-4170-A24C-A4274F01EBC3}"/>
                </a:ext>
              </a:extLst>
            </p:cNvPr>
            <p:cNvSpPr>
              <a:spLocks/>
            </p:cNvSpPr>
            <p:nvPr/>
          </p:nvSpPr>
          <p:spPr bwMode="auto">
            <a:xfrm>
              <a:off x="8141399" y="1834296"/>
              <a:ext cx="30444" cy="30444"/>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buClr>
                  <a:srgbClr val="000000"/>
                </a:buClr>
              </a:pPr>
              <a:endParaRPr lang="en-US" sz="1200" kern="0" dirty="0">
                <a:solidFill>
                  <a:srgbClr val="000000"/>
                </a:solidFill>
                <a:latin typeface="Arial"/>
                <a:cs typeface="Arial"/>
                <a:sym typeface="Arial"/>
              </a:endParaRPr>
            </a:p>
          </p:txBody>
        </p:sp>
        <p:sp>
          <p:nvSpPr>
            <p:cNvPr id="52" name="Freeform 440">
              <a:extLst>
                <a:ext uri="{FF2B5EF4-FFF2-40B4-BE49-F238E27FC236}">
                  <a16:creationId xmlns:a16="http://schemas.microsoft.com/office/drawing/2014/main" id="{31D0FF0E-05C6-4EAE-8A6B-C52951EBE3D6}"/>
                </a:ext>
              </a:extLst>
            </p:cNvPr>
            <p:cNvSpPr>
              <a:spLocks/>
            </p:cNvSpPr>
            <p:nvPr/>
          </p:nvSpPr>
          <p:spPr bwMode="auto">
            <a:xfrm>
              <a:off x="8103344" y="1796241"/>
              <a:ext cx="68499" cy="68499"/>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buClr>
                  <a:srgbClr val="000000"/>
                </a:buClr>
              </a:pPr>
              <a:endParaRPr lang="en-US" sz="1200" kern="0" dirty="0">
                <a:solidFill>
                  <a:srgbClr val="000000"/>
                </a:solidFill>
                <a:latin typeface="Arial"/>
                <a:cs typeface="Arial"/>
                <a:sym typeface="Arial"/>
              </a:endParaRPr>
            </a:p>
          </p:txBody>
        </p:sp>
        <p:sp>
          <p:nvSpPr>
            <p:cNvPr id="53" name="Freeform 441">
              <a:extLst>
                <a:ext uri="{FF2B5EF4-FFF2-40B4-BE49-F238E27FC236}">
                  <a16:creationId xmlns:a16="http://schemas.microsoft.com/office/drawing/2014/main" id="{E1DCC05A-7F52-4D71-8389-E5592FC0B6FF}"/>
                </a:ext>
              </a:extLst>
            </p:cNvPr>
            <p:cNvSpPr>
              <a:spLocks/>
            </p:cNvSpPr>
            <p:nvPr/>
          </p:nvSpPr>
          <p:spPr bwMode="auto">
            <a:xfrm>
              <a:off x="8141399" y="1879962"/>
              <a:ext cx="30444" cy="30444"/>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buClr>
                  <a:srgbClr val="000000"/>
                </a:buClr>
              </a:pPr>
              <a:endParaRPr lang="en-US" sz="1200" kern="0" dirty="0">
                <a:solidFill>
                  <a:srgbClr val="000000"/>
                </a:solidFill>
                <a:latin typeface="Arial"/>
                <a:cs typeface="Arial"/>
                <a:sym typeface="Arial"/>
              </a:endParaRPr>
            </a:p>
          </p:txBody>
        </p:sp>
        <p:sp>
          <p:nvSpPr>
            <p:cNvPr id="54" name="Freeform 442">
              <a:extLst>
                <a:ext uri="{FF2B5EF4-FFF2-40B4-BE49-F238E27FC236}">
                  <a16:creationId xmlns:a16="http://schemas.microsoft.com/office/drawing/2014/main" id="{372CF58A-6BF9-4376-9B2A-16808830EB37}"/>
                </a:ext>
              </a:extLst>
            </p:cNvPr>
            <p:cNvSpPr>
              <a:spLocks/>
            </p:cNvSpPr>
            <p:nvPr/>
          </p:nvSpPr>
          <p:spPr bwMode="auto">
            <a:xfrm>
              <a:off x="8103344" y="1879962"/>
              <a:ext cx="68499" cy="68499"/>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buClr>
                  <a:srgbClr val="000000"/>
                </a:buClr>
              </a:pPr>
              <a:endParaRPr lang="en-US" sz="1200" kern="0" dirty="0">
                <a:solidFill>
                  <a:srgbClr val="000000"/>
                </a:solidFill>
                <a:latin typeface="Arial"/>
                <a:cs typeface="Arial"/>
                <a:sym typeface="Arial"/>
              </a:endParaRPr>
            </a:p>
          </p:txBody>
        </p:sp>
        <p:sp>
          <p:nvSpPr>
            <p:cNvPr id="55" name="Freeform 443">
              <a:extLst>
                <a:ext uri="{FF2B5EF4-FFF2-40B4-BE49-F238E27FC236}">
                  <a16:creationId xmlns:a16="http://schemas.microsoft.com/office/drawing/2014/main" id="{951021E6-65C2-4131-9445-2A4697F73AF0}"/>
                </a:ext>
              </a:extLst>
            </p:cNvPr>
            <p:cNvSpPr>
              <a:spLocks/>
            </p:cNvSpPr>
            <p:nvPr/>
          </p:nvSpPr>
          <p:spPr bwMode="auto">
            <a:xfrm>
              <a:off x="8187065" y="1879962"/>
              <a:ext cx="30444" cy="30444"/>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buClr>
                  <a:srgbClr val="000000"/>
                </a:buClr>
              </a:pPr>
              <a:endParaRPr lang="en-US" sz="1200" kern="0" dirty="0">
                <a:solidFill>
                  <a:srgbClr val="000000"/>
                </a:solidFill>
                <a:latin typeface="Arial"/>
                <a:cs typeface="Arial"/>
                <a:sym typeface="Arial"/>
              </a:endParaRPr>
            </a:p>
          </p:txBody>
        </p:sp>
        <p:sp>
          <p:nvSpPr>
            <p:cNvPr id="56" name="Freeform 444">
              <a:extLst>
                <a:ext uri="{FF2B5EF4-FFF2-40B4-BE49-F238E27FC236}">
                  <a16:creationId xmlns:a16="http://schemas.microsoft.com/office/drawing/2014/main" id="{F9702A23-B29A-4794-BEAB-5772803BBE55}"/>
                </a:ext>
              </a:extLst>
            </p:cNvPr>
            <p:cNvSpPr>
              <a:spLocks noEditPoints="1"/>
            </p:cNvSpPr>
            <p:nvPr/>
          </p:nvSpPr>
          <p:spPr bwMode="auto">
            <a:xfrm>
              <a:off x="7994616" y="168751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buClr>
                  <a:srgbClr val="000000"/>
                </a:buClr>
              </a:pPr>
              <a:endParaRPr lang="en-US" sz="1200" kern="0" dirty="0">
                <a:solidFill>
                  <a:srgbClr val="000000"/>
                </a:solidFill>
                <a:latin typeface="Arial"/>
                <a:cs typeface="Arial"/>
                <a:sym typeface="Arial"/>
              </a:endParaRPr>
            </a:p>
          </p:txBody>
        </p:sp>
        <p:sp>
          <p:nvSpPr>
            <p:cNvPr id="57" name="Freeform 445">
              <a:extLst>
                <a:ext uri="{FF2B5EF4-FFF2-40B4-BE49-F238E27FC236}">
                  <a16:creationId xmlns:a16="http://schemas.microsoft.com/office/drawing/2014/main" id="{17C3B633-54D5-4F19-AE78-3C3FCB0681EA}"/>
                </a:ext>
              </a:extLst>
            </p:cNvPr>
            <p:cNvSpPr>
              <a:spLocks/>
            </p:cNvSpPr>
            <p:nvPr/>
          </p:nvSpPr>
          <p:spPr bwMode="auto">
            <a:xfrm>
              <a:off x="8187065" y="1796241"/>
              <a:ext cx="68499" cy="68499"/>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buClr>
                  <a:srgbClr val="000000"/>
                </a:buClr>
              </a:pPr>
              <a:endParaRPr lang="en-US" sz="1200" kern="0" dirty="0">
                <a:solidFill>
                  <a:srgbClr val="000000"/>
                </a:solidFill>
                <a:latin typeface="Arial"/>
                <a:cs typeface="Arial"/>
                <a:sym typeface="Arial"/>
              </a:endParaRPr>
            </a:p>
          </p:txBody>
        </p:sp>
        <p:sp>
          <p:nvSpPr>
            <p:cNvPr id="58" name="Freeform 446">
              <a:extLst>
                <a:ext uri="{FF2B5EF4-FFF2-40B4-BE49-F238E27FC236}">
                  <a16:creationId xmlns:a16="http://schemas.microsoft.com/office/drawing/2014/main" id="{70F300AF-ADAB-43CA-831E-6F9705C28A11}"/>
                </a:ext>
              </a:extLst>
            </p:cNvPr>
            <p:cNvSpPr>
              <a:spLocks/>
            </p:cNvSpPr>
            <p:nvPr/>
          </p:nvSpPr>
          <p:spPr bwMode="auto">
            <a:xfrm>
              <a:off x="8187065" y="1879962"/>
              <a:ext cx="68499" cy="68499"/>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buClr>
                  <a:srgbClr val="000000"/>
                </a:buClr>
              </a:pPr>
              <a:endParaRPr lang="en-US" sz="1200" kern="0" dirty="0">
                <a:solidFill>
                  <a:srgbClr val="000000"/>
                </a:solidFill>
                <a:latin typeface="Arial"/>
                <a:cs typeface="Arial"/>
                <a:sym typeface="Arial"/>
              </a:endParaRPr>
            </a:p>
          </p:txBody>
        </p:sp>
      </p:grpSp>
      <p:sp>
        <p:nvSpPr>
          <p:cNvPr id="62" name="TextBox 61">
            <a:extLst>
              <a:ext uri="{FF2B5EF4-FFF2-40B4-BE49-F238E27FC236}">
                <a16:creationId xmlns:a16="http://schemas.microsoft.com/office/drawing/2014/main" id="{8FEA2170-6558-4AFE-AA45-5E5E40ECE2B6}"/>
              </a:ext>
            </a:extLst>
          </p:cNvPr>
          <p:cNvSpPr txBox="1"/>
          <p:nvPr/>
        </p:nvSpPr>
        <p:spPr>
          <a:xfrm>
            <a:off x="1169313" y="2371168"/>
            <a:ext cx="4179733" cy="461665"/>
          </a:xfrm>
          <a:prstGeom prst="rect">
            <a:avLst/>
          </a:prstGeom>
          <a:noFill/>
        </p:spPr>
        <p:txBody>
          <a:bodyPr wrap="square">
            <a:spAutoFit/>
          </a:bodyPr>
          <a:lstStyle/>
          <a:p>
            <a:pPr defTabSz="914103">
              <a:buClr>
                <a:srgbClr val="000000"/>
              </a:buClr>
              <a:defRPr/>
            </a:pPr>
            <a:r>
              <a:rPr lang="en-US" sz="1200" b="1" kern="0" dirty="0">
                <a:solidFill>
                  <a:srgbClr val="000000"/>
                </a:solidFill>
                <a:latin typeface="Arial" panose="020B0604020202020204"/>
                <a:cs typeface="Arial"/>
                <a:sym typeface="Arial"/>
              </a:rPr>
              <a:t>PLS incorporated into Publications SOP  &amp; Launch of Pfizer Figshare Portal</a:t>
            </a:r>
          </a:p>
        </p:txBody>
      </p:sp>
      <p:sp>
        <p:nvSpPr>
          <p:cNvPr id="64" name="TextBox 63">
            <a:extLst>
              <a:ext uri="{FF2B5EF4-FFF2-40B4-BE49-F238E27FC236}">
                <a16:creationId xmlns:a16="http://schemas.microsoft.com/office/drawing/2014/main" id="{DB31A9CC-C00C-4CFD-8A8F-FF46E47079C4}"/>
              </a:ext>
            </a:extLst>
          </p:cNvPr>
          <p:cNvSpPr txBox="1"/>
          <p:nvPr/>
        </p:nvSpPr>
        <p:spPr>
          <a:xfrm>
            <a:off x="5709503" y="2390714"/>
            <a:ext cx="875561" cy="276999"/>
          </a:xfrm>
          <a:prstGeom prst="rect">
            <a:avLst/>
          </a:prstGeom>
          <a:noFill/>
        </p:spPr>
        <p:txBody>
          <a:bodyPr wrap="none" rtlCol="0">
            <a:spAutoFit/>
          </a:bodyPr>
          <a:lstStyle/>
          <a:p>
            <a:pPr defTabSz="914103">
              <a:buClr>
                <a:srgbClr val="000000"/>
              </a:buClr>
            </a:pPr>
            <a:r>
              <a:rPr lang="en-US" sz="1200" b="1" kern="0" dirty="0">
                <a:solidFill>
                  <a:schemeClr val="accent1"/>
                </a:solidFill>
                <a:latin typeface="Arial"/>
                <a:cs typeface="Arial"/>
                <a:sym typeface="Arial"/>
              </a:rPr>
              <a:t>July 2021</a:t>
            </a:r>
          </a:p>
        </p:txBody>
      </p:sp>
      <p:sp>
        <p:nvSpPr>
          <p:cNvPr id="68" name="General_Fill_59">
            <a:extLst>
              <a:ext uri="{FF2B5EF4-FFF2-40B4-BE49-F238E27FC236}">
                <a16:creationId xmlns:a16="http://schemas.microsoft.com/office/drawing/2014/main" id="{5CFD0139-7DFD-46D2-B4DC-C48A6EDD0DDF}"/>
              </a:ext>
            </a:extLst>
          </p:cNvPr>
          <p:cNvSpPr>
            <a:spLocks noChangeAspect="1" noEditPoints="1"/>
          </p:cNvSpPr>
          <p:nvPr/>
        </p:nvSpPr>
        <p:spPr bwMode="auto">
          <a:xfrm>
            <a:off x="5037546" y="1706044"/>
            <a:ext cx="471638" cy="471638"/>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5">
              <a:lumMod val="40000"/>
              <a:lumOff val="60000"/>
            </a:schemeClr>
          </a:solidFill>
          <a:ln>
            <a:noFill/>
          </a:ln>
        </p:spPr>
        <p:txBody>
          <a:bodyPr vert="horz" wrap="square" lIns="121888" tIns="60944" rIns="121888" bIns="60944" numCol="1" anchor="t" anchorCtr="0" compatLnSpc="1">
            <a:prstTxWarp prst="textNoShape">
              <a:avLst/>
            </a:prstTxWarp>
          </a:bodyPr>
          <a:lstStyle/>
          <a:p>
            <a:pPr defTabSz="1218804">
              <a:buClr>
                <a:srgbClr val="000000"/>
              </a:buClr>
            </a:pPr>
            <a:endParaRPr lang="en-US" sz="1600" kern="0" dirty="0">
              <a:solidFill>
                <a:srgbClr val="000000"/>
              </a:solidFill>
              <a:latin typeface="Arial"/>
              <a:cs typeface="Arial"/>
              <a:sym typeface="Arial"/>
            </a:endParaRPr>
          </a:p>
        </p:txBody>
      </p:sp>
      <p:grpSp>
        <p:nvGrpSpPr>
          <p:cNvPr id="69" name="General_Fill_8">
            <a:extLst>
              <a:ext uri="{FF2B5EF4-FFF2-40B4-BE49-F238E27FC236}">
                <a16:creationId xmlns:a16="http://schemas.microsoft.com/office/drawing/2014/main" id="{922F88FE-01CD-4509-B41D-1E9AADCC1B0D}"/>
              </a:ext>
            </a:extLst>
          </p:cNvPr>
          <p:cNvGrpSpPr>
            <a:grpSpLocks noChangeAspect="1"/>
          </p:cNvGrpSpPr>
          <p:nvPr/>
        </p:nvGrpSpPr>
        <p:grpSpPr>
          <a:xfrm>
            <a:off x="4400003" y="2859863"/>
            <a:ext cx="516849" cy="516849"/>
            <a:chOff x="7994616" y="1687513"/>
            <a:chExt cx="369676" cy="369676"/>
          </a:xfrm>
          <a:solidFill>
            <a:schemeClr val="tx2">
              <a:lumMod val="40000"/>
              <a:lumOff val="60000"/>
            </a:schemeClr>
          </a:solidFill>
        </p:grpSpPr>
        <p:sp>
          <p:nvSpPr>
            <p:cNvPr id="70" name="Freeform 438">
              <a:extLst>
                <a:ext uri="{FF2B5EF4-FFF2-40B4-BE49-F238E27FC236}">
                  <a16:creationId xmlns:a16="http://schemas.microsoft.com/office/drawing/2014/main" id="{01ECB30D-8386-4641-AD12-30E74A1C9D54}"/>
                </a:ext>
              </a:extLst>
            </p:cNvPr>
            <p:cNvSpPr>
              <a:spLocks/>
            </p:cNvSpPr>
            <p:nvPr/>
          </p:nvSpPr>
          <p:spPr bwMode="auto">
            <a:xfrm>
              <a:off x="8187065" y="1834296"/>
              <a:ext cx="30444" cy="30444"/>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804">
                <a:buClr>
                  <a:srgbClr val="000000"/>
                </a:buClr>
              </a:pPr>
              <a:endParaRPr lang="en-US" sz="1600" kern="0" dirty="0">
                <a:solidFill>
                  <a:srgbClr val="000000"/>
                </a:solidFill>
                <a:latin typeface="Arial"/>
                <a:cs typeface="Arial"/>
                <a:sym typeface="Arial"/>
              </a:endParaRPr>
            </a:p>
          </p:txBody>
        </p:sp>
        <p:sp>
          <p:nvSpPr>
            <p:cNvPr id="71" name="Freeform 439">
              <a:extLst>
                <a:ext uri="{FF2B5EF4-FFF2-40B4-BE49-F238E27FC236}">
                  <a16:creationId xmlns:a16="http://schemas.microsoft.com/office/drawing/2014/main" id="{8FA0055F-2635-474D-BCBC-BEABFA011D3D}"/>
                </a:ext>
              </a:extLst>
            </p:cNvPr>
            <p:cNvSpPr>
              <a:spLocks/>
            </p:cNvSpPr>
            <p:nvPr/>
          </p:nvSpPr>
          <p:spPr bwMode="auto">
            <a:xfrm>
              <a:off x="8141399" y="1834296"/>
              <a:ext cx="30444" cy="30444"/>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804">
                <a:buClr>
                  <a:srgbClr val="000000"/>
                </a:buClr>
              </a:pPr>
              <a:endParaRPr lang="en-US" sz="1600" kern="0" dirty="0">
                <a:solidFill>
                  <a:srgbClr val="000000"/>
                </a:solidFill>
                <a:latin typeface="Arial"/>
                <a:cs typeface="Arial"/>
                <a:sym typeface="Arial"/>
              </a:endParaRPr>
            </a:p>
          </p:txBody>
        </p:sp>
        <p:sp>
          <p:nvSpPr>
            <p:cNvPr id="72" name="Freeform 440">
              <a:extLst>
                <a:ext uri="{FF2B5EF4-FFF2-40B4-BE49-F238E27FC236}">
                  <a16:creationId xmlns:a16="http://schemas.microsoft.com/office/drawing/2014/main" id="{83AF7769-9FD2-4567-B222-B7308E92D43F}"/>
                </a:ext>
              </a:extLst>
            </p:cNvPr>
            <p:cNvSpPr>
              <a:spLocks/>
            </p:cNvSpPr>
            <p:nvPr/>
          </p:nvSpPr>
          <p:spPr bwMode="auto">
            <a:xfrm>
              <a:off x="8103344" y="1796241"/>
              <a:ext cx="68499" cy="68499"/>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804">
                <a:buClr>
                  <a:srgbClr val="000000"/>
                </a:buClr>
              </a:pPr>
              <a:endParaRPr lang="en-US" sz="1600" kern="0" dirty="0">
                <a:solidFill>
                  <a:srgbClr val="000000"/>
                </a:solidFill>
                <a:latin typeface="Arial"/>
                <a:cs typeface="Arial"/>
                <a:sym typeface="Arial"/>
              </a:endParaRPr>
            </a:p>
          </p:txBody>
        </p:sp>
        <p:sp>
          <p:nvSpPr>
            <p:cNvPr id="73" name="Freeform 441">
              <a:extLst>
                <a:ext uri="{FF2B5EF4-FFF2-40B4-BE49-F238E27FC236}">
                  <a16:creationId xmlns:a16="http://schemas.microsoft.com/office/drawing/2014/main" id="{449A383B-CBAE-4CDF-8156-A06F42481D14}"/>
                </a:ext>
              </a:extLst>
            </p:cNvPr>
            <p:cNvSpPr>
              <a:spLocks/>
            </p:cNvSpPr>
            <p:nvPr/>
          </p:nvSpPr>
          <p:spPr bwMode="auto">
            <a:xfrm>
              <a:off x="8141399" y="1879962"/>
              <a:ext cx="30444" cy="30444"/>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804">
                <a:buClr>
                  <a:srgbClr val="000000"/>
                </a:buClr>
              </a:pPr>
              <a:endParaRPr lang="en-US" sz="1600" kern="0" dirty="0">
                <a:solidFill>
                  <a:srgbClr val="000000"/>
                </a:solidFill>
                <a:latin typeface="Arial"/>
                <a:cs typeface="Arial"/>
                <a:sym typeface="Arial"/>
              </a:endParaRPr>
            </a:p>
          </p:txBody>
        </p:sp>
        <p:sp>
          <p:nvSpPr>
            <p:cNvPr id="74" name="Freeform 442">
              <a:extLst>
                <a:ext uri="{FF2B5EF4-FFF2-40B4-BE49-F238E27FC236}">
                  <a16:creationId xmlns:a16="http://schemas.microsoft.com/office/drawing/2014/main" id="{721135CC-05A6-45AA-BCCE-56D1D2D31013}"/>
                </a:ext>
              </a:extLst>
            </p:cNvPr>
            <p:cNvSpPr>
              <a:spLocks/>
            </p:cNvSpPr>
            <p:nvPr/>
          </p:nvSpPr>
          <p:spPr bwMode="auto">
            <a:xfrm>
              <a:off x="8103344" y="1879962"/>
              <a:ext cx="68499" cy="68499"/>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804">
                <a:buClr>
                  <a:srgbClr val="000000"/>
                </a:buClr>
              </a:pPr>
              <a:endParaRPr lang="en-US" sz="1600" kern="0" dirty="0">
                <a:solidFill>
                  <a:srgbClr val="000000"/>
                </a:solidFill>
                <a:latin typeface="Arial"/>
                <a:cs typeface="Arial"/>
                <a:sym typeface="Arial"/>
              </a:endParaRPr>
            </a:p>
          </p:txBody>
        </p:sp>
        <p:sp>
          <p:nvSpPr>
            <p:cNvPr id="75" name="Freeform 443">
              <a:extLst>
                <a:ext uri="{FF2B5EF4-FFF2-40B4-BE49-F238E27FC236}">
                  <a16:creationId xmlns:a16="http://schemas.microsoft.com/office/drawing/2014/main" id="{FD0DBF68-6129-404D-AD94-DEC3A5F4FCC1}"/>
                </a:ext>
              </a:extLst>
            </p:cNvPr>
            <p:cNvSpPr>
              <a:spLocks/>
            </p:cNvSpPr>
            <p:nvPr/>
          </p:nvSpPr>
          <p:spPr bwMode="auto">
            <a:xfrm>
              <a:off x="8187065" y="1879962"/>
              <a:ext cx="30444" cy="30444"/>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804">
                <a:buClr>
                  <a:srgbClr val="000000"/>
                </a:buClr>
              </a:pPr>
              <a:endParaRPr lang="en-US" sz="1600" kern="0" dirty="0">
                <a:solidFill>
                  <a:srgbClr val="000000"/>
                </a:solidFill>
                <a:latin typeface="Arial"/>
                <a:cs typeface="Arial"/>
                <a:sym typeface="Arial"/>
              </a:endParaRPr>
            </a:p>
          </p:txBody>
        </p:sp>
        <p:sp>
          <p:nvSpPr>
            <p:cNvPr id="76" name="Freeform 444">
              <a:extLst>
                <a:ext uri="{FF2B5EF4-FFF2-40B4-BE49-F238E27FC236}">
                  <a16:creationId xmlns:a16="http://schemas.microsoft.com/office/drawing/2014/main" id="{2DE1DD65-8692-47FE-A1E9-84098064ABD1}"/>
                </a:ext>
              </a:extLst>
            </p:cNvPr>
            <p:cNvSpPr>
              <a:spLocks noEditPoints="1"/>
            </p:cNvSpPr>
            <p:nvPr/>
          </p:nvSpPr>
          <p:spPr bwMode="auto">
            <a:xfrm>
              <a:off x="7994616" y="1687513"/>
              <a:ext cx="369676" cy="36967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804">
                <a:buClr>
                  <a:srgbClr val="000000"/>
                </a:buClr>
              </a:pPr>
              <a:endParaRPr lang="en-US" sz="1600" kern="0" dirty="0">
                <a:solidFill>
                  <a:srgbClr val="000000"/>
                </a:solidFill>
                <a:latin typeface="Arial"/>
                <a:cs typeface="Arial"/>
                <a:sym typeface="Arial"/>
              </a:endParaRPr>
            </a:p>
          </p:txBody>
        </p:sp>
        <p:sp>
          <p:nvSpPr>
            <p:cNvPr id="77" name="Freeform 445">
              <a:extLst>
                <a:ext uri="{FF2B5EF4-FFF2-40B4-BE49-F238E27FC236}">
                  <a16:creationId xmlns:a16="http://schemas.microsoft.com/office/drawing/2014/main" id="{174CC859-DBF6-409B-89C3-607430C23B98}"/>
                </a:ext>
              </a:extLst>
            </p:cNvPr>
            <p:cNvSpPr>
              <a:spLocks/>
            </p:cNvSpPr>
            <p:nvPr/>
          </p:nvSpPr>
          <p:spPr bwMode="auto">
            <a:xfrm>
              <a:off x="8187065" y="1796241"/>
              <a:ext cx="68499" cy="68499"/>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804">
                <a:buClr>
                  <a:srgbClr val="000000"/>
                </a:buClr>
              </a:pPr>
              <a:endParaRPr lang="en-US" sz="1600" kern="0" dirty="0">
                <a:solidFill>
                  <a:srgbClr val="000000"/>
                </a:solidFill>
                <a:latin typeface="Arial"/>
                <a:cs typeface="Arial"/>
                <a:sym typeface="Arial"/>
              </a:endParaRPr>
            </a:p>
          </p:txBody>
        </p:sp>
        <p:sp>
          <p:nvSpPr>
            <p:cNvPr id="78" name="Freeform 446">
              <a:extLst>
                <a:ext uri="{FF2B5EF4-FFF2-40B4-BE49-F238E27FC236}">
                  <a16:creationId xmlns:a16="http://schemas.microsoft.com/office/drawing/2014/main" id="{625B6595-0248-438E-A198-12C7E7F580EE}"/>
                </a:ext>
              </a:extLst>
            </p:cNvPr>
            <p:cNvSpPr>
              <a:spLocks/>
            </p:cNvSpPr>
            <p:nvPr/>
          </p:nvSpPr>
          <p:spPr bwMode="auto">
            <a:xfrm>
              <a:off x="8187065" y="1879962"/>
              <a:ext cx="68499" cy="68499"/>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218804">
                <a:buClr>
                  <a:srgbClr val="000000"/>
                </a:buClr>
              </a:pPr>
              <a:endParaRPr lang="en-US" sz="1600" kern="0" dirty="0">
                <a:solidFill>
                  <a:srgbClr val="000000"/>
                </a:solidFill>
                <a:latin typeface="Arial"/>
                <a:cs typeface="Arial"/>
                <a:sym typeface="Arial"/>
              </a:endParaRPr>
            </a:p>
          </p:txBody>
        </p:sp>
      </p:grpSp>
      <p:sp>
        <p:nvSpPr>
          <p:cNvPr id="79" name="General_Fill_102">
            <a:extLst>
              <a:ext uri="{FF2B5EF4-FFF2-40B4-BE49-F238E27FC236}">
                <a16:creationId xmlns:a16="http://schemas.microsoft.com/office/drawing/2014/main" id="{54745EFC-B152-4880-B5A5-F0B8E92C90D6}"/>
              </a:ext>
            </a:extLst>
          </p:cNvPr>
          <p:cNvSpPr>
            <a:spLocks noChangeAspect="1" noEditPoints="1"/>
          </p:cNvSpPr>
          <p:nvPr/>
        </p:nvSpPr>
        <p:spPr bwMode="auto">
          <a:xfrm>
            <a:off x="5200090" y="2333484"/>
            <a:ext cx="468237" cy="468237"/>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chemeClr val="accent2">
              <a:lumMod val="40000"/>
              <a:lumOff val="60000"/>
            </a:schemeClr>
          </a:solidFill>
          <a:ln>
            <a:noFill/>
          </a:ln>
        </p:spPr>
        <p:txBody>
          <a:bodyPr vert="horz" wrap="square" lIns="121888" tIns="60944" rIns="121888" bIns="60944" numCol="1" anchor="t" anchorCtr="0" compatLnSpc="1">
            <a:prstTxWarp prst="textNoShape">
              <a:avLst/>
            </a:prstTxWarp>
          </a:bodyPr>
          <a:lstStyle/>
          <a:p>
            <a:pPr defTabSz="1218804">
              <a:buClr>
                <a:srgbClr val="000000"/>
              </a:buClr>
            </a:pPr>
            <a:endParaRPr lang="en-US" sz="1600" kern="0" dirty="0">
              <a:solidFill>
                <a:srgbClr val="000000"/>
              </a:solidFill>
              <a:latin typeface="Arial"/>
              <a:cs typeface="Arial"/>
              <a:sym typeface="Arial"/>
            </a:endParaRPr>
          </a:p>
        </p:txBody>
      </p:sp>
      <p:sp>
        <p:nvSpPr>
          <p:cNvPr id="90" name="General_Fill_102">
            <a:extLst>
              <a:ext uri="{FF2B5EF4-FFF2-40B4-BE49-F238E27FC236}">
                <a16:creationId xmlns:a16="http://schemas.microsoft.com/office/drawing/2014/main" id="{D61E8D48-CA5E-46DA-8B1D-75340870D5A2}"/>
              </a:ext>
            </a:extLst>
          </p:cNvPr>
          <p:cNvSpPr>
            <a:spLocks noChangeAspect="1" noEditPoints="1"/>
          </p:cNvSpPr>
          <p:nvPr/>
        </p:nvSpPr>
        <p:spPr bwMode="auto">
          <a:xfrm>
            <a:off x="3394731" y="3608378"/>
            <a:ext cx="438579" cy="438579"/>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chemeClr val="accent6">
              <a:lumMod val="40000"/>
              <a:lumOff val="60000"/>
            </a:schemeClr>
          </a:solidFill>
          <a:ln>
            <a:noFill/>
          </a:ln>
        </p:spPr>
        <p:txBody>
          <a:bodyPr vert="horz" wrap="square" lIns="121888" tIns="60944" rIns="121888" bIns="60944" numCol="1" anchor="t" anchorCtr="0" compatLnSpc="1">
            <a:prstTxWarp prst="textNoShape">
              <a:avLst/>
            </a:prstTxWarp>
          </a:bodyPr>
          <a:lstStyle/>
          <a:p>
            <a:pPr defTabSz="1218804">
              <a:buClr>
                <a:srgbClr val="000000"/>
              </a:buClr>
            </a:pPr>
            <a:endParaRPr lang="en-US" sz="1600" kern="0" dirty="0">
              <a:solidFill>
                <a:srgbClr val="000000"/>
              </a:solidFill>
              <a:latin typeface="Arial"/>
              <a:cs typeface="Arial"/>
              <a:sym typeface="Arial"/>
            </a:endParaRPr>
          </a:p>
        </p:txBody>
      </p:sp>
      <p:grpSp>
        <p:nvGrpSpPr>
          <p:cNvPr id="91" name="Group 90">
            <a:extLst>
              <a:ext uri="{FF2B5EF4-FFF2-40B4-BE49-F238E27FC236}">
                <a16:creationId xmlns:a16="http://schemas.microsoft.com/office/drawing/2014/main" id="{9F1CCC63-872B-411B-B145-9F1A41324E88}"/>
              </a:ext>
            </a:extLst>
          </p:cNvPr>
          <p:cNvGrpSpPr/>
          <p:nvPr/>
        </p:nvGrpSpPr>
        <p:grpSpPr>
          <a:xfrm>
            <a:off x="5434516" y="3542328"/>
            <a:ext cx="639914" cy="731330"/>
            <a:chOff x="4298614" y="3642110"/>
            <a:chExt cx="649272" cy="1005840"/>
          </a:xfrm>
        </p:grpSpPr>
        <p:sp>
          <p:nvSpPr>
            <p:cNvPr id="92" name="Freeform 6">
              <a:extLst>
                <a:ext uri="{FF2B5EF4-FFF2-40B4-BE49-F238E27FC236}">
                  <a16:creationId xmlns:a16="http://schemas.microsoft.com/office/drawing/2014/main" id="{4AC59F50-EC80-429A-989D-488078B512CF}"/>
                </a:ext>
              </a:extLst>
            </p:cNvPr>
            <p:cNvSpPr>
              <a:spLocks/>
            </p:cNvSpPr>
            <p:nvPr/>
          </p:nvSpPr>
          <p:spPr bwMode="auto">
            <a:xfrm>
              <a:off x="4298614" y="3642110"/>
              <a:ext cx="649271" cy="1005840"/>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1"/>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93" name="Freeform 7">
              <a:extLst>
                <a:ext uri="{FF2B5EF4-FFF2-40B4-BE49-F238E27FC236}">
                  <a16:creationId xmlns:a16="http://schemas.microsoft.com/office/drawing/2014/main" id="{08DBCBC7-92C0-4C00-865E-362167956629}"/>
                </a:ext>
              </a:extLst>
            </p:cNvPr>
            <p:cNvSpPr>
              <a:spLocks/>
            </p:cNvSpPr>
            <p:nvPr/>
          </p:nvSpPr>
          <p:spPr bwMode="auto">
            <a:xfrm>
              <a:off x="4623250" y="3642110"/>
              <a:ext cx="324636" cy="941843"/>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1">
                <a:lumMod val="75000"/>
              </a:schemeClr>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94" name="Oval 93">
              <a:extLst>
                <a:ext uri="{FF2B5EF4-FFF2-40B4-BE49-F238E27FC236}">
                  <a16:creationId xmlns:a16="http://schemas.microsoft.com/office/drawing/2014/main" id="{7AD5C3ED-5857-4DBF-ADDC-61BA30C3D5CC}"/>
                </a:ext>
              </a:extLst>
            </p:cNvPr>
            <p:cNvSpPr>
              <a:spLocks noChangeArrowheads="1"/>
            </p:cNvSpPr>
            <p:nvPr/>
          </p:nvSpPr>
          <p:spPr bwMode="auto">
            <a:xfrm>
              <a:off x="4378771" y="3792124"/>
              <a:ext cx="488957" cy="482946"/>
            </a:xfrm>
            <a:prstGeom prst="ellipse">
              <a:avLst/>
            </a:prstGeom>
            <a:solidFill>
              <a:schemeClr val="bg1">
                <a:lumMod val="75000"/>
              </a:schemeClr>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95" name="TextBox 94">
              <a:extLst>
                <a:ext uri="{FF2B5EF4-FFF2-40B4-BE49-F238E27FC236}">
                  <a16:creationId xmlns:a16="http://schemas.microsoft.com/office/drawing/2014/main" id="{2740A72E-FB72-412C-B16B-F1A2C522F055}"/>
                </a:ext>
              </a:extLst>
            </p:cNvPr>
            <p:cNvSpPr txBox="1"/>
            <p:nvPr/>
          </p:nvSpPr>
          <p:spPr>
            <a:xfrm>
              <a:off x="4484572" y="3870357"/>
              <a:ext cx="273569" cy="338642"/>
            </a:xfrm>
            <a:prstGeom prst="rect">
              <a:avLst/>
            </a:prstGeom>
            <a:noFill/>
          </p:spPr>
          <p:txBody>
            <a:bodyPr wrap="none">
              <a:spAutoFit/>
            </a:bodyPr>
            <a:lstStyle/>
            <a:p>
              <a:pPr algn="ctr" defTabSz="914103">
                <a:buClr>
                  <a:srgbClr val="000000"/>
                </a:buClr>
                <a:defRPr/>
              </a:pPr>
              <a:r>
                <a:rPr lang="en-US" sz="1000" b="1" kern="0" dirty="0">
                  <a:solidFill>
                    <a:srgbClr val="FFFFFF"/>
                  </a:solidFill>
                  <a:effectLst>
                    <a:outerShdw blurRad="38100" dist="38100" dir="2700000" algn="tl">
                      <a:srgbClr val="000000">
                        <a:alpha val="43137"/>
                      </a:srgbClr>
                    </a:outerShdw>
                  </a:effectLst>
                  <a:latin typeface="Arial Black" panose="020B0A04020102020204"/>
                  <a:cs typeface="Arial"/>
                  <a:sym typeface="Arial"/>
                </a:rPr>
                <a:t>2</a:t>
              </a:r>
              <a:endParaRPr lang="id-ID" sz="1000" b="1" kern="0" dirty="0">
                <a:solidFill>
                  <a:srgbClr val="FFFFFF"/>
                </a:solidFill>
                <a:effectLst>
                  <a:outerShdw blurRad="38100" dist="38100" dir="2700000" algn="tl">
                    <a:srgbClr val="000000">
                      <a:alpha val="43137"/>
                    </a:srgbClr>
                  </a:outerShdw>
                </a:effectLst>
                <a:latin typeface="Arial Black" panose="020B0A04020102020204"/>
                <a:cs typeface="Arial"/>
                <a:sym typeface="Arial"/>
              </a:endParaRPr>
            </a:p>
          </p:txBody>
        </p:sp>
      </p:grpSp>
      <p:grpSp>
        <p:nvGrpSpPr>
          <p:cNvPr id="96" name="Group 95">
            <a:extLst>
              <a:ext uri="{FF2B5EF4-FFF2-40B4-BE49-F238E27FC236}">
                <a16:creationId xmlns:a16="http://schemas.microsoft.com/office/drawing/2014/main" id="{A3316443-FA49-4681-89AA-6177A6D609B6}"/>
              </a:ext>
            </a:extLst>
          </p:cNvPr>
          <p:cNvGrpSpPr/>
          <p:nvPr/>
        </p:nvGrpSpPr>
        <p:grpSpPr>
          <a:xfrm>
            <a:off x="6724120" y="1503671"/>
            <a:ext cx="639914" cy="731330"/>
            <a:chOff x="4298614" y="3642110"/>
            <a:chExt cx="649272" cy="1005840"/>
          </a:xfrm>
        </p:grpSpPr>
        <p:sp>
          <p:nvSpPr>
            <p:cNvPr id="97" name="Freeform 6">
              <a:extLst>
                <a:ext uri="{FF2B5EF4-FFF2-40B4-BE49-F238E27FC236}">
                  <a16:creationId xmlns:a16="http://schemas.microsoft.com/office/drawing/2014/main" id="{2CE8C363-771F-4703-AB42-10389E3D974B}"/>
                </a:ext>
              </a:extLst>
            </p:cNvPr>
            <p:cNvSpPr>
              <a:spLocks/>
            </p:cNvSpPr>
            <p:nvPr/>
          </p:nvSpPr>
          <p:spPr bwMode="auto">
            <a:xfrm>
              <a:off x="4298614" y="3642110"/>
              <a:ext cx="649271" cy="1005840"/>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1"/>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98" name="Freeform 7">
              <a:extLst>
                <a:ext uri="{FF2B5EF4-FFF2-40B4-BE49-F238E27FC236}">
                  <a16:creationId xmlns:a16="http://schemas.microsoft.com/office/drawing/2014/main" id="{8C678B71-1910-468C-969D-648A535DC9FC}"/>
                </a:ext>
              </a:extLst>
            </p:cNvPr>
            <p:cNvSpPr>
              <a:spLocks/>
            </p:cNvSpPr>
            <p:nvPr/>
          </p:nvSpPr>
          <p:spPr bwMode="auto">
            <a:xfrm>
              <a:off x="4623250" y="3642110"/>
              <a:ext cx="324636" cy="941843"/>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1">
                <a:lumMod val="75000"/>
              </a:schemeClr>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99" name="Oval 98">
              <a:extLst>
                <a:ext uri="{FF2B5EF4-FFF2-40B4-BE49-F238E27FC236}">
                  <a16:creationId xmlns:a16="http://schemas.microsoft.com/office/drawing/2014/main" id="{344D4BA1-1913-4340-BF41-F452FA791BFA}"/>
                </a:ext>
              </a:extLst>
            </p:cNvPr>
            <p:cNvSpPr>
              <a:spLocks noChangeArrowheads="1"/>
            </p:cNvSpPr>
            <p:nvPr/>
          </p:nvSpPr>
          <p:spPr bwMode="auto">
            <a:xfrm>
              <a:off x="4378771" y="3792124"/>
              <a:ext cx="488957" cy="482946"/>
            </a:xfrm>
            <a:prstGeom prst="ellipse">
              <a:avLst/>
            </a:prstGeom>
            <a:solidFill>
              <a:schemeClr val="bg1">
                <a:lumMod val="75000"/>
              </a:schemeClr>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100" name="TextBox 99">
              <a:extLst>
                <a:ext uri="{FF2B5EF4-FFF2-40B4-BE49-F238E27FC236}">
                  <a16:creationId xmlns:a16="http://schemas.microsoft.com/office/drawing/2014/main" id="{251EDA15-A587-4CE8-86B8-67AACE86BBD1}"/>
                </a:ext>
              </a:extLst>
            </p:cNvPr>
            <p:cNvSpPr txBox="1"/>
            <p:nvPr/>
          </p:nvSpPr>
          <p:spPr>
            <a:xfrm>
              <a:off x="4484572" y="3870357"/>
              <a:ext cx="273569" cy="338642"/>
            </a:xfrm>
            <a:prstGeom prst="rect">
              <a:avLst/>
            </a:prstGeom>
            <a:noFill/>
          </p:spPr>
          <p:txBody>
            <a:bodyPr wrap="none">
              <a:spAutoFit/>
            </a:bodyPr>
            <a:lstStyle/>
            <a:p>
              <a:pPr algn="ctr" defTabSz="914103">
                <a:buClr>
                  <a:srgbClr val="000000"/>
                </a:buClr>
                <a:defRPr/>
              </a:pPr>
              <a:r>
                <a:rPr lang="en-US" sz="1000" b="1" kern="0" dirty="0">
                  <a:solidFill>
                    <a:srgbClr val="FFFFFF"/>
                  </a:solidFill>
                  <a:effectLst>
                    <a:outerShdw blurRad="38100" dist="38100" dir="2700000" algn="tl">
                      <a:srgbClr val="000000">
                        <a:alpha val="43137"/>
                      </a:srgbClr>
                    </a:outerShdw>
                  </a:effectLst>
                  <a:latin typeface="Arial Black" panose="020B0A04020102020204"/>
                  <a:cs typeface="Arial"/>
                  <a:sym typeface="Arial"/>
                </a:rPr>
                <a:t>5</a:t>
              </a:r>
              <a:endParaRPr lang="id-ID" sz="1000" b="1" kern="0" dirty="0">
                <a:solidFill>
                  <a:srgbClr val="FFFFFF"/>
                </a:solidFill>
                <a:effectLst>
                  <a:outerShdw blurRad="38100" dist="38100" dir="2700000" algn="tl">
                    <a:srgbClr val="000000">
                      <a:alpha val="43137"/>
                    </a:srgbClr>
                  </a:outerShdw>
                </a:effectLst>
                <a:latin typeface="Arial Black" panose="020B0A04020102020204"/>
                <a:cs typeface="Arial"/>
                <a:sym typeface="Arial"/>
              </a:endParaRPr>
            </a:p>
          </p:txBody>
        </p:sp>
      </p:grpSp>
      <p:grpSp>
        <p:nvGrpSpPr>
          <p:cNvPr id="101" name="Group 100">
            <a:extLst>
              <a:ext uri="{FF2B5EF4-FFF2-40B4-BE49-F238E27FC236}">
                <a16:creationId xmlns:a16="http://schemas.microsoft.com/office/drawing/2014/main" id="{06747CCC-6557-44FF-BFBA-E8214F58FDE2}"/>
              </a:ext>
            </a:extLst>
          </p:cNvPr>
          <p:cNvGrpSpPr/>
          <p:nvPr/>
        </p:nvGrpSpPr>
        <p:grpSpPr>
          <a:xfrm>
            <a:off x="6922569" y="2283040"/>
            <a:ext cx="639914" cy="731330"/>
            <a:chOff x="4298614" y="3642110"/>
            <a:chExt cx="649272" cy="1005840"/>
          </a:xfrm>
        </p:grpSpPr>
        <p:sp>
          <p:nvSpPr>
            <p:cNvPr id="102" name="Freeform 6">
              <a:extLst>
                <a:ext uri="{FF2B5EF4-FFF2-40B4-BE49-F238E27FC236}">
                  <a16:creationId xmlns:a16="http://schemas.microsoft.com/office/drawing/2014/main" id="{854E8175-306F-4192-83ED-AD0C76D7A747}"/>
                </a:ext>
              </a:extLst>
            </p:cNvPr>
            <p:cNvSpPr>
              <a:spLocks/>
            </p:cNvSpPr>
            <p:nvPr/>
          </p:nvSpPr>
          <p:spPr bwMode="auto">
            <a:xfrm>
              <a:off x="4298614" y="3642110"/>
              <a:ext cx="649271" cy="1005840"/>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1"/>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103" name="Freeform 7">
              <a:extLst>
                <a:ext uri="{FF2B5EF4-FFF2-40B4-BE49-F238E27FC236}">
                  <a16:creationId xmlns:a16="http://schemas.microsoft.com/office/drawing/2014/main" id="{10C89B7B-7706-4747-BD7F-B437BD6092E9}"/>
                </a:ext>
              </a:extLst>
            </p:cNvPr>
            <p:cNvSpPr>
              <a:spLocks/>
            </p:cNvSpPr>
            <p:nvPr/>
          </p:nvSpPr>
          <p:spPr bwMode="auto">
            <a:xfrm>
              <a:off x="4623250" y="3642110"/>
              <a:ext cx="324636" cy="941843"/>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1">
                <a:lumMod val="75000"/>
              </a:schemeClr>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104" name="Oval 103">
              <a:extLst>
                <a:ext uri="{FF2B5EF4-FFF2-40B4-BE49-F238E27FC236}">
                  <a16:creationId xmlns:a16="http://schemas.microsoft.com/office/drawing/2014/main" id="{6FFE183C-2AF6-4104-8025-E2AADB2AE99B}"/>
                </a:ext>
              </a:extLst>
            </p:cNvPr>
            <p:cNvSpPr>
              <a:spLocks noChangeArrowheads="1"/>
            </p:cNvSpPr>
            <p:nvPr/>
          </p:nvSpPr>
          <p:spPr bwMode="auto">
            <a:xfrm>
              <a:off x="4378771" y="3792124"/>
              <a:ext cx="488957" cy="482946"/>
            </a:xfrm>
            <a:prstGeom prst="ellipse">
              <a:avLst/>
            </a:prstGeom>
            <a:solidFill>
              <a:schemeClr val="bg1">
                <a:lumMod val="75000"/>
              </a:schemeClr>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105" name="TextBox 104">
              <a:extLst>
                <a:ext uri="{FF2B5EF4-FFF2-40B4-BE49-F238E27FC236}">
                  <a16:creationId xmlns:a16="http://schemas.microsoft.com/office/drawing/2014/main" id="{5A010854-E82F-40AE-95C9-2AB5A6DCF70B}"/>
                </a:ext>
              </a:extLst>
            </p:cNvPr>
            <p:cNvSpPr txBox="1"/>
            <p:nvPr/>
          </p:nvSpPr>
          <p:spPr>
            <a:xfrm>
              <a:off x="4484572" y="3870357"/>
              <a:ext cx="273569" cy="338642"/>
            </a:xfrm>
            <a:prstGeom prst="rect">
              <a:avLst/>
            </a:prstGeom>
            <a:noFill/>
          </p:spPr>
          <p:txBody>
            <a:bodyPr wrap="none">
              <a:spAutoFit/>
            </a:bodyPr>
            <a:lstStyle/>
            <a:p>
              <a:pPr algn="ctr" defTabSz="914103">
                <a:buClr>
                  <a:srgbClr val="000000"/>
                </a:buClr>
                <a:defRPr/>
              </a:pPr>
              <a:r>
                <a:rPr lang="en-US" sz="1000" b="1" kern="0" dirty="0">
                  <a:solidFill>
                    <a:srgbClr val="FFFFFF"/>
                  </a:solidFill>
                  <a:effectLst>
                    <a:outerShdw blurRad="38100" dist="38100" dir="2700000" algn="tl">
                      <a:srgbClr val="000000">
                        <a:alpha val="43137"/>
                      </a:srgbClr>
                    </a:outerShdw>
                  </a:effectLst>
                  <a:latin typeface="Arial Black" panose="020B0A04020102020204"/>
                  <a:cs typeface="Arial"/>
                  <a:sym typeface="Arial"/>
                </a:rPr>
                <a:t>4</a:t>
              </a:r>
              <a:endParaRPr lang="id-ID" sz="1000" b="1" kern="0" dirty="0">
                <a:solidFill>
                  <a:srgbClr val="FFFFFF"/>
                </a:solidFill>
                <a:effectLst>
                  <a:outerShdw blurRad="38100" dist="38100" dir="2700000" algn="tl">
                    <a:srgbClr val="000000">
                      <a:alpha val="43137"/>
                    </a:srgbClr>
                  </a:outerShdw>
                </a:effectLst>
                <a:latin typeface="Arial Black" panose="020B0A04020102020204"/>
                <a:cs typeface="Arial"/>
                <a:sym typeface="Arial"/>
              </a:endParaRPr>
            </a:p>
          </p:txBody>
        </p:sp>
      </p:grpSp>
      <p:grpSp>
        <p:nvGrpSpPr>
          <p:cNvPr id="106" name="Group 105">
            <a:extLst>
              <a:ext uri="{FF2B5EF4-FFF2-40B4-BE49-F238E27FC236}">
                <a16:creationId xmlns:a16="http://schemas.microsoft.com/office/drawing/2014/main" id="{882D8234-F7F1-4B8A-82B8-0F6EF9B8F7B9}"/>
              </a:ext>
            </a:extLst>
          </p:cNvPr>
          <p:cNvGrpSpPr/>
          <p:nvPr/>
        </p:nvGrpSpPr>
        <p:grpSpPr>
          <a:xfrm>
            <a:off x="4480117" y="4095935"/>
            <a:ext cx="639914" cy="731330"/>
            <a:chOff x="4298614" y="3642110"/>
            <a:chExt cx="649272" cy="1005840"/>
          </a:xfrm>
        </p:grpSpPr>
        <p:sp>
          <p:nvSpPr>
            <p:cNvPr id="107" name="Freeform 6">
              <a:extLst>
                <a:ext uri="{FF2B5EF4-FFF2-40B4-BE49-F238E27FC236}">
                  <a16:creationId xmlns:a16="http://schemas.microsoft.com/office/drawing/2014/main" id="{733F850D-6BF9-4028-BC30-7DEEFD07E73A}"/>
                </a:ext>
              </a:extLst>
            </p:cNvPr>
            <p:cNvSpPr>
              <a:spLocks/>
            </p:cNvSpPr>
            <p:nvPr/>
          </p:nvSpPr>
          <p:spPr bwMode="auto">
            <a:xfrm>
              <a:off x="4298614" y="3642110"/>
              <a:ext cx="649271" cy="1005840"/>
            </a:xfrm>
            <a:custGeom>
              <a:avLst/>
              <a:gdLst>
                <a:gd name="T0" fmla="*/ 298 w 298"/>
                <a:gd name="T1" fmla="*/ 149 h 435"/>
                <a:gd name="T2" fmla="*/ 149 w 298"/>
                <a:gd name="T3" fmla="*/ 435 h 435"/>
                <a:gd name="T4" fmla="*/ 0 w 298"/>
                <a:gd name="T5" fmla="*/ 149 h 435"/>
                <a:gd name="T6" fmla="*/ 149 w 298"/>
                <a:gd name="T7" fmla="*/ 0 h 435"/>
                <a:gd name="T8" fmla="*/ 298 w 298"/>
                <a:gd name="T9" fmla="*/ 149 h 435"/>
              </a:gdLst>
              <a:ahLst/>
              <a:cxnLst>
                <a:cxn ang="0">
                  <a:pos x="T0" y="T1"/>
                </a:cxn>
                <a:cxn ang="0">
                  <a:pos x="T2" y="T3"/>
                </a:cxn>
                <a:cxn ang="0">
                  <a:pos x="T4" y="T5"/>
                </a:cxn>
                <a:cxn ang="0">
                  <a:pos x="T6" y="T7"/>
                </a:cxn>
                <a:cxn ang="0">
                  <a:pos x="T8" y="T9"/>
                </a:cxn>
              </a:cxnLst>
              <a:rect l="0" t="0" r="r" b="b"/>
              <a:pathLst>
                <a:path w="298" h="435">
                  <a:moveTo>
                    <a:pt x="298" y="149"/>
                  </a:moveTo>
                  <a:cubicBezTo>
                    <a:pt x="298" y="268"/>
                    <a:pt x="149" y="435"/>
                    <a:pt x="149" y="435"/>
                  </a:cubicBezTo>
                  <a:cubicBezTo>
                    <a:pt x="149" y="435"/>
                    <a:pt x="0" y="265"/>
                    <a:pt x="0" y="149"/>
                  </a:cubicBezTo>
                  <a:cubicBezTo>
                    <a:pt x="0" y="67"/>
                    <a:pt x="67" y="0"/>
                    <a:pt x="149" y="0"/>
                  </a:cubicBezTo>
                  <a:cubicBezTo>
                    <a:pt x="231" y="0"/>
                    <a:pt x="298" y="67"/>
                    <a:pt x="298" y="149"/>
                  </a:cubicBezTo>
                </a:path>
              </a:pathLst>
            </a:custGeom>
            <a:solidFill>
              <a:schemeClr val="accent1"/>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108" name="Freeform 7">
              <a:extLst>
                <a:ext uri="{FF2B5EF4-FFF2-40B4-BE49-F238E27FC236}">
                  <a16:creationId xmlns:a16="http://schemas.microsoft.com/office/drawing/2014/main" id="{FA74FEEB-03E4-4847-909A-5DAE07BEA6D7}"/>
                </a:ext>
              </a:extLst>
            </p:cNvPr>
            <p:cNvSpPr>
              <a:spLocks/>
            </p:cNvSpPr>
            <p:nvPr/>
          </p:nvSpPr>
          <p:spPr bwMode="auto">
            <a:xfrm>
              <a:off x="4623250" y="3642110"/>
              <a:ext cx="324636" cy="941843"/>
            </a:xfrm>
            <a:custGeom>
              <a:avLst/>
              <a:gdLst>
                <a:gd name="T0" fmla="*/ 0 w 149"/>
                <a:gd name="T1" fmla="*/ 0 h 435"/>
                <a:gd name="T2" fmla="*/ 0 w 149"/>
                <a:gd name="T3" fmla="*/ 435 h 435"/>
                <a:gd name="T4" fmla="*/ 149 w 149"/>
                <a:gd name="T5" fmla="*/ 149 h 435"/>
                <a:gd name="T6" fmla="*/ 0 w 149"/>
                <a:gd name="T7" fmla="*/ 0 h 435"/>
              </a:gdLst>
              <a:ahLst/>
              <a:cxnLst>
                <a:cxn ang="0">
                  <a:pos x="T0" y="T1"/>
                </a:cxn>
                <a:cxn ang="0">
                  <a:pos x="T2" y="T3"/>
                </a:cxn>
                <a:cxn ang="0">
                  <a:pos x="T4" y="T5"/>
                </a:cxn>
                <a:cxn ang="0">
                  <a:pos x="T6" y="T7"/>
                </a:cxn>
              </a:cxnLst>
              <a:rect l="0" t="0" r="r" b="b"/>
              <a:pathLst>
                <a:path w="149" h="435">
                  <a:moveTo>
                    <a:pt x="0" y="0"/>
                  </a:moveTo>
                  <a:cubicBezTo>
                    <a:pt x="0" y="435"/>
                    <a:pt x="0" y="435"/>
                    <a:pt x="0" y="435"/>
                  </a:cubicBezTo>
                  <a:cubicBezTo>
                    <a:pt x="0" y="435"/>
                    <a:pt x="149" y="268"/>
                    <a:pt x="149" y="149"/>
                  </a:cubicBezTo>
                  <a:cubicBezTo>
                    <a:pt x="149" y="67"/>
                    <a:pt x="82" y="0"/>
                    <a:pt x="0" y="0"/>
                  </a:cubicBezTo>
                </a:path>
              </a:pathLst>
            </a:custGeom>
            <a:solidFill>
              <a:schemeClr val="accent1">
                <a:lumMod val="75000"/>
              </a:schemeClr>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109" name="Oval 108">
              <a:extLst>
                <a:ext uri="{FF2B5EF4-FFF2-40B4-BE49-F238E27FC236}">
                  <a16:creationId xmlns:a16="http://schemas.microsoft.com/office/drawing/2014/main" id="{89C66EA6-5093-49C4-AF7D-35C75DB07DE5}"/>
                </a:ext>
              </a:extLst>
            </p:cNvPr>
            <p:cNvSpPr>
              <a:spLocks noChangeArrowheads="1"/>
            </p:cNvSpPr>
            <p:nvPr/>
          </p:nvSpPr>
          <p:spPr bwMode="auto">
            <a:xfrm>
              <a:off x="4378771" y="3792124"/>
              <a:ext cx="488957" cy="482946"/>
            </a:xfrm>
            <a:prstGeom prst="ellipse">
              <a:avLst/>
            </a:prstGeom>
            <a:solidFill>
              <a:schemeClr val="bg1">
                <a:lumMod val="75000"/>
              </a:schemeClr>
            </a:solidFill>
            <a:ln>
              <a:noFill/>
            </a:ln>
          </p:spPr>
          <p:txBody>
            <a:bodyPr lIns="68562" tIns="34281" rIns="68562" bIns="34281"/>
            <a:lstStyle/>
            <a:p>
              <a:pPr defTabSz="914103">
                <a:buClr>
                  <a:srgbClr val="000000"/>
                </a:buClr>
                <a:defRPr/>
              </a:pPr>
              <a:endParaRPr lang="en-US" sz="1349" kern="0" dirty="0">
                <a:solidFill>
                  <a:srgbClr val="000000"/>
                </a:solidFill>
                <a:latin typeface="Arial"/>
                <a:cs typeface="Arial"/>
                <a:sym typeface="Arial"/>
              </a:endParaRPr>
            </a:p>
          </p:txBody>
        </p:sp>
        <p:sp>
          <p:nvSpPr>
            <p:cNvPr id="110" name="TextBox 109">
              <a:extLst>
                <a:ext uri="{FF2B5EF4-FFF2-40B4-BE49-F238E27FC236}">
                  <a16:creationId xmlns:a16="http://schemas.microsoft.com/office/drawing/2014/main" id="{10856B87-057F-484A-9FF7-041955138B52}"/>
                </a:ext>
              </a:extLst>
            </p:cNvPr>
            <p:cNvSpPr txBox="1"/>
            <p:nvPr/>
          </p:nvSpPr>
          <p:spPr>
            <a:xfrm>
              <a:off x="4484572" y="3870357"/>
              <a:ext cx="273569" cy="338642"/>
            </a:xfrm>
            <a:prstGeom prst="rect">
              <a:avLst/>
            </a:prstGeom>
            <a:noFill/>
          </p:spPr>
          <p:txBody>
            <a:bodyPr wrap="none">
              <a:spAutoFit/>
            </a:bodyPr>
            <a:lstStyle/>
            <a:p>
              <a:pPr algn="ctr" defTabSz="914103">
                <a:buClr>
                  <a:srgbClr val="000000"/>
                </a:buClr>
                <a:defRPr/>
              </a:pPr>
              <a:r>
                <a:rPr lang="en-US" sz="1000" b="1" kern="0" dirty="0">
                  <a:solidFill>
                    <a:srgbClr val="FFFFFF"/>
                  </a:solidFill>
                  <a:effectLst>
                    <a:outerShdw blurRad="38100" dist="38100" dir="2700000" algn="tl">
                      <a:srgbClr val="000000">
                        <a:alpha val="43137"/>
                      </a:srgbClr>
                    </a:outerShdw>
                  </a:effectLst>
                  <a:latin typeface="Arial Black" panose="020B0A04020102020204"/>
                  <a:cs typeface="Arial"/>
                  <a:sym typeface="Arial"/>
                </a:rPr>
                <a:t>1</a:t>
              </a:r>
              <a:endParaRPr lang="id-ID" sz="1000" b="1" kern="0" dirty="0">
                <a:solidFill>
                  <a:srgbClr val="FFFFFF"/>
                </a:solidFill>
                <a:effectLst>
                  <a:outerShdw blurRad="38100" dist="38100" dir="2700000" algn="tl">
                    <a:srgbClr val="000000">
                      <a:alpha val="43137"/>
                    </a:srgbClr>
                  </a:outerShdw>
                </a:effectLst>
                <a:latin typeface="Arial Black" panose="020B0A04020102020204"/>
                <a:cs typeface="Arial"/>
                <a:sym typeface="Arial"/>
              </a:endParaRPr>
            </a:p>
          </p:txBody>
        </p:sp>
      </p:grpSp>
      <p:sp>
        <p:nvSpPr>
          <p:cNvPr id="2" name="TextBox 1">
            <a:extLst>
              <a:ext uri="{FF2B5EF4-FFF2-40B4-BE49-F238E27FC236}">
                <a16:creationId xmlns:a16="http://schemas.microsoft.com/office/drawing/2014/main" id="{4BE5F1A5-9191-4755-8DD2-8ECCF5EA576E}"/>
              </a:ext>
            </a:extLst>
          </p:cNvPr>
          <p:cNvSpPr txBox="1"/>
          <p:nvPr/>
        </p:nvSpPr>
        <p:spPr>
          <a:xfrm>
            <a:off x="100330" y="4759194"/>
            <a:ext cx="1824474" cy="276999"/>
          </a:xfrm>
          <a:prstGeom prst="rect">
            <a:avLst/>
          </a:prstGeom>
          <a:noFill/>
        </p:spPr>
        <p:txBody>
          <a:bodyPr wrap="none" rtlCol="0">
            <a:spAutoFit/>
          </a:bodyPr>
          <a:lstStyle/>
          <a:p>
            <a:r>
              <a:rPr lang="en-US" sz="1200" dirty="0">
                <a:solidFill>
                  <a:schemeClr val="accent1"/>
                </a:solidFill>
              </a:rPr>
              <a:t>HLT=Health Literacy Tool.</a:t>
            </a:r>
          </a:p>
        </p:txBody>
      </p:sp>
    </p:spTree>
    <p:extLst>
      <p:ext uri="{BB962C8B-B14F-4D97-AF65-F5344CB8AC3E}">
        <p14:creationId xmlns:p14="http://schemas.microsoft.com/office/powerpoint/2010/main" val="273241473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A2942FD-B691-47E3-A707-B75EED7101C0}"/>
              </a:ext>
            </a:extLst>
          </p:cNvPr>
          <p:cNvSpPr>
            <a:spLocks noGrp="1"/>
          </p:cNvSpPr>
          <p:nvPr>
            <p:ph type="body" sz="quarter" idx="11"/>
          </p:nvPr>
        </p:nvSpPr>
        <p:spPr>
          <a:xfrm>
            <a:off x="161819" y="1188180"/>
            <a:ext cx="3883632" cy="3639201"/>
          </a:xfrm>
        </p:spPr>
        <p:txBody>
          <a:bodyPr>
            <a:normAutofit/>
          </a:bodyPr>
          <a:lstStyle/>
          <a:p>
            <a:pPr>
              <a:lnSpc>
                <a:spcPct val="110000"/>
              </a:lnSpc>
            </a:pPr>
            <a:r>
              <a:rPr lang="en-US" sz="1400" dirty="0"/>
              <a:t>Publications Management Team (PMT) partnered with Oncology Medical Affairs            to implement a congress abstract PLS pilot</a:t>
            </a:r>
          </a:p>
          <a:p>
            <a:pPr>
              <a:lnSpc>
                <a:spcPct val="110000"/>
              </a:lnSpc>
            </a:pPr>
            <a:r>
              <a:rPr lang="en-US" sz="1400" dirty="0"/>
              <a:t>Pilot ran for 18 months, during which 185 abstract PLS were developed</a:t>
            </a:r>
          </a:p>
          <a:p>
            <a:pPr>
              <a:lnSpc>
                <a:spcPct val="110000"/>
              </a:lnSpc>
            </a:pPr>
            <a:r>
              <a:rPr lang="en-US" sz="1400" dirty="0"/>
              <a:t>Feedback gathered from patients, congress organizers, HCPs/authors, internal stakeholders and used to develop a                company-wide Publication PLS Guidance</a:t>
            </a:r>
          </a:p>
          <a:p>
            <a:r>
              <a:rPr lang="en-US" sz="1400" dirty="0"/>
              <a:t>Guidance also incorporated aspects of Pfizer’s Medical Writing Group Standard Operating Procedure (SOP) requirements for development of Plain Language Study Results Summaries (PLSRS)</a:t>
            </a:r>
          </a:p>
          <a:p>
            <a:endParaRPr lang="en-US" sz="1400" dirty="0"/>
          </a:p>
        </p:txBody>
      </p:sp>
      <p:sp>
        <p:nvSpPr>
          <p:cNvPr id="14" name="TextBox 13">
            <a:extLst>
              <a:ext uri="{FF2B5EF4-FFF2-40B4-BE49-F238E27FC236}">
                <a16:creationId xmlns:a16="http://schemas.microsoft.com/office/drawing/2014/main" id="{E3492532-3BA1-4A8B-99DD-D2BFC842C0EE}"/>
              </a:ext>
            </a:extLst>
          </p:cNvPr>
          <p:cNvSpPr txBox="1"/>
          <p:nvPr/>
        </p:nvSpPr>
        <p:spPr>
          <a:xfrm>
            <a:off x="5380688" y="4784756"/>
            <a:ext cx="5360676" cy="24622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472C4"/>
                </a:solidFill>
                <a:effectLst/>
                <a:uLnTx/>
                <a:uFillTx/>
                <a:latin typeface="Franklin Gothic Book" panose="020B0503020102020204"/>
                <a:ea typeface="+mn-ea"/>
                <a:cs typeface="+mn-cs"/>
              </a:rPr>
              <a:t>WMS=Worldwide Medical and Safety. </a:t>
            </a:r>
          </a:p>
        </p:txBody>
      </p:sp>
      <p:grpSp>
        <p:nvGrpSpPr>
          <p:cNvPr id="19" name="Group 18">
            <a:extLst>
              <a:ext uri="{FF2B5EF4-FFF2-40B4-BE49-F238E27FC236}">
                <a16:creationId xmlns:a16="http://schemas.microsoft.com/office/drawing/2014/main" id="{53EBE2EA-5B6D-4445-917F-E195E2F7FCDC}"/>
              </a:ext>
            </a:extLst>
          </p:cNvPr>
          <p:cNvGrpSpPr/>
          <p:nvPr/>
        </p:nvGrpSpPr>
        <p:grpSpPr>
          <a:xfrm>
            <a:off x="3921648" y="1205049"/>
            <a:ext cx="5060533" cy="3044890"/>
            <a:chOff x="5137735" y="1659171"/>
            <a:chExt cx="6747377" cy="4059853"/>
          </a:xfrm>
        </p:grpSpPr>
        <p:pic>
          <p:nvPicPr>
            <p:cNvPr id="16" name="Picture 15">
              <a:extLst>
                <a:ext uri="{FF2B5EF4-FFF2-40B4-BE49-F238E27FC236}">
                  <a16:creationId xmlns:a16="http://schemas.microsoft.com/office/drawing/2014/main" id="{FC39B25B-1F45-4CE4-BAB5-0BE3AEC53D63}"/>
                </a:ext>
              </a:extLst>
            </p:cNvPr>
            <p:cNvPicPr>
              <a:picLocks noChangeAspect="1"/>
            </p:cNvPicPr>
            <p:nvPr/>
          </p:nvPicPr>
          <p:blipFill rotWithShape="1">
            <a:blip r:embed="rId2"/>
            <a:srcRect l="14462" r="14060" b="14288"/>
            <a:stretch/>
          </p:blipFill>
          <p:spPr>
            <a:xfrm>
              <a:off x="5137735" y="1659171"/>
              <a:ext cx="6747377" cy="4059853"/>
            </a:xfrm>
            <a:prstGeom prst="rect">
              <a:avLst/>
            </a:prstGeom>
          </p:spPr>
        </p:pic>
        <p:sp>
          <p:nvSpPr>
            <p:cNvPr id="18" name="Rectangle 17">
              <a:extLst>
                <a:ext uri="{FF2B5EF4-FFF2-40B4-BE49-F238E27FC236}">
                  <a16:creationId xmlns:a16="http://schemas.microsoft.com/office/drawing/2014/main" id="{F7AB645F-17E1-4E86-8702-3A9DDEDE25AD}"/>
                </a:ext>
              </a:extLst>
            </p:cNvPr>
            <p:cNvSpPr/>
            <p:nvPr/>
          </p:nvSpPr>
          <p:spPr>
            <a:xfrm>
              <a:off x="10202779" y="1876926"/>
              <a:ext cx="113132" cy="96253"/>
            </a:xfrm>
            <a:prstGeom prst="rect">
              <a:avLst/>
            </a:prstGeom>
            <a:solidFill>
              <a:srgbClr val="8BC8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Franklin Gothic Book" panose="020B0503020102020204"/>
                <a:ea typeface="+mn-ea"/>
                <a:cs typeface="+mn-cs"/>
              </a:endParaRPr>
            </a:p>
          </p:txBody>
        </p:sp>
      </p:grpSp>
      <p:sp>
        <p:nvSpPr>
          <p:cNvPr id="10" name="Title 1">
            <a:extLst>
              <a:ext uri="{FF2B5EF4-FFF2-40B4-BE49-F238E27FC236}">
                <a16:creationId xmlns:a16="http://schemas.microsoft.com/office/drawing/2014/main" id="{6AE712CE-CDC5-4A72-85C8-CD3AA721B01D}"/>
              </a:ext>
            </a:extLst>
          </p:cNvPr>
          <p:cNvSpPr txBox="1">
            <a:spLocks/>
          </p:cNvSpPr>
          <p:nvPr/>
        </p:nvSpPr>
        <p:spPr>
          <a:xfrm>
            <a:off x="485294" y="410555"/>
            <a:ext cx="7462661" cy="590931"/>
          </a:xfrm>
          <a:prstGeom prst="rect">
            <a:avLst/>
          </a:prstGeom>
        </p:spPr>
        <p:txBody>
          <a:bodyPr vert="horz" lIns="91440" tIns="45720" rIns="91440" bIns="45720" rtlCol="0" anchor="b">
            <a:spAutoFit/>
          </a:bodyPr>
          <a:lstStyle>
            <a:lvl1pPr algn="l" defTabSz="685800" rtl="0" eaLnBrk="1" latinLnBrk="0" hangingPunct="1">
              <a:lnSpc>
                <a:spcPct val="90000"/>
              </a:lnSpc>
              <a:spcBef>
                <a:spcPct val="0"/>
              </a:spcBef>
              <a:buNone/>
              <a:defRPr sz="3000" b="1" kern="1200">
                <a:solidFill>
                  <a:schemeClr val="accent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F28C11"/>
                </a:solidFill>
                <a:effectLst/>
                <a:uLnTx/>
                <a:uFillTx/>
                <a:latin typeface="Franklin Gothic Medium" panose="020B0603020102020204"/>
                <a:ea typeface="+mj-ea"/>
                <a:cs typeface="+mj-cs"/>
              </a:rPr>
              <a:t>Congress Abstract PLS Pilot</a:t>
            </a:r>
          </a:p>
        </p:txBody>
      </p:sp>
      <p:sp>
        <p:nvSpPr>
          <p:cNvPr id="12" name="Slide Number Placeholder 2">
            <a:extLst>
              <a:ext uri="{FF2B5EF4-FFF2-40B4-BE49-F238E27FC236}">
                <a16:creationId xmlns:a16="http://schemas.microsoft.com/office/drawing/2014/main" id="{DF74E2D7-60A6-4FE0-AE40-307F75E26F2D}"/>
              </a:ext>
            </a:extLst>
          </p:cNvPr>
          <p:cNvSpPr txBox="1">
            <a:spLocks/>
          </p:cNvSpPr>
          <p:nvPr/>
        </p:nvSpPr>
        <p:spPr>
          <a:xfrm>
            <a:off x="6985487" y="59945"/>
            <a:ext cx="2057400" cy="273844"/>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defRPr/>
            </a:pPr>
            <a:fld id="{42AD0A0E-4515-A647-B2E3-7F1B29FB990E}" type="slidenum">
              <a:rPr lang="en-US" sz="900" smtClean="0">
                <a:solidFill>
                  <a:prstClr val="black"/>
                </a:solidFill>
                <a:latin typeface="Franklin Gothic Book" panose="020B0503020102020204"/>
              </a:rPr>
              <a:pPr algn="r">
                <a:defRPr/>
              </a:pPr>
              <a:t>46</a:t>
            </a:fld>
            <a:endParaRPr lang="en-US" sz="900" dirty="0">
              <a:solidFill>
                <a:prstClr val="black"/>
              </a:solidFill>
              <a:latin typeface="Franklin Gothic Book" panose="020B0503020102020204"/>
            </a:endParaRPr>
          </a:p>
        </p:txBody>
      </p:sp>
    </p:spTree>
    <p:extLst>
      <p:ext uri="{BB962C8B-B14F-4D97-AF65-F5344CB8AC3E}">
        <p14:creationId xmlns:p14="http://schemas.microsoft.com/office/powerpoint/2010/main" val="37135576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AC6AAF-D5A6-44BA-830F-1A6AAA687E31}"/>
              </a:ext>
            </a:extLst>
          </p:cNvPr>
          <p:cNvPicPr>
            <a:picLocks noChangeAspect="1"/>
          </p:cNvPicPr>
          <p:nvPr/>
        </p:nvPicPr>
        <p:blipFill>
          <a:blip r:embed="rId3"/>
          <a:stretch>
            <a:fillRect/>
          </a:stretch>
        </p:blipFill>
        <p:spPr>
          <a:xfrm>
            <a:off x="5583462" y="1426688"/>
            <a:ext cx="2757488" cy="3043238"/>
          </a:xfrm>
          <a:prstGeom prst="rect">
            <a:avLst/>
          </a:prstGeom>
        </p:spPr>
      </p:pic>
      <p:sp>
        <p:nvSpPr>
          <p:cNvPr id="9" name="Text Placeholder 8">
            <a:extLst>
              <a:ext uri="{FF2B5EF4-FFF2-40B4-BE49-F238E27FC236}">
                <a16:creationId xmlns:a16="http://schemas.microsoft.com/office/drawing/2014/main" id="{645E9D79-6E45-4929-B234-741B26BF8450}"/>
              </a:ext>
            </a:extLst>
          </p:cNvPr>
          <p:cNvSpPr>
            <a:spLocks noGrp="1"/>
          </p:cNvSpPr>
          <p:nvPr>
            <p:ph type="body" sz="quarter" idx="11"/>
          </p:nvPr>
        </p:nvSpPr>
        <p:spPr>
          <a:xfrm>
            <a:off x="244040" y="1127940"/>
            <a:ext cx="5465257" cy="3815900"/>
          </a:xfrm>
        </p:spPr>
        <p:txBody>
          <a:bodyPr>
            <a:normAutofit fontScale="92500" lnSpcReduction="10000"/>
          </a:bodyPr>
          <a:lstStyle/>
          <a:p>
            <a:pPr>
              <a:lnSpc>
                <a:spcPct val="110000"/>
              </a:lnSpc>
            </a:pPr>
            <a:r>
              <a:rPr lang="en-US" sz="1600" dirty="0"/>
              <a:t>Development of Publication PLS Guidance began in                     October 2019 </a:t>
            </a:r>
          </a:p>
          <a:p>
            <a:pPr>
              <a:lnSpc>
                <a:spcPct val="110000"/>
              </a:lnSpc>
            </a:pPr>
            <a:r>
              <a:rPr lang="en-US" sz="1600" dirty="0"/>
              <a:t>Guidance was implemented across the organization in     February 2020</a:t>
            </a:r>
          </a:p>
          <a:p>
            <a:pPr lvl="1">
              <a:lnSpc>
                <a:spcPct val="110000"/>
              </a:lnSpc>
              <a:buFont typeface="Wingdings" panose="05000000000000000000" pitchFamily="2" charset="2"/>
              <a:buChar char="Ø"/>
            </a:pPr>
            <a:r>
              <a:rPr lang="en-US" dirty="0">
                <a:solidFill>
                  <a:schemeClr val="accent1"/>
                </a:solidFill>
              </a:rPr>
              <a:t>Includes standards for development of </a:t>
            </a:r>
            <a:r>
              <a:rPr lang="en-US" b="1" dirty="0">
                <a:solidFill>
                  <a:schemeClr val="accent1"/>
                </a:solidFill>
              </a:rPr>
              <a:t>abstract</a:t>
            </a:r>
            <a:r>
              <a:rPr lang="en-US" dirty="0">
                <a:solidFill>
                  <a:schemeClr val="accent1"/>
                </a:solidFill>
              </a:rPr>
              <a:t> and </a:t>
            </a:r>
            <a:r>
              <a:rPr lang="en-US" b="1" dirty="0">
                <a:solidFill>
                  <a:schemeClr val="accent1"/>
                </a:solidFill>
              </a:rPr>
              <a:t>manuscript</a:t>
            </a:r>
            <a:r>
              <a:rPr lang="en-US" dirty="0">
                <a:solidFill>
                  <a:schemeClr val="accent1"/>
                </a:solidFill>
              </a:rPr>
              <a:t> PLS</a:t>
            </a:r>
          </a:p>
          <a:p>
            <a:r>
              <a:rPr lang="en-US" sz="1600" dirty="0"/>
              <a:t>The PMT:</a:t>
            </a:r>
          </a:p>
          <a:p>
            <a:pPr lvl="1">
              <a:buFont typeface="Wingdings" panose="05000000000000000000" pitchFamily="2" charset="2"/>
              <a:buChar char="Ø"/>
            </a:pPr>
            <a:r>
              <a:rPr lang="en-US" dirty="0">
                <a:solidFill>
                  <a:schemeClr val="accent1"/>
                </a:solidFill>
              </a:rPr>
              <a:t>Established 7 standard levels of service definitions for various kinds of PLS &amp; set fixed rates with vendors</a:t>
            </a:r>
          </a:p>
          <a:p>
            <a:pPr lvl="1">
              <a:spcBef>
                <a:spcPts val="200"/>
              </a:spcBef>
              <a:spcAft>
                <a:spcPts val="200"/>
              </a:spcAft>
              <a:buFont typeface="Wingdings" panose="05000000000000000000" pitchFamily="2" charset="2"/>
              <a:buChar char="Ø"/>
            </a:pPr>
            <a:r>
              <a:rPr lang="en-US" dirty="0">
                <a:solidFill>
                  <a:schemeClr val="accent1"/>
                </a:solidFill>
              </a:rPr>
              <a:t>Built abstract and manuscript PLS workflows in  publications management software system </a:t>
            </a:r>
          </a:p>
          <a:p>
            <a:pPr lvl="1">
              <a:buFont typeface="Wingdings" panose="05000000000000000000" pitchFamily="2" charset="2"/>
              <a:buChar char="Ø"/>
            </a:pPr>
            <a:r>
              <a:rPr lang="en-US" dirty="0">
                <a:solidFill>
                  <a:schemeClr val="accent1"/>
                </a:solidFill>
              </a:rPr>
              <a:t>Trained Scientific Publication Committees and                     agency partners</a:t>
            </a:r>
          </a:p>
          <a:p>
            <a:pPr lvl="1">
              <a:buFont typeface="Wingdings" panose="05000000000000000000" pitchFamily="2" charset="2"/>
              <a:buChar char="Ø"/>
            </a:pPr>
            <a:r>
              <a:rPr lang="en-US" dirty="0">
                <a:solidFill>
                  <a:schemeClr val="accent1"/>
                </a:solidFill>
              </a:rPr>
              <a:t>Developed Publication PLS SharePoint page that includes Guidance, training slides, Business Rules etc.</a:t>
            </a:r>
          </a:p>
          <a:p>
            <a:pPr>
              <a:lnSpc>
                <a:spcPct val="110000"/>
              </a:lnSpc>
            </a:pPr>
            <a:endParaRPr lang="en-US" sz="1600" dirty="0"/>
          </a:p>
          <a:p>
            <a:pPr>
              <a:lnSpc>
                <a:spcPct val="110000"/>
              </a:lnSpc>
            </a:pPr>
            <a:endParaRPr lang="en-US" sz="1600" dirty="0"/>
          </a:p>
        </p:txBody>
      </p:sp>
      <p:sp>
        <p:nvSpPr>
          <p:cNvPr id="5" name="Title 1">
            <a:extLst>
              <a:ext uri="{FF2B5EF4-FFF2-40B4-BE49-F238E27FC236}">
                <a16:creationId xmlns:a16="http://schemas.microsoft.com/office/drawing/2014/main" id="{39F0F228-4C48-415A-8601-3A8B32B9B73F}"/>
              </a:ext>
            </a:extLst>
          </p:cNvPr>
          <p:cNvSpPr txBox="1">
            <a:spLocks/>
          </p:cNvSpPr>
          <p:nvPr/>
        </p:nvSpPr>
        <p:spPr>
          <a:xfrm flipH="1">
            <a:off x="5709297" y="1164608"/>
            <a:ext cx="2944328" cy="457048"/>
          </a:xfrm>
          <a:prstGeom prst="rect">
            <a:avLst/>
          </a:prstGeom>
        </p:spPr>
        <p:txBody>
          <a:bodyPr vert="horz" wrap="square" lIns="68580" tIns="34290" rIns="68580" bIns="34290" rtlCol="0" anchor="ctr">
            <a:spAutoFit/>
          </a:bodyPr>
          <a:lstStyle>
            <a:lvl1pPr algn="l" defTabSz="914400" rtl="0" eaLnBrk="1" latinLnBrk="0" hangingPunct="1">
              <a:lnSpc>
                <a:spcPct val="90000"/>
              </a:lnSpc>
              <a:spcBef>
                <a:spcPct val="0"/>
              </a:spcBef>
              <a:buNone/>
              <a:defRPr sz="40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altLang="en-US" sz="1400" b="1" i="0" u="none" strike="noStrike" kern="1200" cap="none" spc="0" normalizeH="0" baseline="0" noProof="0" dirty="0">
                <a:ln>
                  <a:noFill/>
                </a:ln>
                <a:solidFill>
                  <a:srgbClr val="4472C4"/>
                </a:solidFill>
                <a:effectLst/>
                <a:uLnTx/>
                <a:uFillTx/>
                <a:latin typeface="Franklin Gothic Medium" panose="020B0603020102020204"/>
                <a:ea typeface="ＭＳ Ｐゴシック" panose="020B0600070205080204" pitchFamily="34" charset="-128"/>
                <a:cs typeface="+mj-cs"/>
              </a:rPr>
              <a:t>Best Practices for PLS Implementation</a:t>
            </a:r>
          </a:p>
        </p:txBody>
      </p:sp>
      <p:sp>
        <p:nvSpPr>
          <p:cNvPr id="6" name="Title 1">
            <a:extLst>
              <a:ext uri="{FF2B5EF4-FFF2-40B4-BE49-F238E27FC236}">
                <a16:creationId xmlns:a16="http://schemas.microsoft.com/office/drawing/2014/main" id="{EC501972-B085-4991-A8F7-955549BEECBE}"/>
              </a:ext>
            </a:extLst>
          </p:cNvPr>
          <p:cNvSpPr txBox="1">
            <a:spLocks/>
          </p:cNvSpPr>
          <p:nvPr/>
        </p:nvSpPr>
        <p:spPr>
          <a:xfrm>
            <a:off x="467510" y="410555"/>
            <a:ext cx="8286750" cy="590931"/>
          </a:xfrm>
          <a:prstGeom prst="rect">
            <a:avLst/>
          </a:prstGeom>
        </p:spPr>
        <p:txBody>
          <a:bodyPr vert="horz" wrap="square" lIns="91440" tIns="45720" rIns="91440" bIns="45720" rtlCol="0" anchor="b">
            <a:spAutoFit/>
          </a:bodyPr>
          <a:lstStyle>
            <a:lvl1pPr algn="l" defTabSz="685800" rtl="0" eaLnBrk="1" latinLnBrk="0" hangingPunct="1">
              <a:lnSpc>
                <a:spcPct val="90000"/>
              </a:lnSpc>
              <a:spcBef>
                <a:spcPct val="0"/>
              </a:spcBef>
              <a:buNone/>
              <a:defRPr sz="3000" b="1" kern="1200">
                <a:solidFill>
                  <a:schemeClr val="accent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F28C11"/>
                </a:solidFill>
                <a:effectLst/>
                <a:uLnTx/>
                <a:uFillTx/>
                <a:latin typeface="Franklin Gothic Medium" panose="020B0603020102020204"/>
                <a:ea typeface="+mj-ea"/>
                <a:cs typeface="+mj-cs"/>
              </a:rPr>
              <a:t>Enterprise-Wide PLS Guidance</a:t>
            </a:r>
          </a:p>
        </p:txBody>
      </p:sp>
      <p:sp>
        <p:nvSpPr>
          <p:cNvPr id="7" name="Slide Number Placeholder 2">
            <a:extLst>
              <a:ext uri="{FF2B5EF4-FFF2-40B4-BE49-F238E27FC236}">
                <a16:creationId xmlns:a16="http://schemas.microsoft.com/office/drawing/2014/main" id="{5D845CDD-0D6E-4135-A58B-8A2367396867}"/>
              </a:ext>
            </a:extLst>
          </p:cNvPr>
          <p:cNvSpPr txBox="1">
            <a:spLocks/>
          </p:cNvSpPr>
          <p:nvPr/>
        </p:nvSpPr>
        <p:spPr>
          <a:xfrm>
            <a:off x="6985487" y="59945"/>
            <a:ext cx="2057400" cy="273844"/>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defRPr/>
            </a:pPr>
            <a:fld id="{42AD0A0E-4515-A647-B2E3-7F1B29FB990E}" type="slidenum">
              <a:rPr lang="en-US" sz="900" smtClean="0">
                <a:solidFill>
                  <a:prstClr val="black"/>
                </a:solidFill>
                <a:latin typeface="Franklin Gothic Book" panose="020B0503020102020204"/>
              </a:rPr>
              <a:pPr algn="r">
                <a:defRPr/>
              </a:pPr>
              <a:t>47</a:t>
            </a:fld>
            <a:endParaRPr lang="en-US" sz="900" dirty="0">
              <a:solidFill>
                <a:prstClr val="black"/>
              </a:solidFill>
              <a:latin typeface="Franklin Gothic Book" panose="020B0503020102020204"/>
            </a:endParaRPr>
          </a:p>
        </p:txBody>
      </p:sp>
    </p:spTree>
    <p:extLst>
      <p:ext uri="{BB962C8B-B14F-4D97-AF65-F5344CB8AC3E}">
        <p14:creationId xmlns:p14="http://schemas.microsoft.com/office/powerpoint/2010/main" val="26350048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7182DBB-630B-41AC-8D1C-3E33044B7AFB}"/>
              </a:ext>
            </a:extLst>
          </p:cNvPr>
          <p:cNvSpPr txBox="1"/>
          <p:nvPr/>
        </p:nvSpPr>
        <p:spPr bwMode="gray">
          <a:xfrm>
            <a:off x="6960112" y="1195152"/>
            <a:ext cx="685800" cy="685800"/>
          </a:xfrm>
          <a:prstGeom prst="rect">
            <a:avLst/>
          </a:prstGeom>
        </p:spPr>
        <p:txBody>
          <a:bodyPr wrap="none" lIns="34290" tIns="34290" rIns="34290" bIns="34290" rtlCol="0">
            <a:no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Franklin Gothic Book" panose="020B0503020102020204"/>
                <a:ea typeface="+mn-ea"/>
                <a:cs typeface="+mn-cs"/>
              </a:rPr>
              <a:t>PLS Included in New Global SOP</a:t>
            </a:r>
          </a:p>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Franklin Gothic Book" panose="020B0503020102020204"/>
                <a:ea typeface="+mn-ea"/>
                <a:cs typeface="+mn-cs"/>
              </a:rPr>
              <a:t>July 2021</a:t>
            </a:r>
            <a:endParaRPr kumimoji="0" lang="en-US" sz="12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9" name="TextBox 8">
            <a:extLst>
              <a:ext uri="{FF2B5EF4-FFF2-40B4-BE49-F238E27FC236}">
                <a16:creationId xmlns:a16="http://schemas.microsoft.com/office/drawing/2014/main" id="{C26D8D67-FAE3-4489-B3BE-ACBACA872C8B}"/>
              </a:ext>
            </a:extLst>
          </p:cNvPr>
          <p:cNvSpPr txBox="1"/>
          <p:nvPr/>
        </p:nvSpPr>
        <p:spPr bwMode="gray">
          <a:xfrm>
            <a:off x="3969293" y="1195152"/>
            <a:ext cx="685800" cy="685800"/>
          </a:xfrm>
          <a:prstGeom prst="rect">
            <a:avLst/>
          </a:prstGeom>
        </p:spPr>
        <p:txBody>
          <a:bodyPr wrap="none" lIns="34290" tIns="34290" rIns="34290" bIns="34290" rtlCol="0">
            <a:no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Franklin Gothic Book" panose="020B0503020102020204"/>
                <a:ea typeface="+mn-ea"/>
                <a:cs typeface="+mn-cs"/>
              </a:rPr>
              <a:t>PLS Health Literacy Best Practices Manual</a:t>
            </a:r>
          </a:p>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Franklin Gothic Book" panose="020B0503020102020204"/>
                <a:ea typeface="+mn-ea"/>
                <a:cs typeface="+mn-cs"/>
              </a:rPr>
              <a:t> October 2020</a:t>
            </a:r>
            <a:endParaRPr kumimoji="0" lang="en-US" sz="12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pic>
        <p:nvPicPr>
          <p:cNvPr id="11" name="Content Placeholder 2">
            <a:extLst>
              <a:ext uri="{FF2B5EF4-FFF2-40B4-BE49-F238E27FC236}">
                <a16:creationId xmlns:a16="http://schemas.microsoft.com/office/drawing/2014/main" id="{7A2B0496-764D-405C-80A5-498FED804717}"/>
              </a:ext>
            </a:extLst>
          </p:cNvPr>
          <p:cNvPicPr>
            <a:picLocks noChangeAspect="1"/>
          </p:cNvPicPr>
          <p:nvPr/>
        </p:nvPicPr>
        <p:blipFill rotWithShape="1">
          <a:blip r:embed="rId2"/>
          <a:srcRect r="2819"/>
          <a:stretch/>
        </p:blipFill>
        <p:spPr>
          <a:xfrm>
            <a:off x="3216874" y="1744348"/>
            <a:ext cx="2263732" cy="2692728"/>
          </a:xfrm>
          <a:prstGeom prst="rect">
            <a:avLst/>
          </a:prstGeom>
          <a:effectLst>
            <a:outerShdw blurRad="63500" sx="102000" sy="102000" algn="ctr" rotWithShape="0">
              <a:prstClr val="black">
                <a:alpha val="40000"/>
              </a:prstClr>
            </a:outerShdw>
          </a:effectLst>
        </p:spPr>
      </p:pic>
      <p:pic>
        <p:nvPicPr>
          <p:cNvPr id="13" name="Picture 12">
            <a:extLst>
              <a:ext uri="{FF2B5EF4-FFF2-40B4-BE49-F238E27FC236}">
                <a16:creationId xmlns:a16="http://schemas.microsoft.com/office/drawing/2014/main" id="{5C129618-0337-4D0E-8381-D50BAEAD7330}"/>
              </a:ext>
            </a:extLst>
          </p:cNvPr>
          <p:cNvPicPr>
            <a:picLocks noChangeAspect="1"/>
          </p:cNvPicPr>
          <p:nvPr/>
        </p:nvPicPr>
        <p:blipFill rotWithShape="1">
          <a:blip r:embed="rId3"/>
          <a:srcRect r="4060"/>
          <a:stretch/>
        </p:blipFill>
        <p:spPr>
          <a:xfrm>
            <a:off x="5808687" y="1744348"/>
            <a:ext cx="2963106" cy="2379489"/>
          </a:xfrm>
          <a:prstGeom prst="rect">
            <a:avLst/>
          </a:prstGeom>
          <a:effectLst>
            <a:outerShdw blurRad="63500" sx="102000" sy="102000" algn="ctr" rotWithShape="0">
              <a:prstClr val="black">
                <a:alpha val="40000"/>
              </a:prstClr>
            </a:outerShdw>
          </a:effectLst>
        </p:spPr>
      </p:pic>
      <p:sp>
        <p:nvSpPr>
          <p:cNvPr id="16" name="Title 1">
            <a:extLst>
              <a:ext uri="{FF2B5EF4-FFF2-40B4-BE49-F238E27FC236}">
                <a16:creationId xmlns:a16="http://schemas.microsoft.com/office/drawing/2014/main" id="{02E48889-D6FC-4477-AC7E-BE954E92AB05}"/>
              </a:ext>
            </a:extLst>
          </p:cNvPr>
          <p:cNvSpPr txBox="1">
            <a:spLocks/>
          </p:cNvSpPr>
          <p:nvPr/>
        </p:nvSpPr>
        <p:spPr>
          <a:xfrm>
            <a:off x="840669" y="-13584"/>
            <a:ext cx="7462661" cy="1089529"/>
          </a:xfrm>
          <a:prstGeom prst="rect">
            <a:avLst/>
          </a:prstGeom>
        </p:spPr>
        <p:txBody>
          <a:bodyPr vert="horz" lIns="91440" tIns="45720" rIns="91440" bIns="45720" rtlCol="0" anchor="b">
            <a:spAutoFit/>
          </a:bodyPr>
          <a:lstStyle>
            <a:lvl1pPr algn="l" defTabSz="685800" rtl="0" eaLnBrk="1" latinLnBrk="0" hangingPunct="1">
              <a:lnSpc>
                <a:spcPct val="90000"/>
              </a:lnSpc>
              <a:spcBef>
                <a:spcPct val="0"/>
              </a:spcBef>
              <a:buNone/>
              <a:defRPr sz="3000" b="1" kern="1200">
                <a:solidFill>
                  <a:schemeClr val="accent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F28C11"/>
                </a:solidFill>
                <a:effectLst/>
                <a:uLnTx/>
                <a:uFillTx/>
                <a:latin typeface="Franklin Gothic Medium" panose="020B0603020102020204"/>
                <a:ea typeface="+mj-ea"/>
                <a:cs typeface="+mj-cs"/>
              </a:rPr>
              <a:t>PLS Guidance and Best Practices Incorporated into Global SOP</a:t>
            </a:r>
          </a:p>
        </p:txBody>
      </p:sp>
      <p:pic>
        <p:nvPicPr>
          <p:cNvPr id="18" name="Picture 17">
            <a:extLst>
              <a:ext uri="{FF2B5EF4-FFF2-40B4-BE49-F238E27FC236}">
                <a16:creationId xmlns:a16="http://schemas.microsoft.com/office/drawing/2014/main" id="{C44CC154-3EED-48B3-AB72-5844B4776473}"/>
              </a:ext>
            </a:extLst>
          </p:cNvPr>
          <p:cNvPicPr>
            <a:picLocks noChangeAspect="1"/>
          </p:cNvPicPr>
          <p:nvPr/>
        </p:nvPicPr>
        <p:blipFill>
          <a:blip r:embed="rId4"/>
          <a:stretch>
            <a:fillRect/>
          </a:stretch>
        </p:blipFill>
        <p:spPr>
          <a:xfrm>
            <a:off x="343956" y="1744348"/>
            <a:ext cx="2568247" cy="2287873"/>
          </a:xfrm>
          <a:prstGeom prst="rect">
            <a:avLst/>
          </a:prstGeom>
          <a:effectLst>
            <a:outerShdw blurRad="63500" sx="102000" sy="102000" algn="ctr" rotWithShape="0">
              <a:prstClr val="black">
                <a:alpha val="40000"/>
              </a:prstClr>
            </a:outerShdw>
          </a:effectLst>
        </p:spPr>
      </p:pic>
      <p:sp>
        <p:nvSpPr>
          <p:cNvPr id="19" name="TextBox 18">
            <a:extLst>
              <a:ext uri="{FF2B5EF4-FFF2-40B4-BE49-F238E27FC236}">
                <a16:creationId xmlns:a16="http://schemas.microsoft.com/office/drawing/2014/main" id="{465B7AA6-1C22-4CE3-ABDE-2FDDE6B5D316}"/>
              </a:ext>
            </a:extLst>
          </p:cNvPr>
          <p:cNvSpPr txBox="1"/>
          <p:nvPr/>
        </p:nvSpPr>
        <p:spPr bwMode="gray">
          <a:xfrm>
            <a:off x="1229191" y="1195152"/>
            <a:ext cx="633015" cy="685800"/>
          </a:xfrm>
          <a:prstGeom prst="rect">
            <a:avLst/>
          </a:prstGeom>
        </p:spPr>
        <p:txBody>
          <a:bodyPr wrap="none" lIns="34290" tIns="34290" rIns="34290" bIns="34290" rtlCol="0">
            <a:noAutofit/>
          </a:bodyPr>
          <a:lstStyle/>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Franklin Gothic Book" panose="020B0503020102020204"/>
                <a:ea typeface="+mn-ea"/>
                <a:cs typeface="+mn-cs"/>
              </a:rPr>
              <a:t>Enterprise-Wide PLS Guidance</a:t>
            </a:r>
          </a:p>
          <a:p>
            <a:pPr marL="0" marR="0" lvl="0" indent="0" algn="ctr" defTabSz="6858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Franklin Gothic Book" panose="020B0503020102020204"/>
                <a:ea typeface="+mn-ea"/>
                <a:cs typeface="+mn-cs"/>
              </a:rPr>
              <a:t>February 2020</a:t>
            </a:r>
            <a:endParaRPr kumimoji="0" lang="en-US" sz="12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10" name="Slide Number Placeholder 2">
            <a:extLst>
              <a:ext uri="{FF2B5EF4-FFF2-40B4-BE49-F238E27FC236}">
                <a16:creationId xmlns:a16="http://schemas.microsoft.com/office/drawing/2014/main" id="{E58AE806-F916-4163-ACD5-FAAD56A42CD6}"/>
              </a:ext>
            </a:extLst>
          </p:cNvPr>
          <p:cNvSpPr txBox="1">
            <a:spLocks/>
          </p:cNvSpPr>
          <p:nvPr/>
        </p:nvSpPr>
        <p:spPr>
          <a:xfrm>
            <a:off x="6985487" y="59945"/>
            <a:ext cx="2057400" cy="273844"/>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defRPr/>
            </a:pPr>
            <a:fld id="{42AD0A0E-4515-A647-B2E3-7F1B29FB990E}" type="slidenum">
              <a:rPr lang="en-US" sz="900" smtClean="0">
                <a:solidFill>
                  <a:prstClr val="black"/>
                </a:solidFill>
                <a:latin typeface="Franklin Gothic Book" panose="020B0503020102020204"/>
              </a:rPr>
              <a:pPr algn="r">
                <a:defRPr/>
              </a:pPr>
              <a:t>48</a:t>
            </a:fld>
            <a:endParaRPr lang="en-US" sz="900" dirty="0">
              <a:solidFill>
                <a:prstClr val="black"/>
              </a:solidFill>
              <a:latin typeface="Franklin Gothic Book" panose="020B0503020102020204"/>
            </a:endParaRPr>
          </a:p>
        </p:txBody>
      </p:sp>
    </p:spTree>
    <p:extLst>
      <p:ext uri="{BB962C8B-B14F-4D97-AF65-F5344CB8AC3E}">
        <p14:creationId xmlns:p14="http://schemas.microsoft.com/office/powerpoint/2010/main" val="39813341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D4DD90-210B-48E4-AD7B-13AB661E0A86}"/>
              </a:ext>
            </a:extLst>
          </p:cNvPr>
          <p:cNvSpPr>
            <a:spLocks noGrp="1"/>
          </p:cNvSpPr>
          <p:nvPr>
            <p:ph type="title"/>
          </p:nvPr>
        </p:nvSpPr>
        <p:spPr>
          <a:xfrm>
            <a:off x="482600" y="241300"/>
            <a:ext cx="8178799" cy="851803"/>
          </a:xfrm>
        </p:spPr>
        <p:txBody>
          <a:bodyPr vert="horz" lIns="91440" tIns="45720" rIns="91440" bIns="45720" rtlCol="0" anchor="ctr">
            <a:normAutofit/>
          </a:bodyPr>
          <a:lstStyle/>
          <a:p>
            <a:r>
              <a:rPr lang="en-US" sz="3600" dirty="0">
                <a:solidFill>
                  <a:srgbClr val="F28C11"/>
                </a:solidFill>
              </a:rPr>
              <a:t>Launch of Pfizer Figshare Portal</a:t>
            </a:r>
          </a:p>
        </p:txBody>
      </p:sp>
      <p:sp>
        <p:nvSpPr>
          <p:cNvPr id="2" name="Text Placeholder 1">
            <a:extLst>
              <a:ext uri="{FF2B5EF4-FFF2-40B4-BE49-F238E27FC236}">
                <a16:creationId xmlns:a16="http://schemas.microsoft.com/office/drawing/2014/main" id="{7C37A1E8-CF91-4621-8CC8-38B13FEC1C42}"/>
              </a:ext>
            </a:extLst>
          </p:cNvPr>
          <p:cNvSpPr>
            <a:spLocks noGrp="1"/>
          </p:cNvSpPr>
          <p:nvPr>
            <p:ph type="body" sz="quarter" idx="11"/>
          </p:nvPr>
        </p:nvSpPr>
        <p:spPr>
          <a:xfrm>
            <a:off x="482601" y="1337235"/>
            <a:ext cx="3006288" cy="3295487"/>
          </a:xfrm>
        </p:spPr>
        <p:txBody>
          <a:bodyPr vert="horz" lIns="91440" tIns="45720" rIns="91440" bIns="45720" rtlCol="0">
            <a:normAutofit lnSpcReduction="10000"/>
          </a:bodyPr>
          <a:lstStyle/>
          <a:p>
            <a:r>
              <a:rPr lang="en-US" sz="1600" dirty="0"/>
              <a:t>Custom-branded web-based interface for sharing PLS, supplemental data and green open access manuscripts</a:t>
            </a:r>
          </a:p>
          <a:p>
            <a:r>
              <a:rPr lang="en-US" sz="1600" dirty="0"/>
              <a:t>Ability to curate what information is made available and to whom</a:t>
            </a:r>
          </a:p>
          <a:p>
            <a:r>
              <a:rPr lang="en-US" sz="1600" dirty="0"/>
              <a:t>Allows upload of any file type</a:t>
            </a:r>
          </a:p>
          <a:p>
            <a:r>
              <a:rPr lang="en-US" sz="1600" dirty="0"/>
              <a:t>Provides dashboard with detailed metrics  (e.g., views, downloads, citations, Altmetrics</a:t>
            </a:r>
          </a:p>
          <a:p>
            <a:pPr indent="-228600" defTabSz="914400">
              <a:lnSpc>
                <a:spcPct val="90000"/>
              </a:lnSpc>
            </a:pPr>
            <a:endParaRPr lang="en-US" sz="1600" dirty="0">
              <a:cs typeface="+mn-cs"/>
            </a:endParaRPr>
          </a:p>
        </p:txBody>
      </p:sp>
      <p:sp>
        <p:nvSpPr>
          <p:cNvPr id="5" name="Rectangle 4">
            <a:extLst>
              <a:ext uri="{FF2B5EF4-FFF2-40B4-BE49-F238E27FC236}">
                <a16:creationId xmlns:a16="http://schemas.microsoft.com/office/drawing/2014/main" id="{827103F3-E03F-40C1-B38C-BDC819FF08FC}"/>
              </a:ext>
            </a:extLst>
          </p:cNvPr>
          <p:cNvSpPr/>
          <p:nvPr/>
        </p:nvSpPr>
        <p:spPr>
          <a:xfrm>
            <a:off x="4994851" y="3926341"/>
            <a:ext cx="2204514" cy="300082"/>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0" lang="en-US" sz="1350" b="0" i="0" u="sng" strike="noStrike" kern="1200" cap="none" spc="0" normalizeH="0" baseline="0" noProof="0" dirty="0">
                <a:ln>
                  <a:noFill/>
                </a:ln>
                <a:solidFill>
                  <a:srgbClr val="000000"/>
                </a:solidFill>
                <a:effectLst/>
                <a:uLnTx/>
                <a:uFillTx/>
                <a:latin typeface="Helvetica" panose="020B0604020202020204" pitchFamily="34" charset="0"/>
                <a:ea typeface="Times New Roman" panose="02020603050405020304" pitchFamily="18" charset="0"/>
                <a:cs typeface="+mn-cs"/>
                <a:hlinkClick r:id="rId2"/>
              </a:rPr>
              <a:t>https://pfizer.figshare.com</a:t>
            </a:r>
            <a:r>
              <a:rPr kumimoji="0" lang="en-US" sz="1350" b="0" i="0" u="none" strike="noStrike" kern="1200" cap="none" spc="0" normalizeH="0" baseline="0" noProof="0" dirty="0">
                <a:ln>
                  <a:noFill/>
                </a:ln>
                <a:solidFill>
                  <a:srgbClr val="000000"/>
                </a:solidFill>
                <a:effectLst/>
                <a:uLnTx/>
                <a:uFillTx/>
                <a:latin typeface="Helvetica" panose="020B0604020202020204" pitchFamily="34" charset="0"/>
                <a:ea typeface="Times New Roman" panose="02020603050405020304" pitchFamily="18" charset="0"/>
                <a:cs typeface="+mn-cs"/>
              </a:rPr>
              <a:t>.</a:t>
            </a:r>
            <a:endParaRPr kumimoji="0" lang="en-US" sz="135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pic>
        <p:nvPicPr>
          <p:cNvPr id="9" name="Picture 8">
            <a:extLst>
              <a:ext uri="{FF2B5EF4-FFF2-40B4-BE49-F238E27FC236}">
                <a16:creationId xmlns:a16="http://schemas.microsoft.com/office/drawing/2014/main" id="{8724ED20-FD0E-4826-AC6F-488AEE8DEA6B}"/>
              </a:ext>
            </a:extLst>
          </p:cNvPr>
          <p:cNvPicPr>
            <a:picLocks noChangeAspect="1"/>
          </p:cNvPicPr>
          <p:nvPr/>
        </p:nvPicPr>
        <p:blipFill>
          <a:blip r:embed="rId3"/>
          <a:stretch>
            <a:fillRect/>
          </a:stretch>
        </p:blipFill>
        <p:spPr>
          <a:xfrm>
            <a:off x="3532817" y="1499615"/>
            <a:ext cx="5128582" cy="2176011"/>
          </a:xfrm>
          <a:prstGeom prst="rect">
            <a:avLst/>
          </a:prstGeom>
          <a:effectLst>
            <a:outerShdw blurRad="63500" sx="102000" sy="102000" algn="ctr" rotWithShape="0">
              <a:prstClr val="black">
                <a:alpha val="40000"/>
              </a:prstClr>
            </a:outerShdw>
          </a:effectLst>
        </p:spPr>
      </p:pic>
      <p:sp>
        <p:nvSpPr>
          <p:cNvPr id="6" name="Slide Number Placeholder 2">
            <a:extLst>
              <a:ext uri="{FF2B5EF4-FFF2-40B4-BE49-F238E27FC236}">
                <a16:creationId xmlns:a16="http://schemas.microsoft.com/office/drawing/2014/main" id="{909EFDF2-FA9B-4A50-B540-22B2BC14623A}"/>
              </a:ext>
            </a:extLst>
          </p:cNvPr>
          <p:cNvSpPr txBox="1">
            <a:spLocks/>
          </p:cNvSpPr>
          <p:nvPr/>
        </p:nvSpPr>
        <p:spPr>
          <a:xfrm>
            <a:off x="6985487" y="59945"/>
            <a:ext cx="2057400" cy="273844"/>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defRPr/>
            </a:pPr>
            <a:fld id="{42AD0A0E-4515-A647-B2E3-7F1B29FB990E}" type="slidenum">
              <a:rPr lang="en-US" sz="900" smtClean="0">
                <a:solidFill>
                  <a:prstClr val="black"/>
                </a:solidFill>
                <a:latin typeface="Franklin Gothic Book" panose="020B0503020102020204"/>
              </a:rPr>
              <a:pPr algn="r">
                <a:defRPr/>
              </a:pPr>
              <a:t>49</a:t>
            </a:fld>
            <a:endParaRPr lang="en-US" sz="900" dirty="0">
              <a:solidFill>
                <a:prstClr val="black"/>
              </a:solidFill>
              <a:latin typeface="Franklin Gothic Book" panose="020B0503020102020204"/>
            </a:endParaRPr>
          </a:p>
        </p:txBody>
      </p:sp>
    </p:spTree>
    <p:extLst>
      <p:ext uri="{BB962C8B-B14F-4D97-AF65-F5344CB8AC3E}">
        <p14:creationId xmlns:p14="http://schemas.microsoft.com/office/powerpoint/2010/main" val="38037339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p:txBody>
          <a:bodyPr/>
          <a:lstStyle/>
          <a:p>
            <a:r>
              <a:rPr lang="en-US" dirty="0"/>
              <a:t>Plain language summary landscape</a:t>
            </a:r>
          </a:p>
        </p:txBody>
      </p:sp>
      <p:sp>
        <p:nvSpPr>
          <p:cNvPr id="6" name="Text Placeholder 5">
            <a:extLst>
              <a:ext uri="{FF2B5EF4-FFF2-40B4-BE49-F238E27FC236}">
                <a16:creationId xmlns:a16="http://schemas.microsoft.com/office/drawing/2014/main" id="{5992C889-06EC-4A3C-949B-CB79887518ED}"/>
              </a:ext>
            </a:extLst>
          </p:cNvPr>
          <p:cNvSpPr>
            <a:spLocks noGrp="1"/>
          </p:cNvSpPr>
          <p:nvPr>
            <p:ph type="body" idx="1"/>
          </p:nvPr>
        </p:nvSpPr>
        <p:spPr/>
        <p:txBody>
          <a:bodyPr>
            <a:normAutofit/>
          </a:bodyPr>
          <a:lstStyle/>
          <a:p>
            <a:pPr marL="0" marR="0" algn="r">
              <a:spcBef>
                <a:spcPts val="0"/>
              </a:spcBef>
              <a:spcAft>
                <a:spcPts val="0"/>
              </a:spcAft>
            </a:pPr>
            <a:r>
              <a:rPr lang="en-US" dirty="0">
                <a:cs typeface="Arial" panose="020B0604020202020204" pitchFamily="34" charset="0"/>
              </a:rPr>
              <a:t>Jason Gardner                                                                     </a:t>
            </a:r>
            <a:r>
              <a:rPr lang="en-GB" dirty="0">
                <a:effectLst/>
                <a:ea typeface="Calibri" panose="020F0502020204030204" pitchFamily="34" charset="0"/>
              </a:rPr>
              <a:t>EVP, Head of Medical Services</a:t>
            </a:r>
            <a:r>
              <a:rPr lang="en-US" dirty="0">
                <a:ea typeface="Calibri" panose="020F0502020204030204" pitchFamily="34" charset="0"/>
              </a:rPr>
              <a:t>                                              </a:t>
            </a:r>
            <a:r>
              <a:rPr lang="en-GB" dirty="0">
                <a:effectLst/>
                <a:ea typeface="Calibri" panose="020F0502020204030204" pitchFamily="34" charset="0"/>
              </a:rPr>
              <a:t>CMC CONNECT | McCann Health Medical Communications</a:t>
            </a:r>
            <a:endParaRPr lang="en-US" dirty="0"/>
          </a:p>
          <a:p>
            <a:endParaRPr lang="en-US" dirty="0"/>
          </a:p>
        </p:txBody>
      </p:sp>
    </p:spTree>
    <p:extLst>
      <p:ext uri="{BB962C8B-B14F-4D97-AF65-F5344CB8AC3E}">
        <p14:creationId xmlns:p14="http://schemas.microsoft.com/office/powerpoint/2010/main" val="420882852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8DCBCC8-0FFE-4CA7-8B3F-D7957E1E4ED4}"/>
              </a:ext>
            </a:extLst>
          </p:cNvPr>
          <p:cNvSpPr>
            <a:spLocks noGrp="1"/>
          </p:cNvSpPr>
          <p:nvPr>
            <p:ph type="title"/>
          </p:nvPr>
        </p:nvSpPr>
        <p:spPr>
          <a:xfrm>
            <a:off x="475003" y="59945"/>
            <a:ext cx="7462661" cy="941541"/>
          </a:xfrm>
        </p:spPr>
        <p:txBody>
          <a:bodyPr/>
          <a:lstStyle/>
          <a:p>
            <a:r>
              <a:rPr lang="en-US" dirty="0"/>
              <a:t>Manuscript PLS Published on Figshare</a:t>
            </a:r>
          </a:p>
        </p:txBody>
      </p:sp>
      <p:sp>
        <p:nvSpPr>
          <p:cNvPr id="9" name="Content Placeholder 8">
            <a:extLst>
              <a:ext uri="{FF2B5EF4-FFF2-40B4-BE49-F238E27FC236}">
                <a16:creationId xmlns:a16="http://schemas.microsoft.com/office/drawing/2014/main" id="{7801F774-3C96-4456-8363-5078145636C4}"/>
              </a:ext>
            </a:extLst>
          </p:cNvPr>
          <p:cNvSpPr>
            <a:spLocks noGrp="1"/>
          </p:cNvSpPr>
          <p:nvPr>
            <p:ph sz="half" idx="2"/>
          </p:nvPr>
        </p:nvSpPr>
        <p:spPr>
          <a:xfrm>
            <a:off x="4681591" y="1099399"/>
            <a:ext cx="4140214" cy="3263504"/>
          </a:xfrm>
        </p:spPr>
        <p:txBody>
          <a:bodyPr>
            <a:normAutofit/>
          </a:bodyPr>
          <a:lstStyle/>
          <a:p>
            <a:pPr marL="231775" lvl="1" indent="-231775">
              <a:spcBef>
                <a:spcPts val="400"/>
              </a:spcBef>
              <a:spcAft>
                <a:spcPts val="400"/>
              </a:spcAft>
            </a:pPr>
            <a:r>
              <a:rPr lang="en-US" sz="1200" dirty="0"/>
              <a:t>Copyright license  (CC-BY-NC-ND)</a:t>
            </a:r>
          </a:p>
          <a:p>
            <a:pPr marL="231775" lvl="1" indent="-231775">
              <a:spcBef>
                <a:spcPts val="400"/>
              </a:spcBef>
              <a:spcAft>
                <a:spcPts val="400"/>
              </a:spcAft>
            </a:pPr>
            <a:r>
              <a:rPr lang="en-US" sz="1200" dirty="0"/>
              <a:t>Keywords (e.g., drug name, therapeutic area)</a:t>
            </a:r>
          </a:p>
          <a:p>
            <a:pPr marL="231775" lvl="1" indent="-231775">
              <a:spcBef>
                <a:spcPts val="400"/>
              </a:spcBef>
              <a:spcAft>
                <a:spcPts val="400"/>
              </a:spcAft>
            </a:pPr>
            <a:r>
              <a:rPr lang="en-US" sz="1200" dirty="0">
                <a:cs typeface="Arial"/>
              </a:rPr>
              <a:t>Digital object identifier (DOI)</a:t>
            </a:r>
          </a:p>
          <a:p>
            <a:pPr marL="231775" lvl="1" indent="-231775">
              <a:spcBef>
                <a:spcPts val="400"/>
              </a:spcBef>
              <a:spcAft>
                <a:spcPts val="400"/>
              </a:spcAft>
            </a:pPr>
            <a:r>
              <a:rPr lang="en-US" sz="1200" dirty="0">
                <a:cs typeface="Arial"/>
              </a:rPr>
              <a:t>Where to go for further information (e.g., link to                           study record on ClinicalTrials.gov), if applicable</a:t>
            </a:r>
          </a:p>
          <a:p>
            <a:pPr marL="231775" lvl="1" indent="-231775">
              <a:spcBef>
                <a:spcPts val="400"/>
              </a:spcBef>
              <a:spcAft>
                <a:spcPts val="400"/>
              </a:spcAft>
            </a:pPr>
            <a:r>
              <a:rPr lang="en-US" sz="1200" dirty="0">
                <a:cs typeface="Arial"/>
              </a:rPr>
              <a:t>Relevant disclosures &amp; disclaimers</a:t>
            </a:r>
            <a:endParaRPr lang="en-US" sz="1200" dirty="0"/>
          </a:p>
          <a:p>
            <a:endParaRPr lang="en-US" sz="1200" dirty="0"/>
          </a:p>
        </p:txBody>
      </p:sp>
      <p:pic>
        <p:nvPicPr>
          <p:cNvPr id="5" name="Picture 4">
            <a:extLst>
              <a:ext uri="{FF2B5EF4-FFF2-40B4-BE49-F238E27FC236}">
                <a16:creationId xmlns:a16="http://schemas.microsoft.com/office/drawing/2014/main" id="{23CCE17A-5C15-4329-A0C2-9DB2B159195A}"/>
              </a:ext>
            </a:extLst>
          </p:cNvPr>
          <p:cNvPicPr>
            <a:picLocks noChangeAspect="1"/>
          </p:cNvPicPr>
          <p:nvPr/>
        </p:nvPicPr>
        <p:blipFill>
          <a:blip r:embed="rId2"/>
          <a:stretch>
            <a:fillRect/>
          </a:stretch>
        </p:blipFill>
        <p:spPr>
          <a:xfrm>
            <a:off x="467505" y="2656201"/>
            <a:ext cx="3889639" cy="2209467"/>
          </a:xfrm>
          <a:prstGeom prst="rect">
            <a:avLst/>
          </a:prstGeom>
          <a:effectLst>
            <a:outerShdw blurRad="63500" sx="102000" sy="102000" algn="ctr" rotWithShape="0">
              <a:prstClr val="black">
                <a:alpha val="40000"/>
              </a:prstClr>
            </a:outerShdw>
          </a:effectLst>
        </p:spPr>
      </p:pic>
      <p:pic>
        <p:nvPicPr>
          <p:cNvPr id="7" name="Picture 6">
            <a:extLst>
              <a:ext uri="{FF2B5EF4-FFF2-40B4-BE49-F238E27FC236}">
                <a16:creationId xmlns:a16="http://schemas.microsoft.com/office/drawing/2014/main" id="{DECC66D0-0F30-4FB2-997C-EE0DBD7C3003}"/>
              </a:ext>
            </a:extLst>
          </p:cNvPr>
          <p:cNvPicPr>
            <a:picLocks noChangeAspect="1"/>
          </p:cNvPicPr>
          <p:nvPr/>
        </p:nvPicPr>
        <p:blipFill>
          <a:blip r:embed="rId3"/>
          <a:stretch>
            <a:fillRect/>
          </a:stretch>
        </p:blipFill>
        <p:spPr>
          <a:xfrm>
            <a:off x="4831763" y="2698230"/>
            <a:ext cx="3500433" cy="2209468"/>
          </a:xfrm>
          <a:prstGeom prst="rect">
            <a:avLst/>
          </a:prstGeom>
          <a:effectLst>
            <a:outerShdw blurRad="63500" sx="102000" sy="102000" algn="ctr" rotWithShape="0">
              <a:prstClr val="black">
                <a:alpha val="40000"/>
              </a:prstClr>
            </a:outerShdw>
          </a:effectLst>
        </p:spPr>
      </p:pic>
      <p:sp>
        <p:nvSpPr>
          <p:cNvPr id="2" name="Text Placeholder 1">
            <a:extLst>
              <a:ext uri="{FF2B5EF4-FFF2-40B4-BE49-F238E27FC236}">
                <a16:creationId xmlns:a16="http://schemas.microsoft.com/office/drawing/2014/main" id="{4B6F2A2B-B448-4D1C-AF11-86189313B186}"/>
              </a:ext>
            </a:extLst>
          </p:cNvPr>
          <p:cNvSpPr>
            <a:spLocks noGrp="1"/>
          </p:cNvSpPr>
          <p:nvPr>
            <p:ph sz="half" idx="1"/>
          </p:nvPr>
        </p:nvSpPr>
        <p:spPr>
          <a:xfrm>
            <a:off x="403771" y="1091904"/>
            <a:ext cx="4194435" cy="3263504"/>
          </a:xfrm>
        </p:spPr>
        <p:txBody>
          <a:bodyPr>
            <a:normAutofit/>
          </a:bodyPr>
          <a:lstStyle/>
          <a:p>
            <a:pPr marL="231775" lvl="1" indent="-231775">
              <a:spcBef>
                <a:spcPts val="400"/>
              </a:spcBef>
              <a:spcAft>
                <a:spcPts val="400"/>
              </a:spcAft>
            </a:pPr>
            <a:r>
              <a:rPr lang="en-US" sz="1200" dirty="0"/>
              <a:t>Title of PLS</a:t>
            </a:r>
          </a:p>
          <a:p>
            <a:pPr marL="231775" lvl="1" indent="-231775">
              <a:spcBef>
                <a:spcPts val="400"/>
              </a:spcBef>
              <a:spcAft>
                <a:spcPts val="400"/>
              </a:spcAft>
            </a:pPr>
            <a:r>
              <a:rPr lang="en-US" sz="1200" dirty="0"/>
              <a:t>Brief description of content (e.g., This Figshare page contains a plain language summary of …)</a:t>
            </a:r>
          </a:p>
          <a:p>
            <a:pPr marL="231775" lvl="1" indent="-231775">
              <a:spcBef>
                <a:spcPts val="400"/>
              </a:spcBef>
              <a:spcAft>
                <a:spcPts val="400"/>
              </a:spcAft>
            </a:pPr>
            <a:r>
              <a:rPr lang="en-US" sz="1200" dirty="0"/>
              <a:t>Citation of underlying publication associated with PLS, data file or video </a:t>
            </a:r>
          </a:p>
          <a:p>
            <a:pPr marL="231775" lvl="1" indent="-231775">
              <a:spcBef>
                <a:spcPts val="400"/>
              </a:spcBef>
              <a:spcAft>
                <a:spcPts val="400"/>
              </a:spcAft>
            </a:pPr>
            <a:r>
              <a:rPr lang="en-US" sz="1200" dirty="0"/>
              <a:t>Link to underlying publication </a:t>
            </a:r>
          </a:p>
          <a:p>
            <a:endParaRPr lang="en-US" sz="1200" dirty="0"/>
          </a:p>
        </p:txBody>
      </p:sp>
      <p:sp>
        <p:nvSpPr>
          <p:cNvPr id="10" name="Slide Number Placeholder 2">
            <a:extLst>
              <a:ext uri="{FF2B5EF4-FFF2-40B4-BE49-F238E27FC236}">
                <a16:creationId xmlns:a16="http://schemas.microsoft.com/office/drawing/2014/main" id="{26E3063E-6E83-4302-88B8-DB1FA7B3A967}"/>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0</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4899321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4">
            <a:extLst>
              <a:ext uri="{FF2B5EF4-FFF2-40B4-BE49-F238E27FC236}">
                <a16:creationId xmlns:a16="http://schemas.microsoft.com/office/drawing/2014/main" id="{4EE6869B-15DF-4A4F-8567-79574D36C41F}"/>
              </a:ext>
            </a:extLst>
          </p:cNvPr>
          <p:cNvGraphicFramePr>
            <a:graphicFrameLocks noGrp="1"/>
          </p:cNvGraphicFramePr>
          <p:nvPr>
            <p:ph idx="1"/>
          </p:nvPr>
        </p:nvGraphicFramePr>
        <p:xfrm>
          <a:off x="2402127" y="1189691"/>
          <a:ext cx="3837819" cy="978525"/>
        </p:xfrm>
        <a:graphic>
          <a:graphicData uri="http://schemas.openxmlformats.org/drawingml/2006/table">
            <a:tbl>
              <a:tblPr firstRow="1" bandRow="1">
                <a:tableStyleId>{5C22544A-7EE6-4342-B048-85BDC9FD1C3A}</a:tableStyleId>
              </a:tblPr>
              <a:tblGrid>
                <a:gridCol w="1118444">
                  <a:extLst>
                    <a:ext uri="{9D8B030D-6E8A-4147-A177-3AD203B41FA5}">
                      <a16:colId xmlns:a16="http://schemas.microsoft.com/office/drawing/2014/main" val="2293954949"/>
                    </a:ext>
                  </a:extLst>
                </a:gridCol>
                <a:gridCol w="897344">
                  <a:extLst>
                    <a:ext uri="{9D8B030D-6E8A-4147-A177-3AD203B41FA5}">
                      <a16:colId xmlns:a16="http://schemas.microsoft.com/office/drawing/2014/main" val="2254824102"/>
                    </a:ext>
                  </a:extLst>
                </a:gridCol>
                <a:gridCol w="875426">
                  <a:extLst>
                    <a:ext uri="{9D8B030D-6E8A-4147-A177-3AD203B41FA5}">
                      <a16:colId xmlns:a16="http://schemas.microsoft.com/office/drawing/2014/main" val="1774800197"/>
                    </a:ext>
                  </a:extLst>
                </a:gridCol>
                <a:gridCol w="946605">
                  <a:extLst>
                    <a:ext uri="{9D8B030D-6E8A-4147-A177-3AD203B41FA5}">
                      <a16:colId xmlns:a16="http://schemas.microsoft.com/office/drawing/2014/main" val="3290165639"/>
                    </a:ext>
                  </a:extLst>
                </a:gridCol>
              </a:tblGrid>
              <a:tr h="269865">
                <a:tc>
                  <a:txBody>
                    <a:bodyPr/>
                    <a:lstStyle/>
                    <a:p>
                      <a:r>
                        <a:rPr lang="en-US" sz="800" dirty="0"/>
                        <a:t>PLS Type</a:t>
                      </a:r>
                    </a:p>
                  </a:txBody>
                  <a:tcPr marL="68580" marR="68580" marT="34290" marB="34290"/>
                </a:tc>
                <a:tc>
                  <a:txBody>
                    <a:bodyPr/>
                    <a:lstStyle/>
                    <a:p>
                      <a:pPr algn="ctr"/>
                      <a:r>
                        <a:rPr lang="en-US" sz="800" dirty="0"/>
                        <a:t>2020</a:t>
                      </a:r>
                    </a:p>
                  </a:txBody>
                  <a:tcPr marL="68580" marR="68580" marT="34290" marB="34290"/>
                </a:tc>
                <a:tc>
                  <a:txBody>
                    <a:bodyPr/>
                    <a:lstStyle/>
                    <a:p>
                      <a:pPr algn="ctr"/>
                      <a:r>
                        <a:rPr lang="en-US" sz="800" dirty="0"/>
                        <a:t>2021</a:t>
                      </a:r>
                    </a:p>
                  </a:txBody>
                  <a:tcPr marL="68580" marR="68580" marT="34290" marB="34290"/>
                </a:tc>
                <a:tc>
                  <a:txBody>
                    <a:bodyPr/>
                    <a:lstStyle/>
                    <a:p>
                      <a:pPr algn="ctr"/>
                      <a:r>
                        <a:rPr lang="en-US" sz="800" dirty="0"/>
                        <a:t> Increase</a:t>
                      </a:r>
                    </a:p>
                  </a:txBody>
                  <a:tcPr marL="68580" marR="68580" marT="34290" marB="34290"/>
                </a:tc>
                <a:extLst>
                  <a:ext uri="{0D108BD9-81ED-4DB2-BD59-A6C34878D82A}">
                    <a16:rowId xmlns:a16="http://schemas.microsoft.com/office/drawing/2014/main" val="1450331892"/>
                  </a:ext>
                </a:extLst>
              </a:tr>
              <a:tr h="194310">
                <a:tc>
                  <a:txBody>
                    <a:bodyPr/>
                    <a:lstStyle/>
                    <a:p>
                      <a:r>
                        <a:rPr lang="en-US" sz="800" b="1" dirty="0"/>
                        <a:t>Abstract</a:t>
                      </a:r>
                    </a:p>
                  </a:txBody>
                  <a:tcPr marL="68580" marR="68580" marT="34290" marB="34290"/>
                </a:tc>
                <a:tc>
                  <a:txBody>
                    <a:bodyPr/>
                    <a:lstStyle/>
                    <a:p>
                      <a:pPr algn="ctr"/>
                      <a:r>
                        <a:rPr lang="en-US" sz="800" dirty="0"/>
                        <a:t>116</a:t>
                      </a:r>
                    </a:p>
                  </a:txBody>
                  <a:tcPr marL="68580" marR="68580" marT="34290" marB="34290"/>
                </a:tc>
                <a:tc>
                  <a:txBody>
                    <a:bodyPr/>
                    <a:lstStyle/>
                    <a:p>
                      <a:pPr algn="ctr"/>
                      <a:r>
                        <a:rPr lang="en-US" sz="800" dirty="0"/>
                        <a:t>125</a:t>
                      </a:r>
                    </a:p>
                  </a:txBody>
                  <a:tcPr marL="68580" marR="68580" marT="34290" marB="34290"/>
                </a:tc>
                <a:tc>
                  <a:txBody>
                    <a:bodyPr/>
                    <a:lstStyle/>
                    <a:p>
                      <a:pPr algn="ctr"/>
                      <a:r>
                        <a:rPr lang="en-US" sz="800" dirty="0"/>
                        <a:t>9 (8%)</a:t>
                      </a:r>
                    </a:p>
                  </a:txBody>
                  <a:tcPr marL="68580" marR="68580" marT="34290" marB="34290"/>
                </a:tc>
                <a:extLst>
                  <a:ext uri="{0D108BD9-81ED-4DB2-BD59-A6C34878D82A}">
                    <a16:rowId xmlns:a16="http://schemas.microsoft.com/office/drawing/2014/main" val="283505456"/>
                  </a:ext>
                </a:extLst>
              </a:tr>
              <a:tr h="194310">
                <a:tc>
                  <a:txBody>
                    <a:bodyPr/>
                    <a:lstStyle/>
                    <a:p>
                      <a:r>
                        <a:rPr lang="en-US" sz="800" b="1" dirty="0"/>
                        <a:t>Manuscript</a:t>
                      </a:r>
                    </a:p>
                  </a:txBody>
                  <a:tcPr marL="68580" marR="68580" marT="34290" marB="34290"/>
                </a:tc>
                <a:tc>
                  <a:txBody>
                    <a:bodyPr/>
                    <a:lstStyle/>
                    <a:p>
                      <a:pPr algn="ctr"/>
                      <a:r>
                        <a:rPr lang="en-US" sz="800" dirty="0"/>
                        <a:t>39</a:t>
                      </a:r>
                    </a:p>
                  </a:txBody>
                  <a:tcPr marL="68580" marR="68580" marT="34290" marB="34290"/>
                </a:tc>
                <a:tc>
                  <a:txBody>
                    <a:bodyPr/>
                    <a:lstStyle/>
                    <a:p>
                      <a:pPr algn="ctr"/>
                      <a:r>
                        <a:rPr lang="en-US" sz="800" dirty="0"/>
                        <a:t>75</a:t>
                      </a:r>
                    </a:p>
                  </a:txBody>
                  <a:tcPr marL="68580" marR="68580" marT="34290" marB="34290"/>
                </a:tc>
                <a:tc>
                  <a:txBody>
                    <a:bodyPr/>
                    <a:lstStyle/>
                    <a:p>
                      <a:pPr algn="ctr"/>
                      <a:r>
                        <a:rPr lang="en-US" sz="800" dirty="0"/>
                        <a:t>36 (92%)</a:t>
                      </a:r>
                    </a:p>
                  </a:txBody>
                  <a:tcPr marL="68580" marR="68580" marT="34290" marB="34290"/>
                </a:tc>
                <a:extLst>
                  <a:ext uri="{0D108BD9-81ED-4DB2-BD59-A6C34878D82A}">
                    <a16:rowId xmlns:a16="http://schemas.microsoft.com/office/drawing/2014/main" val="2628622074"/>
                  </a:ext>
                </a:extLst>
              </a:tr>
              <a:tr h="320040">
                <a:tc>
                  <a:txBody>
                    <a:bodyPr/>
                    <a:lstStyle/>
                    <a:p>
                      <a:r>
                        <a:rPr lang="en-US" sz="800" b="1" dirty="0"/>
                        <a:t>Publications Team, Review Time* (hours)</a:t>
                      </a:r>
                    </a:p>
                  </a:txBody>
                  <a:tcPr marL="68580" marR="68580" marT="34290" marB="34290"/>
                </a:tc>
                <a:tc>
                  <a:txBody>
                    <a:bodyPr/>
                    <a:lstStyle/>
                    <a:p>
                      <a:pPr algn="ctr"/>
                      <a:r>
                        <a:rPr lang="en-US" sz="800" dirty="0"/>
                        <a:t>117</a:t>
                      </a:r>
                    </a:p>
                  </a:txBody>
                  <a:tcPr marL="68580" marR="68580" marT="34290" marB="34290"/>
                </a:tc>
                <a:tc>
                  <a:txBody>
                    <a:bodyPr/>
                    <a:lstStyle/>
                    <a:p>
                      <a:pPr algn="ctr"/>
                      <a:r>
                        <a:rPr lang="en-US" sz="800" dirty="0"/>
                        <a:t>225</a:t>
                      </a:r>
                    </a:p>
                  </a:txBody>
                  <a:tcPr marL="68580" marR="68580" marT="34290" marB="34290"/>
                </a:tc>
                <a:tc>
                  <a:txBody>
                    <a:bodyPr/>
                    <a:lstStyle/>
                    <a:p>
                      <a:pPr algn="ctr"/>
                      <a:r>
                        <a:rPr lang="en-US" sz="800" dirty="0"/>
                        <a:t>108 (92%)</a:t>
                      </a:r>
                    </a:p>
                  </a:txBody>
                  <a:tcPr marL="68580" marR="68580" marT="34290" marB="34290"/>
                </a:tc>
                <a:extLst>
                  <a:ext uri="{0D108BD9-81ED-4DB2-BD59-A6C34878D82A}">
                    <a16:rowId xmlns:a16="http://schemas.microsoft.com/office/drawing/2014/main" val="3606662566"/>
                  </a:ext>
                </a:extLst>
              </a:tr>
            </a:tbl>
          </a:graphicData>
        </a:graphic>
      </p:graphicFrame>
      <p:sp>
        <p:nvSpPr>
          <p:cNvPr id="11" name="Title 10">
            <a:extLst>
              <a:ext uri="{FF2B5EF4-FFF2-40B4-BE49-F238E27FC236}">
                <a16:creationId xmlns:a16="http://schemas.microsoft.com/office/drawing/2014/main" id="{026ED68D-5493-449E-8F34-871534ACDA21}"/>
              </a:ext>
            </a:extLst>
          </p:cNvPr>
          <p:cNvSpPr>
            <a:spLocks noGrp="1"/>
          </p:cNvSpPr>
          <p:nvPr>
            <p:ph type="title"/>
          </p:nvPr>
        </p:nvSpPr>
        <p:spPr>
          <a:xfrm>
            <a:off x="467510" y="59945"/>
            <a:ext cx="8234284" cy="941541"/>
          </a:xfrm>
        </p:spPr>
        <p:txBody>
          <a:bodyPr>
            <a:noAutofit/>
          </a:bodyPr>
          <a:lstStyle/>
          <a:p>
            <a:r>
              <a:rPr lang="en-US" dirty="0"/>
              <a:t>Rapid Uptake in PLS Across the Enterprise</a:t>
            </a:r>
          </a:p>
        </p:txBody>
      </p:sp>
      <p:sp>
        <p:nvSpPr>
          <p:cNvPr id="17" name="TextBox 16">
            <a:extLst>
              <a:ext uri="{FF2B5EF4-FFF2-40B4-BE49-F238E27FC236}">
                <a16:creationId xmlns:a16="http://schemas.microsoft.com/office/drawing/2014/main" id="{C850EB70-EF2F-4C65-839C-B491ACDB7B47}"/>
              </a:ext>
            </a:extLst>
          </p:cNvPr>
          <p:cNvSpPr txBox="1"/>
          <p:nvPr/>
        </p:nvSpPr>
        <p:spPr bwMode="gray">
          <a:xfrm>
            <a:off x="171450" y="4859226"/>
            <a:ext cx="685800" cy="685800"/>
          </a:xfrm>
          <a:prstGeom prst="rect">
            <a:avLst/>
          </a:prstGeom>
        </p:spPr>
        <p:txBody>
          <a:bodyPr wrap="none" lIns="34290" tIns="34290" rIns="34290" bIns="34290" rtlCol="0">
            <a:noAutofit/>
          </a:bodyPr>
          <a:lstStyle/>
          <a:p>
            <a:pPr marL="0" marR="0" lvl="0" indent="0" algn="l" defTabSz="685800" rtl="0" eaLnBrk="1" fontAlgn="auto" latinLnBrk="0" hangingPunct="1">
              <a:lnSpc>
                <a:spcPct val="90000"/>
              </a:lnSpc>
              <a:spcBef>
                <a:spcPts val="750"/>
              </a:spcBef>
              <a:spcAft>
                <a:spcPts val="0"/>
              </a:spcAft>
              <a:buClrTx/>
              <a:buSzTx/>
              <a:buFontTx/>
              <a:buNone/>
              <a:tabLst/>
              <a:defRPr/>
            </a:pPr>
            <a:r>
              <a:rPr kumimoji="0" lang="en-US" sz="788" b="0" i="0" u="none" strike="noStrike" kern="1200" cap="none" spc="0" normalizeH="0" baseline="0" noProof="0" dirty="0">
                <a:ln>
                  <a:noFill/>
                </a:ln>
                <a:solidFill>
                  <a:srgbClr val="4472C4"/>
                </a:solidFill>
                <a:effectLst/>
                <a:uLnTx/>
                <a:uFillTx/>
                <a:latin typeface="Franklin Gothic Book" panose="020B0503020102020204"/>
                <a:ea typeface="+mn-ea"/>
                <a:cs typeface="+mn-cs"/>
              </a:rPr>
              <a:t>Data as of December 31, 2021. *Publications team conducts detailed review of manuscript PLS only.</a:t>
            </a:r>
          </a:p>
        </p:txBody>
      </p:sp>
      <p:pic>
        <p:nvPicPr>
          <p:cNvPr id="3" name="Picture 2">
            <a:extLst>
              <a:ext uri="{FF2B5EF4-FFF2-40B4-BE49-F238E27FC236}">
                <a16:creationId xmlns:a16="http://schemas.microsoft.com/office/drawing/2014/main" id="{6578DDEB-260F-487E-942C-0F37449F962D}"/>
              </a:ext>
            </a:extLst>
          </p:cNvPr>
          <p:cNvPicPr>
            <a:picLocks noChangeAspect="1"/>
          </p:cNvPicPr>
          <p:nvPr/>
        </p:nvPicPr>
        <p:blipFill>
          <a:blip r:embed="rId2"/>
          <a:stretch>
            <a:fillRect/>
          </a:stretch>
        </p:blipFill>
        <p:spPr>
          <a:xfrm>
            <a:off x="1595230" y="2356421"/>
            <a:ext cx="5451613" cy="2403045"/>
          </a:xfrm>
          <a:prstGeom prst="rect">
            <a:avLst/>
          </a:prstGeom>
        </p:spPr>
      </p:pic>
      <p:sp>
        <p:nvSpPr>
          <p:cNvPr id="6" name="Slide Number Placeholder 2">
            <a:extLst>
              <a:ext uri="{FF2B5EF4-FFF2-40B4-BE49-F238E27FC236}">
                <a16:creationId xmlns:a16="http://schemas.microsoft.com/office/drawing/2014/main" id="{DFB34D1A-6449-4761-8F60-2C3FF508A06F}"/>
              </a:ext>
            </a:extLst>
          </p:cNvPr>
          <p:cNvSpPr txBox="1">
            <a:spLocks/>
          </p:cNvSpPr>
          <p:nvPr/>
        </p:nvSpPr>
        <p:spPr>
          <a:xfrm>
            <a:off x="6985487" y="59945"/>
            <a:ext cx="2057400" cy="273844"/>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defRPr/>
            </a:pPr>
            <a:fld id="{42AD0A0E-4515-A647-B2E3-7F1B29FB990E}" type="slidenum">
              <a:rPr lang="en-US" sz="900" smtClean="0">
                <a:solidFill>
                  <a:prstClr val="black"/>
                </a:solidFill>
                <a:latin typeface="Franklin Gothic Book" panose="020B0503020102020204"/>
              </a:rPr>
              <a:pPr algn="r">
                <a:defRPr/>
              </a:pPr>
              <a:t>51</a:t>
            </a:fld>
            <a:endParaRPr lang="en-US" sz="900" dirty="0">
              <a:solidFill>
                <a:prstClr val="black"/>
              </a:solidFill>
              <a:latin typeface="Franklin Gothic Book" panose="020B0503020102020204"/>
            </a:endParaRPr>
          </a:p>
        </p:txBody>
      </p:sp>
    </p:spTree>
    <p:extLst>
      <p:ext uri="{BB962C8B-B14F-4D97-AF65-F5344CB8AC3E}">
        <p14:creationId xmlns:p14="http://schemas.microsoft.com/office/powerpoint/2010/main" val="17117231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id="{A0CB2991-C33B-465B-B4E0-13D5CA9E4C32}"/>
              </a:ext>
            </a:extLst>
          </p:cNvPr>
          <p:cNvSpPr txBox="1"/>
          <p:nvPr/>
        </p:nvSpPr>
        <p:spPr>
          <a:xfrm>
            <a:off x="817930" y="2747434"/>
            <a:ext cx="2944273" cy="630942"/>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rgbClr val="000000"/>
                </a:solidFill>
                <a:effectLst/>
                <a:uLnTx/>
                <a:uFillTx/>
                <a:latin typeface="+mj-lt"/>
                <a:ea typeface="Open Sans Semibold" panose="020B0606030504020204" pitchFamily="34" charset="0"/>
                <a:cs typeface="Open Sans Semibold" panose="020B0606030504020204" pitchFamily="34" charset="0"/>
              </a:defRPr>
            </a:lvl1pPr>
          </a:lstStyle>
          <a:p>
            <a:pPr marL="128549" marR="0" lvl="1" indent="-128549" algn="l" defTabSz="685595"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Increasing volume will outstrip capacity to produce consistent and high-quality content</a:t>
            </a:r>
          </a:p>
          <a:p>
            <a:pPr marL="128549" marR="0" lvl="1" indent="-128549" algn="l" defTabSz="685595"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Substantial amount of time and resources are required to develop PLS </a:t>
            </a:r>
          </a:p>
        </p:txBody>
      </p:sp>
      <p:sp>
        <p:nvSpPr>
          <p:cNvPr id="30" name="TextBox 29">
            <a:extLst>
              <a:ext uri="{FF2B5EF4-FFF2-40B4-BE49-F238E27FC236}">
                <a16:creationId xmlns:a16="http://schemas.microsoft.com/office/drawing/2014/main" id="{C0451086-7CB5-4BF7-AE87-13F017193CEF}"/>
              </a:ext>
            </a:extLst>
          </p:cNvPr>
          <p:cNvSpPr txBox="1"/>
          <p:nvPr/>
        </p:nvSpPr>
        <p:spPr>
          <a:xfrm>
            <a:off x="818430" y="4023589"/>
            <a:ext cx="2944274" cy="415498"/>
          </a:xfrm>
          <a:prstGeom prst="rect">
            <a:avLst/>
          </a:prstGeom>
          <a:noFill/>
        </p:spPr>
        <p:txBody>
          <a:bodyPr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rgbClr val="000000"/>
                </a:solidFill>
                <a:effectLst/>
                <a:uLnTx/>
                <a:uFillTx/>
                <a:latin typeface="+mj-lt"/>
                <a:ea typeface="Open Sans Semibold" panose="020B0606030504020204" pitchFamily="34" charset="0"/>
                <a:cs typeface="Open Sans Semibold" panose="020B0606030504020204" pitchFamily="34" charset="0"/>
              </a:defRPr>
            </a:lvl1pPr>
          </a:lstStyle>
          <a:p>
            <a:pPr marL="0" marR="0" lvl="1" indent="0" algn="l" defTabSz="68559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General-purpose readability software exists, but they cover only a small fraction of the growing number of health literacy principles</a:t>
            </a:r>
          </a:p>
        </p:txBody>
      </p:sp>
      <p:sp>
        <p:nvSpPr>
          <p:cNvPr id="31" name="TextBox 30">
            <a:extLst>
              <a:ext uri="{FF2B5EF4-FFF2-40B4-BE49-F238E27FC236}">
                <a16:creationId xmlns:a16="http://schemas.microsoft.com/office/drawing/2014/main" id="{C1804012-E9F7-4332-92A6-BDEF11B556C8}"/>
              </a:ext>
            </a:extLst>
          </p:cNvPr>
          <p:cNvSpPr txBox="1"/>
          <p:nvPr/>
        </p:nvSpPr>
        <p:spPr>
          <a:xfrm>
            <a:off x="834977" y="1794004"/>
            <a:ext cx="2944273" cy="415498"/>
          </a:xfrm>
          <a:prstGeom prst="rect">
            <a:avLst/>
          </a:prstGeom>
          <a:noFill/>
        </p:spPr>
        <p:txBody>
          <a:bodyPr wrap="square" lIns="0" tIns="0" rIns="0" bIns="0" rtlCol="0">
            <a:spAutoFit/>
          </a:bodyPr>
          <a:lstStyle/>
          <a:p>
            <a:pPr marL="0" marR="0" lvl="1" indent="0" algn="l" defTabSz="68559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Opportunity to share clinical information in a way that is more understandable and accessible to a broad audience, including patients and caregivers</a:t>
            </a:r>
          </a:p>
        </p:txBody>
      </p:sp>
      <p:grpSp>
        <p:nvGrpSpPr>
          <p:cNvPr id="32" name="Group 31">
            <a:extLst>
              <a:ext uri="{FF2B5EF4-FFF2-40B4-BE49-F238E27FC236}">
                <a16:creationId xmlns:a16="http://schemas.microsoft.com/office/drawing/2014/main" id="{FBA60501-8992-4678-9202-5AAC08DBDE79}"/>
              </a:ext>
            </a:extLst>
          </p:cNvPr>
          <p:cNvGrpSpPr/>
          <p:nvPr/>
        </p:nvGrpSpPr>
        <p:grpSpPr>
          <a:xfrm>
            <a:off x="121834" y="3770426"/>
            <a:ext cx="567540" cy="567540"/>
            <a:chOff x="8092187" y="2151965"/>
            <a:chExt cx="756917" cy="756917"/>
          </a:xfrm>
        </p:grpSpPr>
        <p:pic>
          <p:nvPicPr>
            <p:cNvPr id="33" name="Picture 32">
              <a:extLst>
                <a:ext uri="{FF2B5EF4-FFF2-40B4-BE49-F238E27FC236}">
                  <a16:creationId xmlns:a16="http://schemas.microsoft.com/office/drawing/2014/main" id="{832516D0-FB9A-4C65-9755-18D94DC477E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57891" y="2294096"/>
              <a:ext cx="449041" cy="448166"/>
            </a:xfrm>
            <a:prstGeom prst="rect">
              <a:avLst/>
            </a:prstGeom>
          </p:spPr>
        </p:pic>
        <p:sp>
          <p:nvSpPr>
            <p:cNvPr id="34" name="Oval 33">
              <a:extLst>
                <a:ext uri="{FF2B5EF4-FFF2-40B4-BE49-F238E27FC236}">
                  <a16:creationId xmlns:a16="http://schemas.microsoft.com/office/drawing/2014/main" id="{9A889964-F2DF-4610-B7A4-8150B5BD2243}"/>
                </a:ext>
              </a:extLst>
            </p:cNvPr>
            <p:cNvSpPr/>
            <p:nvPr/>
          </p:nvSpPr>
          <p:spPr>
            <a:xfrm>
              <a:off x="8092187" y="2151965"/>
              <a:ext cx="756917" cy="756917"/>
            </a:xfrm>
            <a:prstGeom prst="ellipse">
              <a:avLst/>
            </a:prstGeom>
            <a:noFill/>
            <a:ln w="28575" cap="flat" cmpd="sng" algn="ctr">
              <a:solidFill>
                <a:srgbClr val="046A38"/>
              </a:solidFill>
              <a:prstDash val="solid"/>
            </a:ln>
            <a:effectLst/>
          </p:spPr>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dirty="0">
                <a:ln>
                  <a:noFill/>
                </a:ln>
                <a:solidFill>
                  <a:srgbClr val="FFFFFF"/>
                </a:solidFill>
                <a:effectLst/>
                <a:uLnTx/>
                <a:uFillTx/>
                <a:latin typeface="Open Sans"/>
                <a:ea typeface="+mn-ea"/>
                <a:cs typeface="+mn-cs"/>
              </a:endParaRPr>
            </a:p>
          </p:txBody>
        </p:sp>
      </p:grpSp>
      <p:grpSp>
        <p:nvGrpSpPr>
          <p:cNvPr id="35" name="Group 34">
            <a:extLst>
              <a:ext uri="{FF2B5EF4-FFF2-40B4-BE49-F238E27FC236}">
                <a16:creationId xmlns:a16="http://schemas.microsoft.com/office/drawing/2014/main" id="{20D5E10E-E507-45DC-99DC-33CD163A56F9}"/>
              </a:ext>
            </a:extLst>
          </p:cNvPr>
          <p:cNvGrpSpPr/>
          <p:nvPr/>
        </p:nvGrpSpPr>
        <p:grpSpPr>
          <a:xfrm>
            <a:off x="136006" y="1627475"/>
            <a:ext cx="567540" cy="567540"/>
            <a:chOff x="807361" y="2119183"/>
            <a:chExt cx="756917" cy="756917"/>
          </a:xfrm>
        </p:grpSpPr>
        <p:sp>
          <p:nvSpPr>
            <p:cNvPr id="36" name="Oval 35">
              <a:extLst>
                <a:ext uri="{FF2B5EF4-FFF2-40B4-BE49-F238E27FC236}">
                  <a16:creationId xmlns:a16="http://schemas.microsoft.com/office/drawing/2014/main" id="{A0415F01-4ADF-4BC9-B43C-361CBB8BDE01}"/>
                </a:ext>
              </a:extLst>
            </p:cNvPr>
            <p:cNvSpPr/>
            <p:nvPr/>
          </p:nvSpPr>
          <p:spPr>
            <a:xfrm>
              <a:off x="807361" y="2119183"/>
              <a:ext cx="756917" cy="756917"/>
            </a:xfrm>
            <a:prstGeom prst="ellipse">
              <a:avLst/>
            </a:prstGeom>
            <a:noFill/>
            <a:ln w="28575" cap="flat" cmpd="sng" algn="ctr">
              <a:solidFill>
                <a:srgbClr val="046A38"/>
              </a:solidFill>
              <a:prstDash val="solid"/>
            </a:ln>
            <a:effectLst/>
          </p:spPr>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dirty="0">
                <a:ln>
                  <a:noFill/>
                </a:ln>
                <a:solidFill>
                  <a:srgbClr val="FFFFFF"/>
                </a:solidFill>
                <a:effectLst/>
                <a:uLnTx/>
                <a:uFillTx/>
                <a:latin typeface="Open Sans"/>
                <a:ea typeface="+mn-ea"/>
                <a:cs typeface="+mn-cs"/>
              </a:endParaRPr>
            </a:p>
          </p:txBody>
        </p:sp>
        <p:pic>
          <p:nvPicPr>
            <p:cNvPr id="37" name="Picture 36">
              <a:extLst>
                <a:ext uri="{FF2B5EF4-FFF2-40B4-BE49-F238E27FC236}">
                  <a16:creationId xmlns:a16="http://schemas.microsoft.com/office/drawing/2014/main" id="{12FC7869-3C8E-452E-B661-7D9C9C6907E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1888" y="2275657"/>
              <a:ext cx="407862" cy="407862"/>
            </a:xfrm>
            <a:prstGeom prst="rect">
              <a:avLst/>
            </a:prstGeom>
          </p:spPr>
        </p:pic>
      </p:grpSp>
      <p:grpSp>
        <p:nvGrpSpPr>
          <p:cNvPr id="38" name="Group 37">
            <a:extLst>
              <a:ext uri="{FF2B5EF4-FFF2-40B4-BE49-F238E27FC236}">
                <a16:creationId xmlns:a16="http://schemas.microsoft.com/office/drawing/2014/main" id="{EBDF6C51-2C27-419A-8FB1-0DB8C687232E}"/>
              </a:ext>
            </a:extLst>
          </p:cNvPr>
          <p:cNvGrpSpPr/>
          <p:nvPr/>
        </p:nvGrpSpPr>
        <p:grpSpPr>
          <a:xfrm>
            <a:off x="121834" y="2761234"/>
            <a:ext cx="567540" cy="567540"/>
            <a:chOff x="5434999" y="2160459"/>
            <a:chExt cx="756917" cy="756917"/>
          </a:xfrm>
        </p:grpSpPr>
        <p:sp>
          <p:nvSpPr>
            <p:cNvPr id="39" name="Oval 38">
              <a:extLst>
                <a:ext uri="{FF2B5EF4-FFF2-40B4-BE49-F238E27FC236}">
                  <a16:creationId xmlns:a16="http://schemas.microsoft.com/office/drawing/2014/main" id="{4B9A3C47-5CC7-4C54-BDA0-EA955E9EF9B3}"/>
                </a:ext>
              </a:extLst>
            </p:cNvPr>
            <p:cNvSpPr/>
            <p:nvPr/>
          </p:nvSpPr>
          <p:spPr>
            <a:xfrm>
              <a:off x="5434999" y="2160459"/>
              <a:ext cx="756917" cy="756917"/>
            </a:xfrm>
            <a:prstGeom prst="ellipse">
              <a:avLst/>
            </a:prstGeom>
            <a:noFill/>
            <a:ln w="28575" cap="flat" cmpd="sng" algn="ctr">
              <a:solidFill>
                <a:srgbClr val="046A38"/>
              </a:solidFill>
              <a:prstDash val="solid"/>
            </a:ln>
            <a:effectLst/>
          </p:spPr>
          <p:txBody>
            <a:bodyPr rtlCol="0" anchor="ctr"/>
            <a:lstStyle/>
            <a:p>
              <a:pPr marL="0" marR="0" lvl="0" indent="0" algn="ctr" defTabSz="685595" rtl="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dirty="0">
                <a:ln>
                  <a:noFill/>
                </a:ln>
                <a:solidFill>
                  <a:srgbClr val="FFFFFF"/>
                </a:solidFill>
                <a:effectLst/>
                <a:uLnTx/>
                <a:uFillTx/>
                <a:latin typeface="Open Sans"/>
                <a:ea typeface="+mn-ea"/>
                <a:cs typeface="+mn-cs"/>
              </a:endParaRPr>
            </a:p>
          </p:txBody>
        </p:sp>
        <p:pic>
          <p:nvPicPr>
            <p:cNvPr id="40" name="Picture 39">
              <a:extLst>
                <a:ext uri="{FF2B5EF4-FFF2-40B4-BE49-F238E27FC236}">
                  <a16:creationId xmlns:a16="http://schemas.microsoft.com/office/drawing/2014/main" id="{B703CF57-5E0A-44BA-B48B-B19D3A994E2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34935" y="2320947"/>
              <a:ext cx="553078" cy="388883"/>
            </a:xfrm>
            <a:prstGeom prst="rect">
              <a:avLst/>
            </a:prstGeom>
          </p:spPr>
        </p:pic>
      </p:grpSp>
      <p:sp>
        <p:nvSpPr>
          <p:cNvPr id="42" name="Rectangle 41">
            <a:extLst>
              <a:ext uri="{FF2B5EF4-FFF2-40B4-BE49-F238E27FC236}">
                <a16:creationId xmlns:a16="http://schemas.microsoft.com/office/drawing/2014/main" id="{E893520C-32A4-451D-A6F1-988B067B1146}"/>
              </a:ext>
            </a:extLst>
          </p:cNvPr>
          <p:cNvSpPr/>
          <p:nvPr/>
        </p:nvSpPr>
        <p:spPr>
          <a:xfrm>
            <a:off x="736383" y="1514301"/>
            <a:ext cx="2751074" cy="230832"/>
          </a:xfrm>
          <a:prstGeom prst="rect">
            <a:avLst/>
          </a:prstGeom>
        </p:spPr>
        <p:txBody>
          <a:bodyPr wrap="none" anchor="ctr">
            <a:spAutoFit/>
          </a:bodyPr>
          <a:lstStyle/>
          <a:p>
            <a:pPr marL="0" marR="0" lvl="0" indent="0" algn="l" defTabSz="68559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mn-cs"/>
              </a:rPr>
              <a:t>Make information more understandable</a:t>
            </a:r>
          </a:p>
        </p:txBody>
      </p:sp>
      <p:sp>
        <p:nvSpPr>
          <p:cNvPr id="43" name="Rectangle 42">
            <a:extLst>
              <a:ext uri="{FF2B5EF4-FFF2-40B4-BE49-F238E27FC236}">
                <a16:creationId xmlns:a16="http://schemas.microsoft.com/office/drawing/2014/main" id="{DF46ED24-CEAC-4D9E-BA62-A7A28913D935}"/>
              </a:ext>
            </a:extLst>
          </p:cNvPr>
          <p:cNvSpPr/>
          <p:nvPr/>
        </p:nvSpPr>
        <p:spPr>
          <a:xfrm>
            <a:off x="761270" y="2496639"/>
            <a:ext cx="2762295" cy="230832"/>
          </a:xfrm>
          <a:prstGeom prst="rect">
            <a:avLst/>
          </a:prstGeom>
        </p:spPr>
        <p:txBody>
          <a:bodyPr wrap="none" anchor="ctr">
            <a:spAutoFit/>
          </a:bodyPr>
          <a:lstStyle/>
          <a:p>
            <a:pPr marL="0" marR="0" lvl="0" indent="0" algn="l" defTabSz="68559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mn-cs"/>
              </a:rPr>
              <a:t>Successfully manage increased demand</a:t>
            </a:r>
          </a:p>
        </p:txBody>
      </p:sp>
      <p:sp>
        <p:nvSpPr>
          <p:cNvPr id="44" name="Rectangle 43">
            <a:extLst>
              <a:ext uri="{FF2B5EF4-FFF2-40B4-BE49-F238E27FC236}">
                <a16:creationId xmlns:a16="http://schemas.microsoft.com/office/drawing/2014/main" id="{4CF573DC-8302-4C68-995B-AC5C09D5A68A}"/>
              </a:ext>
            </a:extLst>
          </p:cNvPr>
          <p:cNvSpPr/>
          <p:nvPr/>
        </p:nvSpPr>
        <p:spPr>
          <a:xfrm>
            <a:off x="761269" y="3703562"/>
            <a:ext cx="2944274" cy="230832"/>
          </a:xfrm>
          <a:prstGeom prst="rect">
            <a:avLst/>
          </a:prstGeom>
        </p:spPr>
        <p:txBody>
          <a:bodyPr wrap="square" anchor="ctr">
            <a:spAutoFit/>
          </a:bodyPr>
          <a:lstStyle/>
          <a:p>
            <a:pPr marL="0" marR="0" lvl="0" indent="0" algn="l" defTabSz="68559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Verdana"/>
                <a:ea typeface="+mn-ea"/>
                <a:cs typeface="+mn-cs"/>
              </a:rPr>
              <a:t>No commercial tools available</a:t>
            </a:r>
          </a:p>
        </p:txBody>
      </p:sp>
      <p:sp>
        <p:nvSpPr>
          <p:cNvPr id="45" name="Rectangle 44">
            <a:extLst>
              <a:ext uri="{FF2B5EF4-FFF2-40B4-BE49-F238E27FC236}">
                <a16:creationId xmlns:a16="http://schemas.microsoft.com/office/drawing/2014/main" id="{1F42BFFD-3CF0-466F-9B34-16079BFD0DEA}"/>
              </a:ext>
            </a:extLst>
          </p:cNvPr>
          <p:cNvSpPr/>
          <p:nvPr/>
        </p:nvSpPr>
        <p:spPr bwMode="gray">
          <a:xfrm>
            <a:off x="770700" y="1533606"/>
            <a:ext cx="3072828" cy="806885"/>
          </a:xfrm>
          <a:prstGeom prst="rect">
            <a:avLst/>
          </a:prstGeom>
          <a:noFill/>
          <a:ln w="3175" algn="ctr">
            <a:solidFill>
              <a:srgbClr val="009A44"/>
            </a:solidFill>
            <a:miter lim="800000"/>
            <a:headEnd/>
            <a:tailEnd/>
          </a:ln>
        </p:spPr>
        <p:txBody>
          <a:bodyPr wrap="square" lIns="66658" tIns="66658" rIns="66658" bIns="66658" rtlCol="0" anchor="ctr"/>
          <a:lstStyle/>
          <a:p>
            <a:pPr marL="0" marR="0" lvl="0" indent="0" algn="ctr" defTabSz="685595"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46" name="Rectangle 45">
            <a:extLst>
              <a:ext uri="{FF2B5EF4-FFF2-40B4-BE49-F238E27FC236}">
                <a16:creationId xmlns:a16="http://schemas.microsoft.com/office/drawing/2014/main" id="{3B001E6B-C9CA-44CB-B0B6-F3F88527420C}"/>
              </a:ext>
            </a:extLst>
          </p:cNvPr>
          <p:cNvSpPr/>
          <p:nvPr/>
        </p:nvSpPr>
        <p:spPr bwMode="gray">
          <a:xfrm>
            <a:off x="770700" y="2523680"/>
            <a:ext cx="3072828" cy="955297"/>
          </a:xfrm>
          <a:prstGeom prst="rect">
            <a:avLst/>
          </a:prstGeom>
          <a:noFill/>
          <a:ln w="3175" algn="ctr">
            <a:solidFill>
              <a:srgbClr val="009A44"/>
            </a:solidFill>
            <a:miter lim="800000"/>
            <a:headEnd/>
            <a:tailEnd/>
          </a:ln>
        </p:spPr>
        <p:txBody>
          <a:bodyPr wrap="square" lIns="66658" tIns="66658" rIns="66658" bIns="66658" rtlCol="0" anchor="ctr"/>
          <a:lstStyle/>
          <a:p>
            <a:pPr marL="0" marR="0" lvl="0" indent="0" algn="ctr" defTabSz="685595"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47" name="Rectangle 46">
            <a:extLst>
              <a:ext uri="{FF2B5EF4-FFF2-40B4-BE49-F238E27FC236}">
                <a16:creationId xmlns:a16="http://schemas.microsoft.com/office/drawing/2014/main" id="{C2849987-7F65-44CA-8FAD-C162103FF54E}"/>
              </a:ext>
            </a:extLst>
          </p:cNvPr>
          <p:cNvSpPr/>
          <p:nvPr/>
        </p:nvSpPr>
        <p:spPr bwMode="gray">
          <a:xfrm>
            <a:off x="761268" y="3645900"/>
            <a:ext cx="3072828" cy="845261"/>
          </a:xfrm>
          <a:prstGeom prst="rect">
            <a:avLst/>
          </a:prstGeom>
          <a:noFill/>
          <a:ln w="3175" algn="ctr">
            <a:solidFill>
              <a:srgbClr val="009A44"/>
            </a:solidFill>
            <a:miter lim="800000"/>
            <a:headEnd/>
            <a:tailEnd/>
          </a:ln>
        </p:spPr>
        <p:txBody>
          <a:bodyPr wrap="square" lIns="66658" tIns="66658" rIns="66658" bIns="66658" rtlCol="0" anchor="ctr"/>
          <a:lstStyle/>
          <a:p>
            <a:pPr marL="0" marR="0" lvl="0" indent="0" algn="ctr" defTabSz="685595"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48" name="Picture 47">
            <a:extLst>
              <a:ext uri="{FF2B5EF4-FFF2-40B4-BE49-F238E27FC236}">
                <a16:creationId xmlns:a16="http://schemas.microsoft.com/office/drawing/2014/main" id="{B40DC01A-47A7-4392-9794-8DD1A26E3821}"/>
              </a:ext>
            </a:extLst>
          </p:cNvPr>
          <p:cNvPicPr>
            <a:picLocks noChangeAspect="1"/>
          </p:cNvPicPr>
          <p:nvPr/>
        </p:nvPicPr>
        <p:blipFill rotWithShape="1">
          <a:blip r:embed="rId5">
            <a:duotone>
              <a:srgbClr val="046A38">
                <a:shade val="45000"/>
                <a:satMod val="135000"/>
              </a:srgbClr>
              <a:prstClr val="white"/>
            </a:duotone>
          </a:blip>
          <a:srcRect r="4794"/>
          <a:stretch/>
        </p:blipFill>
        <p:spPr>
          <a:xfrm>
            <a:off x="3929644" y="1565401"/>
            <a:ext cx="1850954" cy="958173"/>
          </a:xfrm>
          <a:prstGeom prst="rect">
            <a:avLst/>
          </a:prstGeom>
        </p:spPr>
      </p:pic>
      <p:sp>
        <p:nvSpPr>
          <p:cNvPr id="49" name="Rectangle 48">
            <a:extLst>
              <a:ext uri="{FF2B5EF4-FFF2-40B4-BE49-F238E27FC236}">
                <a16:creationId xmlns:a16="http://schemas.microsoft.com/office/drawing/2014/main" id="{66EA6732-44B5-49DF-AB95-31B5FBDBD9CC}"/>
              </a:ext>
            </a:extLst>
          </p:cNvPr>
          <p:cNvSpPr/>
          <p:nvPr/>
        </p:nvSpPr>
        <p:spPr>
          <a:xfrm>
            <a:off x="3960876" y="2543574"/>
            <a:ext cx="1788490" cy="1833817"/>
          </a:xfrm>
          <a:prstGeom prst="rect">
            <a:avLst/>
          </a:prstGeom>
        </p:spPr>
        <p:txBody>
          <a:bodyPr wrap="square" lIns="68562" tIns="34281" rIns="68562" bIns="34281" anchor="t">
            <a:spAutoFit/>
          </a:bodyPr>
          <a:lstStyle/>
          <a:p>
            <a:pPr marL="0" marR="0" lvl="0" indent="0" algn="ctr" defTabSz="685800" rtl="0" eaLnBrk="1" fontAlgn="auto" latinLnBrk="0" hangingPunct="1">
              <a:lnSpc>
                <a:spcPct val="100000"/>
              </a:lnSpc>
              <a:spcBef>
                <a:spcPts val="0"/>
              </a:spcBef>
              <a:spcAft>
                <a:spcPts val="750"/>
              </a:spcAft>
              <a:buClrTx/>
              <a:buSzTx/>
              <a:buFontTx/>
              <a:buNone/>
              <a:tabLst/>
              <a:defRPr/>
            </a:pPr>
            <a:r>
              <a:rPr kumimoji="0" lang="en-US" sz="900" b="0" i="0" u="none" strike="noStrike" kern="1200" cap="none" spc="0" normalizeH="0" baseline="0" noProof="0" dirty="0">
                <a:ln>
                  <a:noFill/>
                </a:ln>
                <a:solidFill>
                  <a:srgbClr val="009A44"/>
                </a:solidFill>
                <a:effectLst/>
                <a:uLnTx/>
                <a:uFillTx/>
                <a:latin typeface="Verdana"/>
                <a:ea typeface="+mn-ea"/>
                <a:cs typeface="+mn-cs"/>
              </a:rPr>
              <a:t>Publications Management Team (PMT), Medical Affairs &amp; Pfizer’s Health Literacy Lead partnered with Pfizer Digital for a 12-week (7/27/2020 – 10/23/2020) POC and built an Information Quality Assessment Prototype</a:t>
            </a:r>
          </a:p>
          <a:p>
            <a:pPr marL="0" marR="0" lvl="0" indent="0" algn="ctr" defTabSz="685800" rtl="0" eaLnBrk="1" fontAlgn="auto" latinLnBrk="0" hangingPunct="1">
              <a:lnSpc>
                <a:spcPct val="100000"/>
              </a:lnSpc>
              <a:spcBef>
                <a:spcPts val="0"/>
              </a:spcBef>
              <a:spcAft>
                <a:spcPts val="750"/>
              </a:spcAft>
              <a:buClrTx/>
              <a:buSzTx/>
              <a:buFontTx/>
              <a:buNone/>
              <a:tabLst/>
              <a:defRPr/>
            </a:pPr>
            <a:r>
              <a:rPr kumimoji="0" lang="en-US" sz="900" b="0" i="0" u="none" strike="noStrike" kern="1200" cap="none" spc="0" normalizeH="0" baseline="0" noProof="0" dirty="0">
                <a:ln>
                  <a:noFill/>
                </a:ln>
                <a:solidFill>
                  <a:srgbClr val="009A44"/>
                </a:solidFill>
                <a:effectLst/>
                <a:uLnTx/>
                <a:uFillTx/>
                <a:latin typeface="Verdana"/>
                <a:ea typeface="+mn-ea"/>
                <a:cs typeface="+mn-cs"/>
              </a:rPr>
              <a:t>Incorporated Health Literacy principles from </a:t>
            </a:r>
            <a:r>
              <a:rPr kumimoji="0" lang="en-US" sz="900" b="0" i="1" u="none" strike="noStrike" kern="1200" cap="none" spc="0" normalizeH="0" baseline="0" noProof="0" dirty="0">
                <a:ln>
                  <a:noFill/>
                </a:ln>
                <a:solidFill>
                  <a:srgbClr val="009A44"/>
                </a:solidFill>
                <a:effectLst/>
                <a:uLnTx/>
                <a:uFillTx/>
                <a:latin typeface="Verdana"/>
                <a:ea typeface="+mn-ea"/>
                <a:cs typeface="+mn-cs"/>
              </a:rPr>
              <a:t>SOP </a:t>
            </a:r>
            <a:r>
              <a:rPr kumimoji="0" lang="en-US" sz="900" b="0" i="0" u="none" strike="noStrike" kern="1200" cap="none" spc="0" normalizeH="0" baseline="0" noProof="0" dirty="0">
                <a:ln>
                  <a:noFill/>
                </a:ln>
                <a:solidFill>
                  <a:srgbClr val="009A44"/>
                </a:solidFill>
                <a:effectLst/>
                <a:uLnTx/>
                <a:uFillTx/>
                <a:latin typeface="Verdana"/>
                <a:ea typeface="+mn-ea"/>
                <a:cs typeface="+mn-cs"/>
              </a:rPr>
              <a:t>and the </a:t>
            </a:r>
            <a:r>
              <a:rPr kumimoji="0" lang="en-US" sz="900" b="0" i="1" u="none" strike="noStrike" kern="1200" cap="none" spc="0" normalizeH="0" baseline="0" noProof="0" dirty="0">
                <a:ln>
                  <a:noFill/>
                </a:ln>
                <a:solidFill>
                  <a:srgbClr val="009A44"/>
                </a:solidFill>
                <a:effectLst/>
                <a:uLnTx/>
                <a:uFillTx/>
                <a:latin typeface="Verdana"/>
                <a:ea typeface="+mn-ea"/>
                <a:cs typeface="+mn-cs"/>
              </a:rPr>
              <a:t>PLS Health Literacy Manual</a:t>
            </a:r>
            <a:endParaRPr kumimoji="0" lang="en-US" sz="900" b="0" i="0" u="none" strike="noStrike" kern="1200" cap="none" spc="0" normalizeH="0" baseline="0" noProof="0" dirty="0">
              <a:ln>
                <a:noFill/>
              </a:ln>
              <a:solidFill>
                <a:srgbClr val="009A44"/>
              </a:solidFill>
              <a:effectLst/>
              <a:uLnTx/>
              <a:uFillTx/>
              <a:latin typeface="Verdana"/>
              <a:ea typeface="Verdana"/>
              <a:cs typeface="Verdana"/>
            </a:endParaRPr>
          </a:p>
        </p:txBody>
      </p:sp>
      <p:sp>
        <p:nvSpPr>
          <p:cNvPr id="50" name="Rectangle 49">
            <a:extLst>
              <a:ext uri="{FF2B5EF4-FFF2-40B4-BE49-F238E27FC236}">
                <a16:creationId xmlns:a16="http://schemas.microsoft.com/office/drawing/2014/main" id="{4ACC6259-F9AD-43FD-A3E5-E328F699F33E}"/>
              </a:ext>
            </a:extLst>
          </p:cNvPr>
          <p:cNvSpPr/>
          <p:nvPr/>
        </p:nvSpPr>
        <p:spPr bwMode="gray">
          <a:xfrm>
            <a:off x="5855435" y="1508014"/>
            <a:ext cx="3072828" cy="2873096"/>
          </a:xfrm>
          <a:prstGeom prst="rect">
            <a:avLst/>
          </a:prstGeom>
          <a:noFill/>
          <a:ln w="3175" algn="ctr">
            <a:solidFill>
              <a:srgbClr val="009A44"/>
            </a:solidFill>
            <a:miter lim="800000"/>
            <a:headEnd/>
            <a:tailEnd/>
          </a:ln>
        </p:spPr>
        <p:txBody>
          <a:bodyPr wrap="square" lIns="66658" tIns="66658" rIns="66658" bIns="66658" rtlCol="0" anchor="ctr"/>
          <a:lstStyle/>
          <a:p>
            <a:pPr marL="0" marR="0" lvl="0" indent="0" algn="ctr" defTabSz="685595"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Verdana"/>
              <a:ea typeface="+mn-ea"/>
              <a:cs typeface="+mn-cs"/>
            </a:endParaRPr>
          </a:p>
        </p:txBody>
      </p:sp>
      <p:sp>
        <p:nvSpPr>
          <p:cNvPr id="51" name="Rectangle 50">
            <a:extLst>
              <a:ext uri="{FF2B5EF4-FFF2-40B4-BE49-F238E27FC236}">
                <a16:creationId xmlns:a16="http://schemas.microsoft.com/office/drawing/2014/main" id="{DAA29F03-A6B9-485C-AF4B-FCFF34EC458C}"/>
              </a:ext>
            </a:extLst>
          </p:cNvPr>
          <p:cNvSpPr/>
          <p:nvPr/>
        </p:nvSpPr>
        <p:spPr>
          <a:xfrm>
            <a:off x="5884696" y="1559825"/>
            <a:ext cx="3051401" cy="2821285"/>
          </a:xfrm>
          <a:prstGeom prst="rect">
            <a:avLst/>
          </a:prstGeom>
        </p:spPr>
        <p:txBody>
          <a:bodyPr wrap="square">
            <a:spAutoFit/>
          </a:bodyPr>
          <a:lstStyle/>
          <a:p>
            <a:pPr marL="128549" marR="0" lvl="1" indent="-128549" algn="l" defTabSz="685595" rtl="0" eaLnBrk="1" fontAlgn="auto" latinLnBrk="0" hangingPunct="1">
              <a:lnSpc>
                <a:spcPct val="100000"/>
              </a:lnSpc>
              <a:spcBef>
                <a:spcPts val="0"/>
              </a:spcBef>
              <a:spcAft>
                <a:spcPts val="750"/>
              </a:spcAft>
              <a:buClrTx/>
              <a:buSzTx/>
              <a:buFont typeface="Arial" panose="020B0604020202020204" pitchFamily="34" charset="0"/>
              <a:buChar char="•"/>
              <a:tabLst/>
              <a:defRPr/>
            </a:pPr>
            <a:r>
              <a:rPr kumimoji="0" lang="en-US" sz="900" b="1"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Automated health literacy checks </a:t>
            </a:r>
            <a:r>
              <a:rPr kumimoji="0" lang="en-US" sz="900" b="0"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 improved quality and understandability</a:t>
            </a:r>
          </a:p>
          <a:p>
            <a:pPr marL="128549" marR="0" lvl="1" indent="-128549" algn="l" defTabSz="685595" rtl="0" eaLnBrk="1" fontAlgn="auto" latinLnBrk="0" hangingPunct="1">
              <a:lnSpc>
                <a:spcPct val="100000"/>
              </a:lnSpc>
              <a:spcBef>
                <a:spcPts val="0"/>
              </a:spcBef>
              <a:spcAft>
                <a:spcPts val="750"/>
              </a:spcAft>
              <a:buClrTx/>
              <a:buSzTx/>
              <a:buFont typeface="Arial" panose="020B0604020202020204" pitchFamily="34" charset="0"/>
              <a:buChar char="•"/>
              <a:tabLst/>
              <a:defRPr/>
            </a:pPr>
            <a:r>
              <a:rPr kumimoji="0" lang="en-US" sz="900" b="1"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Substantial time savings </a:t>
            </a:r>
            <a:r>
              <a:rPr kumimoji="0" lang="en-US" sz="900" b="0"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for agencies, authors and reviewers</a:t>
            </a:r>
          </a:p>
          <a:p>
            <a:pPr marL="128549" marR="0" lvl="1" indent="-128549" algn="l" defTabSz="685595" rtl="0" eaLnBrk="1" fontAlgn="auto" latinLnBrk="0" hangingPunct="1">
              <a:lnSpc>
                <a:spcPct val="100000"/>
              </a:lnSpc>
              <a:spcBef>
                <a:spcPts val="0"/>
              </a:spcBef>
              <a:spcAft>
                <a:spcPts val="750"/>
              </a:spcAft>
              <a:buClrTx/>
              <a:buSzTx/>
              <a:buFont typeface="Arial" panose="020B0604020202020204" pitchFamily="34" charset="0"/>
              <a:buChar char="•"/>
              <a:tabLst/>
              <a:defRPr/>
            </a:pPr>
            <a:r>
              <a:rPr kumimoji="0" lang="en-US" sz="900" b="1"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Greater efficiency </a:t>
            </a:r>
            <a:r>
              <a:rPr kumimoji="0" lang="en-US" sz="900" b="0"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 reduction in number                       of versions</a:t>
            </a:r>
          </a:p>
          <a:p>
            <a:pPr marL="128549" marR="0" lvl="1" indent="-128549" algn="l" defTabSz="685595" rtl="0" eaLnBrk="1" fontAlgn="auto" latinLnBrk="0" hangingPunct="1">
              <a:lnSpc>
                <a:spcPct val="100000"/>
              </a:lnSpc>
              <a:spcBef>
                <a:spcPts val="0"/>
              </a:spcBef>
              <a:spcAft>
                <a:spcPts val="750"/>
              </a:spcAft>
              <a:buClrTx/>
              <a:buSzTx/>
              <a:buFont typeface="Arial" panose="020B0604020202020204" pitchFamily="34" charset="0"/>
              <a:buChar char="•"/>
              <a:tabLst/>
              <a:defRPr/>
            </a:pPr>
            <a:r>
              <a:rPr kumimoji="0" lang="en-US" sz="900" b="1"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Improved consistency - </a:t>
            </a:r>
            <a:r>
              <a:rPr kumimoji="0" lang="en-US" sz="900" b="0"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Pfizer works with     12 different publication agencies which support 94 Scientific Publication Committees (SPCs)</a:t>
            </a:r>
          </a:p>
          <a:p>
            <a:pPr marL="128549" marR="0" lvl="1" indent="-128549" algn="l" defTabSz="685595" rtl="0" eaLnBrk="1" fontAlgn="auto" latinLnBrk="0" hangingPunct="1">
              <a:lnSpc>
                <a:spcPct val="100000"/>
              </a:lnSpc>
              <a:spcBef>
                <a:spcPts val="0"/>
              </a:spcBef>
              <a:spcAft>
                <a:spcPts val="750"/>
              </a:spcAft>
              <a:buClrTx/>
              <a:buSzTx/>
              <a:buFont typeface="Arial" panose="020B0604020202020204" pitchFamily="34" charset="0"/>
              <a:buChar char="•"/>
              <a:tabLst/>
              <a:defRPr/>
            </a:pPr>
            <a:r>
              <a:rPr kumimoji="0" lang="en-US" sz="900" b="1"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Increased positive impressions </a:t>
            </a:r>
            <a:r>
              <a:rPr kumimoji="0" lang="en-US" sz="900" b="0"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of Pfizer’s scientific contributions by the improved delivery of high-quality content that is optimized for a lay audience</a:t>
            </a:r>
          </a:p>
          <a:p>
            <a:pPr marL="128549" marR="0" lvl="1" indent="-128549" algn="l" defTabSz="685595" rtl="0" eaLnBrk="1" fontAlgn="auto" latinLnBrk="0" hangingPunct="1">
              <a:lnSpc>
                <a:spcPct val="100000"/>
              </a:lnSpc>
              <a:spcBef>
                <a:spcPts val="0"/>
              </a:spcBef>
              <a:spcAft>
                <a:spcPts val="750"/>
              </a:spcAft>
              <a:buClrTx/>
              <a:buSzTx/>
              <a:buFont typeface="Arial" panose="020B0604020202020204" pitchFamily="34" charset="0"/>
              <a:buChar char="•"/>
              <a:tabLst/>
              <a:defRPr/>
            </a:pPr>
            <a:r>
              <a:rPr kumimoji="0" lang="en-US" sz="900" b="1"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Scalability</a:t>
            </a:r>
            <a:r>
              <a:rPr kumimoji="0" lang="en-US" sz="900" b="0" i="0" u="none" strike="noStrike" kern="1200" cap="none" spc="0" normalizeH="0" baseline="0" noProof="0" dirty="0">
                <a:ln>
                  <a:noFill/>
                </a:ln>
                <a:solidFill>
                  <a:prstClr val="black"/>
                </a:solidFill>
                <a:effectLst/>
                <a:uLnTx/>
                <a:uFillTx/>
                <a:latin typeface="Verdana"/>
                <a:ea typeface="Open Sans Semibold" panose="020B0606030504020204" pitchFamily="34" charset="0"/>
                <a:cs typeface="Open Sans Semibold" panose="020B0606030504020204" pitchFamily="34" charset="0"/>
              </a:rPr>
              <a:t> - publications PLS HLT used as template for HLT developed for other groups (e.g., medical writing, commercial, etc.) </a:t>
            </a:r>
          </a:p>
        </p:txBody>
      </p:sp>
      <p:sp>
        <p:nvSpPr>
          <p:cNvPr id="52" name="TextBox 51">
            <a:extLst>
              <a:ext uri="{FF2B5EF4-FFF2-40B4-BE49-F238E27FC236}">
                <a16:creationId xmlns:a16="http://schemas.microsoft.com/office/drawing/2014/main" id="{93481B30-5889-4FEF-8118-35EB13F284ED}"/>
              </a:ext>
            </a:extLst>
          </p:cNvPr>
          <p:cNvSpPr txBox="1"/>
          <p:nvPr/>
        </p:nvSpPr>
        <p:spPr>
          <a:xfrm>
            <a:off x="1431209" y="1195135"/>
            <a:ext cx="1361421" cy="215444"/>
          </a:xfrm>
          <a:prstGeom prst="rect">
            <a:avLst/>
          </a:prstGeom>
          <a:noFill/>
        </p:spPr>
        <p:txBody>
          <a:bodyPr wrap="square" lIns="0" tIns="0" rIns="0" bIns="0" rtlCol="0">
            <a:spAutoFit/>
          </a:bodyPr>
          <a:lstStyle/>
          <a:p>
            <a:pPr marL="0" marR="0" lvl="1" indent="0" algn="l" defTabSz="68559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A44"/>
                </a:solidFill>
                <a:effectLst/>
                <a:uLnTx/>
                <a:uFillTx/>
                <a:latin typeface="Verdana"/>
                <a:ea typeface="Open Sans Semibold" panose="020B0606030504020204" pitchFamily="34" charset="0"/>
                <a:cs typeface="Open Sans Semibold" panose="020B0606030504020204" pitchFamily="34" charset="0"/>
              </a:rPr>
              <a:t>Opportunity</a:t>
            </a:r>
          </a:p>
        </p:txBody>
      </p:sp>
      <p:sp>
        <p:nvSpPr>
          <p:cNvPr id="53" name="TextBox 52">
            <a:extLst>
              <a:ext uri="{FF2B5EF4-FFF2-40B4-BE49-F238E27FC236}">
                <a16:creationId xmlns:a16="http://schemas.microsoft.com/office/drawing/2014/main" id="{EAC373E4-8E78-4564-A9AF-831951C39FAF}"/>
              </a:ext>
            </a:extLst>
          </p:cNvPr>
          <p:cNvSpPr txBox="1"/>
          <p:nvPr/>
        </p:nvSpPr>
        <p:spPr>
          <a:xfrm>
            <a:off x="6447097" y="1154610"/>
            <a:ext cx="1926597" cy="215444"/>
          </a:xfrm>
          <a:prstGeom prst="rect">
            <a:avLst/>
          </a:prstGeom>
          <a:noFill/>
        </p:spPr>
        <p:txBody>
          <a:bodyPr wrap="square" lIns="0" tIns="0" rIns="0" bIns="0" rtlCol="0">
            <a:spAutoFit/>
          </a:bodyPr>
          <a:lstStyle/>
          <a:p>
            <a:pPr marL="0" marR="0" lvl="1" indent="0" algn="ctr" defTabSz="68559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A44"/>
                </a:solidFill>
                <a:effectLst/>
                <a:uLnTx/>
                <a:uFillTx/>
                <a:latin typeface="Verdana"/>
                <a:ea typeface="Open Sans Semibold" panose="020B0606030504020204" pitchFamily="34" charset="0"/>
                <a:cs typeface="Open Sans Semibold" panose="020B0606030504020204" pitchFamily="34" charset="0"/>
              </a:rPr>
              <a:t>Solution</a:t>
            </a:r>
          </a:p>
        </p:txBody>
      </p:sp>
      <p:sp>
        <p:nvSpPr>
          <p:cNvPr id="3" name="Title 2">
            <a:extLst>
              <a:ext uri="{FF2B5EF4-FFF2-40B4-BE49-F238E27FC236}">
                <a16:creationId xmlns:a16="http://schemas.microsoft.com/office/drawing/2014/main" id="{D1D3642C-8FF4-4F12-B994-831E03F74338}"/>
              </a:ext>
            </a:extLst>
          </p:cNvPr>
          <p:cNvSpPr>
            <a:spLocks noGrp="1"/>
          </p:cNvSpPr>
          <p:nvPr>
            <p:ph type="title"/>
          </p:nvPr>
        </p:nvSpPr>
        <p:spPr>
          <a:xfrm>
            <a:off x="818752" y="443493"/>
            <a:ext cx="8469630" cy="637794"/>
          </a:xfrm>
        </p:spPr>
        <p:txBody>
          <a:bodyPr>
            <a:normAutofit fontScale="90000"/>
          </a:bodyPr>
          <a:lstStyle/>
          <a:p>
            <a:r>
              <a:rPr lang="en-US" dirty="0"/>
              <a:t>Need For an Enterprise-Wide PLS                   Optimization Solution</a:t>
            </a:r>
          </a:p>
        </p:txBody>
      </p:sp>
      <p:sp>
        <p:nvSpPr>
          <p:cNvPr id="27" name="Slide Number Placeholder 2">
            <a:extLst>
              <a:ext uri="{FF2B5EF4-FFF2-40B4-BE49-F238E27FC236}">
                <a16:creationId xmlns:a16="http://schemas.microsoft.com/office/drawing/2014/main" id="{8A04DD14-02CD-4102-B4E6-E4A15381F0A7}"/>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2</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2951267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A5FEF247-BA36-44B3-A451-093DE6B71758}"/>
              </a:ext>
            </a:extLst>
          </p:cNvPr>
          <p:cNvSpPr>
            <a:spLocks noGrp="1"/>
          </p:cNvSpPr>
          <p:nvPr>
            <p:ph idx="1"/>
          </p:nvPr>
        </p:nvSpPr>
        <p:spPr>
          <a:xfrm>
            <a:off x="255435" y="1241276"/>
            <a:ext cx="8421477" cy="2537460"/>
          </a:xfrm>
        </p:spPr>
        <p:txBody>
          <a:bodyPr>
            <a:normAutofit/>
          </a:bodyPr>
          <a:lstStyle/>
          <a:p>
            <a:r>
              <a:rPr lang="en-US" sz="1600" dirty="0"/>
              <a:t>Bespoke online tool specifically designed to assess health literacy quality of publication PLS</a:t>
            </a:r>
          </a:p>
          <a:p>
            <a:r>
              <a:rPr lang="en-US" sz="1600" dirty="0"/>
              <a:t>Available to Pfizer colleagues and agency partners involved in the development of PLS</a:t>
            </a:r>
          </a:p>
          <a:p>
            <a:r>
              <a:rPr lang="en-US" sz="1600" dirty="0"/>
              <a:t>Identifies up to 36 ‘deviations’ to health literacy principles</a:t>
            </a:r>
          </a:p>
          <a:p>
            <a:r>
              <a:rPr lang="en-US" sz="1600" dirty="0"/>
              <a:t>Includes a mix of required and optional checks, allowing users flexibility to customize which checks are applied to each document</a:t>
            </a:r>
          </a:p>
          <a:p>
            <a:endParaRPr lang="en-US" sz="1600" dirty="0"/>
          </a:p>
        </p:txBody>
      </p:sp>
      <p:pic>
        <p:nvPicPr>
          <p:cNvPr id="19" name="Picture 18" descr="Graphical user interface, text, application, email&#10;&#10;Description automatically generated">
            <a:extLst>
              <a:ext uri="{FF2B5EF4-FFF2-40B4-BE49-F238E27FC236}">
                <a16:creationId xmlns:a16="http://schemas.microsoft.com/office/drawing/2014/main" id="{FCEE8D86-C4EE-40FA-B8C8-009F2E594C17}"/>
              </a:ext>
            </a:extLst>
          </p:cNvPr>
          <p:cNvPicPr>
            <a:picLocks noChangeAspect="1"/>
          </p:cNvPicPr>
          <p:nvPr/>
        </p:nvPicPr>
        <p:blipFill>
          <a:blip r:embed="rId2"/>
          <a:stretch>
            <a:fillRect/>
          </a:stretch>
        </p:blipFill>
        <p:spPr>
          <a:xfrm>
            <a:off x="2248525" y="2808580"/>
            <a:ext cx="4407108" cy="2082358"/>
          </a:xfrm>
          <a:prstGeom prst="rect">
            <a:avLst/>
          </a:prstGeom>
          <a:noFill/>
          <a:effectLst>
            <a:outerShdw blurRad="63500" sx="102000" sy="102000" algn="ctr" rotWithShape="0">
              <a:prstClr val="black">
                <a:alpha val="40000"/>
              </a:prstClr>
            </a:outerShdw>
          </a:effectLst>
        </p:spPr>
      </p:pic>
      <p:sp>
        <p:nvSpPr>
          <p:cNvPr id="3" name="Title 2">
            <a:extLst>
              <a:ext uri="{FF2B5EF4-FFF2-40B4-BE49-F238E27FC236}">
                <a16:creationId xmlns:a16="http://schemas.microsoft.com/office/drawing/2014/main" id="{DB5E5871-7E9D-4823-A2F5-47BFEA3D6C68}"/>
              </a:ext>
            </a:extLst>
          </p:cNvPr>
          <p:cNvSpPr>
            <a:spLocks noGrp="1"/>
          </p:cNvSpPr>
          <p:nvPr>
            <p:ph type="title"/>
          </p:nvPr>
        </p:nvSpPr>
        <p:spPr>
          <a:xfrm>
            <a:off x="489995" y="59945"/>
            <a:ext cx="7462661" cy="941541"/>
          </a:xfrm>
        </p:spPr>
        <p:txBody>
          <a:bodyPr/>
          <a:lstStyle/>
          <a:p>
            <a:r>
              <a:rPr lang="en-US" dirty="0"/>
              <a:t>Launched PLS Health Literacy Tool</a:t>
            </a:r>
          </a:p>
        </p:txBody>
      </p:sp>
      <p:sp>
        <p:nvSpPr>
          <p:cNvPr id="5" name="Slide Number Placeholder 2">
            <a:extLst>
              <a:ext uri="{FF2B5EF4-FFF2-40B4-BE49-F238E27FC236}">
                <a16:creationId xmlns:a16="http://schemas.microsoft.com/office/drawing/2014/main" id="{641211B6-615F-422B-BE76-FA37DDAE57AA}"/>
              </a:ext>
            </a:extLst>
          </p:cNvPr>
          <p:cNvSpPr txBox="1">
            <a:spLocks/>
          </p:cNvSpPr>
          <p:nvPr/>
        </p:nvSpPr>
        <p:spPr>
          <a:xfrm>
            <a:off x="6985487" y="59945"/>
            <a:ext cx="2057400" cy="273844"/>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r">
              <a:defRPr/>
            </a:pPr>
            <a:fld id="{42AD0A0E-4515-A647-B2E3-7F1B29FB990E}" type="slidenum">
              <a:rPr lang="en-US" sz="900" smtClean="0">
                <a:solidFill>
                  <a:prstClr val="black"/>
                </a:solidFill>
                <a:latin typeface="Franklin Gothic Book" panose="020B0503020102020204"/>
              </a:rPr>
              <a:pPr algn="r">
                <a:defRPr/>
              </a:pPr>
              <a:t>53</a:t>
            </a:fld>
            <a:endParaRPr lang="en-US" sz="900" dirty="0">
              <a:solidFill>
                <a:prstClr val="black"/>
              </a:solidFill>
              <a:latin typeface="Franklin Gothic Book" panose="020B0503020102020204"/>
            </a:endParaRPr>
          </a:p>
        </p:txBody>
      </p:sp>
    </p:spTree>
    <p:extLst>
      <p:ext uri="{BB962C8B-B14F-4D97-AF65-F5344CB8AC3E}">
        <p14:creationId xmlns:p14="http://schemas.microsoft.com/office/powerpoint/2010/main" val="3140768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p:txBody>
          <a:bodyPr>
            <a:normAutofit fontScale="90000"/>
          </a:bodyPr>
          <a:lstStyle/>
          <a:p>
            <a:r>
              <a:rPr lang="en-US" dirty="0"/>
              <a:t>Do plain language summaries encourage readers to access your publication?</a:t>
            </a:r>
            <a:br>
              <a:rPr lang="en-US" dirty="0"/>
            </a:br>
            <a:r>
              <a:rPr lang="en-US" dirty="0"/>
              <a:t>A pilot study</a:t>
            </a:r>
          </a:p>
        </p:txBody>
      </p:sp>
      <p:sp>
        <p:nvSpPr>
          <p:cNvPr id="6" name="Text Placeholder 5">
            <a:extLst>
              <a:ext uri="{FF2B5EF4-FFF2-40B4-BE49-F238E27FC236}">
                <a16:creationId xmlns:a16="http://schemas.microsoft.com/office/drawing/2014/main" id="{5992C889-06EC-4A3C-949B-CB79887518ED}"/>
              </a:ext>
            </a:extLst>
          </p:cNvPr>
          <p:cNvSpPr>
            <a:spLocks noGrp="1"/>
          </p:cNvSpPr>
          <p:nvPr>
            <p:ph type="body" idx="1"/>
          </p:nvPr>
        </p:nvSpPr>
        <p:spPr>
          <a:xfrm>
            <a:off x="2799345" y="4501218"/>
            <a:ext cx="4638503" cy="627867"/>
          </a:xfrm>
        </p:spPr>
        <p:txBody>
          <a:bodyPr>
            <a:normAutofit/>
          </a:bodyPr>
          <a:lstStyle/>
          <a:p>
            <a:r>
              <a:rPr lang="en-US" sz="1100" b="0" dirty="0">
                <a:effectLst/>
                <a:ea typeface="Times New Roman" panose="02020603050405020304" pitchFamily="18" charset="0"/>
                <a:cs typeface="Calibri" panose="020F0502020204030204" pitchFamily="34" charset="0"/>
              </a:rPr>
              <a:t>Steve </a:t>
            </a:r>
            <a:r>
              <a:rPr lang="en-US" sz="1100" b="0" dirty="0" err="1">
                <a:effectLst/>
                <a:ea typeface="Times New Roman" panose="02020603050405020304" pitchFamily="18" charset="0"/>
                <a:cs typeface="Calibri" panose="020F0502020204030204" pitchFamily="34" charset="0"/>
              </a:rPr>
              <a:t>Winter</a:t>
            </a:r>
            <a:r>
              <a:rPr lang="en-US" sz="1100" b="0" baseline="30000" dirty="0" err="1">
                <a:effectLst/>
                <a:ea typeface="Times New Roman" panose="02020603050405020304" pitchFamily="18" charset="0"/>
                <a:cs typeface="Calibri" panose="020F0502020204030204" pitchFamily="34" charset="0"/>
              </a:rPr>
              <a:t>a</a:t>
            </a:r>
            <a:r>
              <a:rPr lang="en-US" sz="1100" b="0" dirty="0">
                <a:effectLst/>
                <a:ea typeface="Times New Roman" panose="02020603050405020304" pitchFamily="18" charset="0"/>
                <a:cs typeface="Calibri" panose="020F0502020204030204" pitchFamily="34" charset="0"/>
              </a:rPr>
              <a:t>, </a:t>
            </a:r>
            <a:r>
              <a:rPr lang="en-US" sz="1100" b="0" u="sng" dirty="0">
                <a:effectLst/>
                <a:ea typeface="Times New Roman" panose="02020603050405020304" pitchFamily="18" charset="0"/>
                <a:cs typeface="Calibri" panose="020F0502020204030204" pitchFamily="34" charset="0"/>
              </a:rPr>
              <a:t>Caroline </a:t>
            </a:r>
            <a:r>
              <a:rPr lang="en-US" sz="1100" b="0" u="sng" dirty="0" err="1">
                <a:effectLst/>
                <a:ea typeface="Times New Roman" panose="02020603050405020304" pitchFamily="18" charset="0"/>
                <a:cs typeface="Calibri" panose="020F0502020204030204" pitchFamily="34" charset="0"/>
              </a:rPr>
              <a:t>Halford</a:t>
            </a:r>
            <a:r>
              <a:rPr lang="en-US" sz="1100" b="0" u="sng" baseline="30000" dirty="0" err="1">
                <a:effectLst/>
                <a:ea typeface="Times New Roman" panose="02020603050405020304" pitchFamily="18" charset="0"/>
                <a:cs typeface="Calibri" panose="020F0502020204030204" pitchFamily="34" charset="0"/>
              </a:rPr>
              <a:t>b</a:t>
            </a:r>
            <a:r>
              <a:rPr lang="en-US" sz="1100" b="0" dirty="0">
                <a:effectLst/>
                <a:ea typeface="Times New Roman" panose="02020603050405020304" pitchFamily="18" charset="0"/>
                <a:cs typeface="Calibri" panose="020F0502020204030204" pitchFamily="34" charset="0"/>
              </a:rPr>
              <a:t>, Mel </a:t>
            </a:r>
            <a:r>
              <a:rPr lang="en-US" sz="1100" b="0" dirty="0" err="1">
                <a:effectLst/>
                <a:ea typeface="Times New Roman" panose="02020603050405020304" pitchFamily="18" charset="0"/>
                <a:cs typeface="Calibri" panose="020F0502020204030204" pitchFamily="34" charset="0"/>
              </a:rPr>
              <a:t>West</a:t>
            </a:r>
            <a:r>
              <a:rPr lang="en-US" sz="1100" b="0" baseline="30000" dirty="0" err="1">
                <a:effectLst/>
                <a:ea typeface="Times New Roman" panose="02020603050405020304" pitchFamily="18" charset="0"/>
                <a:cs typeface="Calibri" panose="020F0502020204030204" pitchFamily="34" charset="0"/>
              </a:rPr>
              <a:t>a</a:t>
            </a:r>
            <a:r>
              <a:rPr lang="en-US" sz="1100" b="0" dirty="0">
                <a:effectLst/>
                <a:ea typeface="Times New Roman" panose="02020603050405020304" pitchFamily="18" charset="0"/>
                <a:cs typeface="Calibri" panose="020F0502020204030204" pitchFamily="34" charset="0"/>
              </a:rPr>
              <a:t> and Matt </a:t>
            </a:r>
            <a:r>
              <a:rPr lang="en-US" sz="1100" b="0" dirty="0" err="1">
                <a:effectLst/>
                <a:ea typeface="Times New Roman" panose="02020603050405020304" pitchFamily="18" charset="0"/>
                <a:cs typeface="Calibri" panose="020F0502020204030204" pitchFamily="34" charset="0"/>
              </a:rPr>
              <a:t>Evans</a:t>
            </a:r>
            <a:r>
              <a:rPr lang="en-US" sz="1100" b="0" baseline="30000" dirty="0" err="1">
                <a:effectLst/>
                <a:ea typeface="Times New Roman" panose="02020603050405020304" pitchFamily="18" charset="0"/>
                <a:cs typeface="Calibri" panose="020F0502020204030204" pitchFamily="34" charset="0"/>
              </a:rPr>
              <a:t>b</a:t>
            </a:r>
            <a:r>
              <a:rPr lang="en-US" sz="1100" b="0" dirty="0">
                <a:effectLst/>
                <a:ea typeface="Times New Roman" panose="02020603050405020304" pitchFamily="18" charset="0"/>
                <a:cs typeface="Calibri" panose="020F0502020204030204" pitchFamily="34" charset="0"/>
              </a:rPr>
              <a:t>                          </a:t>
            </a:r>
            <a:r>
              <a:rPr lang="en-US" sz="1100" b="0" baseline="30000" dirty="0" err="1">
                <a:effectLst/>
                <a:ea typeface="Times New Roman" panose="02020603050405020304" pitchFamily="18" charset="0"/>
                <a:cs typeface="Calibri" panose="020F0502020204030204" pitchFamily="34" charset="0"/>
              </a:rPr>
              <a:t>a</a:t>
            </a:r>
            <a:r>
              <a:rPr lang="en-US" sz="1100" b="0" dirty="0" err="1">
                <a:effectLst/>
                <a:ea typeface="Times New Roman" panose="02020603050405020304" pitchFamily="18" charset="0"/>
                <a:cs typeface="Calibri" panose="020F0502020204030204" pitchFamily="34" charset="0"/>
              </a:rPr>
              <a:t>inScience</a:t>
            </a:r>
            <a:r>
              <a:rPr lang="en-US" sz="1100" b="0" dirty="0">
                <a:effectLst/>
                <a:ea typeface="Times New Roman" panose="02020603050405020304" pitchFamily="18" charset="0"/>
                <a:cs typeface="Calibri" panose="020F0502020204030204" pitchFamily="34" charset="0"/>
              </a:rPr>
              <a:t> Communications, Springer Healthcare Ltd, Chester, UK</a:t>
            </a:r>
            <a:br>
              <a:rPr lang="en-US" sz="1100" b="0" dirty="0">
                <a:effectLst/>
                <a:ea typeface="Times New Roman" panose="02020603050405020304" pitchFamily="18" charset="0"/>
                <a:cs typeface="Calibri" panose="020F0502020204030204" pitchFamily="34" charset="0"/>
              </a:rPr>
            </a:br>
            <a:r>
              <a:rPr lang="en-US" sz="1100" b="0" baseline="30000" dirty="0" err="1">
                <a:effectLst/>
                <a:ea typeface="Times New Roman" panose="02020603050405020304" pitchFamily="18" charset="0"/>
                <a:cs typeface="Calibri" panose="020F0502020204030204" pitchFamily="34" charset="0"/>
              </a:rPr>
              <a:t>b</a:t>
            </a:r>
            <a:r>
              <a:rPr lang="en-US" sz="1100" b="0" dirty="0" err="1">
                <a:effectLst/>
                <a:ea typeface="Times New Roman" panose="02020603050405020304" pitchFamily="18" charset="0"/>
                <a:cs typeface="Calibri" panose="020F0502020204030204" pitchFamily="34" charset="0"/>
              </a:rPr>
              <a:t>Adis</a:t>
            </a:r>
            <a:r>
              <a:rPr lang="en-US" sz="1100" b="0" dirty="0">
                <a:effectLst/>
                <a:ea typeface="Times New Roman" panose="02020603050405020304" pitchFamily="18" charset="0"/>
                <a:cs typeface="Calibri" panose="020F0502020204030204" pitchFamily="34" charset="0"/>
              </a:rPr>
              <a:t>, Springer Healthcare Ltd, Chester, UK</a:t>
            </a:r>
          </a:p>
          <a:p>
            <a:pPr algn="r"/>
            <a:endParaRPr lang="en-US" sz="2000" dirty="0">
              <a:effectLst/>
              <a:latin typeface="+mj-lt"/>
              <a:ea typeface="Times New Roman" panose="02020603050405020304" pitchFamily="18" charset="0"/>
            </a:endParaRPr>
          </a:p>
          <a:p>
            <a:pPr algn="r"/>
            <a:endParaRPr lang="en-US" sz="2000" dirty="0">
              <a:effectLst/>
              <a:latin typeface="+mj-lt"/>
              <a:ea typeface="Times New Roman" panose="02020603050405020304" pitchFamily="18" charset="0"/>
              <a:cs typeface="Arial" panose="020B0604020202020204" pitchFamily="34" charset="0"/>
            </a:endParaRPr>
          </a:p>
          <a:p>
            <a:pPr algn="r"/>
            <a:endParaRPr lang="en-US" sz="2000" dirty="0"/>
          </a:p>
          <a:p>
            <a:endParaRPr lang="en-US" dirty="0"/>
          </a:p>
        </p:txBody>
      </p:sp>
      <p:sp>
        <p:nvSpPr>
          <p:cNvPr id="7" name="Text Placeholder 5">
            <a:extLst>
              <a:ext uri="{FF2B5EF4-FFF2-40B4-BE49-F238E27FC236}">
                <a16:creationId xmlns:a16="http://schemas.microsoft.com/office/drawing/2014/main" id="{AFEB938F-8880-40A7-B47C-C33D4EFC147D}"/>
              </a:ext>
            </a:extLst>
          </p:cNvPr>
          <p:cNvSpPr txBox="1">
            <a:spLocks/>
          </p:cNvSpPr>
          <p:nvPr/>
        </p:nvSpPr>
        <p:spPr>
          <a:xfrm>
            <a:off x="2799345" y="3247491"/>
            <a:ext cx="5719263" cy="1100065"/>
          </a:xfrm>
          <a:prstGeom prst="rect">
            <a:avLst/>
          </a:prstGeom>
        </p:spPr>
        <p:txBody>
          <a:bodyPr vert="horz" lIns="91440" tIns="45720" rIns="91440" bIns="45720" rtlCol="0">
            <a:normAutofit/>
          </a:bodyPr>
          <a:lstStyle>
            <a:lvl1pPr marL="0" indent="0" algn="l" defTabSz="685800" rtl="0" eaLnBrk="1" latinLnBrk="0" hangingPunct="1">
              <a:lnSpc>
                <a:spcPct val="90000"/>
              </a:lnSpc>
              <a:spcBef>
                <a:spcPts val="750"/>
              </a:spcBef>
              <a:buClr>
                <a:srgbClr val="F28C11"/>
              </a:buClr>
              <a:buFont typeface="Arial" panose="020B0604020202020204" pitchFamily="34" charset="0"/>
              <a:buNone/>
              <a:defRPr sz="2400" b="1" i="0" kern="1200">
                <a:solidFill>
                  <a:schemeClr val="tx1"/>
                </a:solidFill>
                <a:latin typeface="+mn-lt"/>
                <a:ea typeface="+mn-ea"/>
                <a:cs typeface="+mn-cs"/>
              </a:defRPr>
            </a:lvl1pPr>
            <a:lvl2pPr marL="342900" indent="0" algn="l" defTabSz="685800" rtl="0" eaLnBrk="1" latinLnBrk="0" hangingPunct="1">
              <a:lnSpc>
                <a:spcPct val="90000"/>
              </a:lnSpc>
              <a:spcBef>
                <a:spcPts val="375"/>
              </a:spcBef>
              <a:buClr>
                <a:srgbClr val="F28C11"/>
              </a:buClr>
              <a:buFont typeface=".AppleSystemUIFont" charset="-120"/>
              <a:buNone/>
              <a:tabLst/>
              <a:defRPr sz="1500" kern="1200">
                <a:solidFill>
                  <a:schemeClr val="tx1">
                    <a:tint val="75000"/>
                  </a:schemeClr>
                </a:solidFill>
                <a:latin typeface="+mn-lt"/>
                <a:ea typeface="+mn-ea"/>
                <a:cs typeface="+mn-cs"/>
              </a:defRPr>
            </a:lvl2pPr>
            <a:lvl3pPr marL="685800" indent="0" algn="l" defTabSz="685800" rtl="0" eaLnBrk="1" latinLnBrk="0" hangingPunct="1">
              <a:lnSpc>
                <a:spcPct val="90000"/>
              </a:lnSpc>
              <a:spcBef>
                <a:spcPts val="375"/>
              </a:spcBef>
              <a:buClr>
                <a:srgbClr val="F28C11"/>
              </a:buClr>
              <a:buFont typeface="Wingdings" charset="2"/>
              <a:buNone/>
              <a:tabLst/>
              <a:defRPr sz="1350" kern="1200">
                <a:solidFill>
                  <a:schemeClr val="tx1">
                    <a:tint val="75000"/>
                  </a:schemeClr>
                </a:solidFill>
                <a:latin typeface="+mn-lt"/>
                <a:ea typeface="+mn-ea"/>
                <a:cs typeface="+mn-cs"/>
              </a:defRPr>
            </a:lvl3pPr>
            <a:lvl4pPr marL="1028700" indent="0" algn="l" defTabSz="685800" rtl="0" eaLnBrk="1" latinLnBrk="0" hangingPunct="1">
              <a:lnSpc>
                <a:spcPct val="90000"/>
              </a:lnSpc>
              <a:spcBef>
                <a:spcPts val="375"/>
              </a:spcBef>
              <a:buClr>
                <a:srgbClr val="F28C11"/>
              </a:buClr>
              <a:buFont typeface="Arial" panose="020B0604020202020204" pitchFamily="34" charset="0"/>
              <a:buNone/>
              <a:tabLst/>
              <a:defRPr sz="1200" kern="1200">
                <a:solidFill>
                  <a:schemeClr val="tx1">
                    <a:tint val="75000"/>
                  </a:schemeClr>
                </a:solidFill>
                <a:latin typeface="+mn-lt"/>
                <a:ea typeface="+mn-ea"/>
                <a:cs typeface="+mn-cs"/>
              </a:defRPr>
            </a:lvl4pPr>
            <a:lvl5pPr marL="1371600" indent="0" algn="l" defTabSz="685800" rtl="0" eaLnBrk="1" latinLnBrk="0" hangingPunct="1">
              <a:lnSpc>
                <a:spcPct val="90000"/>
              </a:lnSpc>
              <a:spcBef>
                <a:spcPts val="375"/>
              </a:spcBef>
              <a:buClr>
                <a:srgbClr val="F28C11"/>
              </a:buClr>
              <a:buFont typeface="Courier New" charset="0"/>
              <a:buNone/>
              <a:tabLst/>
              <a:defRPr sz="1200" kern="1200">
                <a:solidFill>
                  <a:schemeClr val="tx1">
                    <a:tint val="75000"/>
                  </a:schemeClr>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pPr algn="r"/>
            <a:r>
              <a:rPr lang="en-US" dirty="0">
                <a:ea typeface="Times New Roman" panose="02020603050405020304" pitchFamily="18" charset="0"/>
                <a:cs typeface="Calibri" panose="020F0502020204030204" pitchFamily="34" charset="0"/>
              </a:rPr>
              <a:t>Caroline Halford                                               </a:t>
            </a:r>
            <a:r>
              <a:rPr lang="en-US" dirty="0">
                <a:effectLst/>
                <a:ea typeface="Times New Roman" panose="02020603050405020304" pitchFamily="18" charset="0"/>
                <a:cs typeface="Times New Roman" panose="02020603050405020304" pitchFamily="18" charset="0"/>
              </a:rPr>
              <a:t>Digital Publishing Manager                          </a:t>
            </a:r>
            <a:r>
              <a:rPr lang="en-US" dirty="0" err="1">
                <a:effectLst/>
                <a:ea typeface="Times New Roman" panose="02020603050405020304" pitchFamily="18" charset="0"/>
                <a:cs typeface="Times New Roman" panose="02020603050405020304" pitchFamily="18" charset="0"/>
              </a:rPr>
              <a:t>ADIS│Springer</a:t>
            </a:r>
            <a:r>
              <a:rPr lang="en-US" dirty="0">
                <a:effectLst/>
                <a:ea typeface="Times New Roman" panose="02020603050405020304" pitchFamily="18" charset="0"/>
                <a:cs typeface="Times New Roman" panose="02020603050405020304" pitchFamily="18" charset="0"/>
              </a:rPr>
              <a:t> Healthcare</a:t>
            </a:r>
            <a:endParaRPr lang="en-US" dirty="0">
              <a:ea typeface="Times New Roman" panose="02020603050405020304" pitchFamily="18" charset="0"/>
              <a:cs typeface="Calibri" panose="020F0502020204030204" pitchFamily="34" charset="0"/>
            </a:endParaRPr>
          </a:p>
          <a:p>
            <a:pPr algn="r"/>
            <a:endParaRPr lang="en-US" b="0" dirty="0">
              <a:ea typeface="Times New Roman" panose="02020603050405020304" pitchFamily="18" charset="0"/>
            </a:endParaRPr>
          </a:p>
          <a:p>
            <a:pPr algn="r"/>
            <a:endParaRPr lang="en-US" sz="2000" dirty="0">
              <a:latin typeface="+mj-lt"/>
              <a:ea typeface="Times New Roman" panose="02020603050405020304" pitchFamily="18" charset="0"/>
              <a:cs typeface="Arial" panose="020B0604020202020204" pitchFamily="34" charset="0"/>
            </a:endParaRPr>
          </a:p>
          <a:p>
            <a:pPr algn="r"/>
            <a:endParaRPr lang="en-US" sz="2000" dirty="0"/>
          </a:p>
          <a:p>
            <a:endParaRPr lang="en-US" dirty="0"/>
          </a:p>
        </p:txBody>
      </p:sp>
    </p:spTree>
    <p:extLst>
      <p:ext uri="{BB962C8B-B14F-4D97-AF65-F5344CB8AC3E}">
        <p14:creationId xmlns:p14="http://schemas.microsoft.com/office/powerpoint/2010/main" val="397561569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E37DEF-6A74-AB46-A9ED-A07D277F0895}"/>
              </a:ext>
            </a:extLst>
          </p:cNvPr>
          <p:cNvSpPr>
            <a:spLocks noGrp="1"/>
          </p:cNvSpPr>
          <p:nvPr>
            <p:ph type="title"/>
          </p:nvPr>
        </p:nvSpPr>
        <p:spPr/>
        <p:txBody>
          <a:bodyPr/>
          <a:lstStyle/>
          <a:p>
            <a:r>
              <a:rPr lang="en-US" dirty="0"/>
              <a:t>Objective</a:t>
            </a:r>
          </a:p>
        </p:txBody>
      </p:sp>
      <p:sp>
        <p:nvSpPr>
          <p:cNvPr id="5" name="Content Placeholder 4">
            <a:extLst>
              <a:ext uri="{FF2B5EF4-FFF2-40B4-BE49-F238E27FC236}">
                <a16:creationId xmlns:a16="http://schemas.microsoft.com/office/drawing/2014/main" id="{71F603FB-09DB-AC40-9797-F8D6D42A37D5}"/>
              </a:ext>
            </a:extLst>
          </p:cNvPr>
          <p:cNvSpPr>
            <a:spLocks noGrp="1"/>
          </p:cNvSpPr>
          <p:nvPr>
            <p:ph sz="half" idx="1"/>
          </p:nvPr>
        </p:nvSpPr>
        <p:spPr>
          <a:xfrm>
            <a:off x="469544" y="1255571"/>
            <a:ext cx="3787902" cy="3263504"/>
          </a:xfrm>
        </p:spPr>
        <p:txBody>
          <a:bodyPr>
            <a:normAutofit/>
          </a:bodyPr>
          <a:lstStyle/>
          <a:p>
            <a:pPr marL="257175" lvl="3" indent="-257175">
              <a:lnSpc>
                <a:spcPct val="100000"/>
              </a:lnSpc>
              <a:spcBef>
                <a:spcPts val="1350"/>
              </a:spcBef>
            </a:pPr>
            <a:r>
              <a:rPr lang="en-GB" sz="1800" dirty="0">
                <a:solidFill>
                  <a:schemeClr val="tx2"/>
                </a:solidFill>
              </a:rPr>
              <a:t>There has been significant growth in the number of articles published with a PLS</a:t>
            </a:r>
            <a:r>
              <a:rPr lang="en-GB" sz="1800" baseline="30000" dirty="0">
                <a:solidFill>
                  <a:schemeClr val="tx2"/>
                </a:solidFill>
              </a:rPr>
              <a:t>1</a:t>
            </a:r>
            <a:r>
              <a:rPr lang="en-GB" sz="1800" dirty="0">
                <a:solidFill>
                  <a:schemeClr val="tx2"/>
                </a:solidFill>
              </a:rPr>
              <a:t> </a:t>
            </a:r>
          </a:p>
          <a:p>
            <a:pPr marL="257175" lvl="3" indent="-257175">
              <a:lnSpc>
                <a:spcPct val="100000"/>
              </a:lnSpc>
              <a:spcBef>
                <a:spcPts val="1350"/>
              </a:spcBef>
            </a:pPr>
            <a:r>
              <a:rPr lang="en-GB" sz="1800" dirty="0">
                <a:solidFill>
                  <a:schemeClr val="tx2"/>
                </a:solidFill>
              </a:rPr>
              <a:t>To our knowledge, no studies have explored whether PLS </a:t>
            </a:r>
            <a:r>
              <a:rPr lang="en-GB" sz="1800" i="1" u="sng" dirty="0">
                <a:solidFill>
                  <a:schemeClr val="tx2"/>
                </a:solidFill>
              </a:rPr>
              <a:t>increase the impact</a:t>
            </a:r>
            <a:r>
              <a:rPr lang="en-GB" sz="1800" u="sng" dirty="0">
                <a:solidFill>
                  <a:schemeClr val="tx2"/>
                </a:solidFill>
              </a:rPr>
              <a:t> </a:t>
            </a:r>
            <a:r>
              <a:rPr lang="en-GB" sz="1800" dirty="0">
                <a:solidFill>
                  <a:schemeClr val="tx2"/>
                </a:solidFill>
              </a:rPr>
              <a:t>of published research </a:t>
            </a:r>
          </a:p>
          <a:p>
            <a:pPr marL="257175" lvl="3" indent="-257175">
              <a:lnSpc>
                <a:spcPct val="100000"/>
              </a:lnSpc>
              <a:spcBef>
                <a:spcPts val="1350"/>
              </a:spcBef>
            </a:pPr>
            <a:r>
              <a:rPr lang="en-GB" sz="1800" dirty="0">
                <a:solidFill>
                  <a:schemeClr val="tx2"/>
                </a:solidFill>
              </a:rPr>
              <a:t>We investigated whether articles with PLS are </a:t>
            </a:r>
            <a:r>
              <a:rPr lang="en-GB" sz="1800" u="sng" dirty="0">
                <a:solidFill>
                  <a:schemeClr val="tx2"/>
                </a:solidFill>
              </a:rPr>
              <a:t>accessed more often </a:t>
            </a:r>
            <a:r>
              <a:rPr lang="en-GB" sz="1800" dirty="0">
                <a:solidFill>
                  <a:schemeClr val="tx2"/>
                </a:solidFill>
              </a:rPr>
              <a:t>than similar articles without PLS</a:t>
            </a:r>
          </a:p>
          <a:p>
            <a:pPr marL="257175" lvl="3" indent="-257175">
              <a:lnSpc>
                <a:spcPct val="100000"/>
              </a:lnSpc>
              <a:spcBef>
                <a:spcPts val="1350"/>
              </a:spcBef>
              <a:buClr>
                <a:schemeClr val="tx2"/>
              </a:buClr>
            </a:pPr>
            <a:endParaRPr lang="en-US" dirty="0"/>
          </a:p>
        </p:txBody>
      </p:sp>
      <p:graphicFrame>
        <p:nvGraphicFramePr>
          <p:cNvPr id="8" name="Content Placeholder 7"/>
          <p:cNvGraphicFramePr>
            <a:graphicFrameLocks noGrp="1"/>
          </p:cNvGraphicFramePr>
          <p:nvPr>
            <p:ph sz="half" idx="2"/>
          </p:nvPr>
        </p:nvGraphicFramePr>
        <p:xfrm>
          <a:off x="4940877" y="1193701"/>
          <a:ext cx="3379034" cy="2956847"/>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p:cNvSpPr/>
          <p:nvPr/>
        </p:nvSpPr>
        <p:spPr>
          <a:xfrm>
            <a:off x="249382" y="4404633"/>
            <a:ext cx="9382991" cy="577081"/>
          </a:xfrm>
          <a:prstGeom prst="rect">
            <a:avLst/>
          </a:prstGeom>
        </p:spPr>
        <p:txBody>
          <a:bodyPr wrap="square">
            <a:spAutoFit/>
          </a:bodyPr>
          <a:lstStyle/>
          <a:p>
            <a:pPr marL="0" marR="0" lvl="0" indent="0" algn="l" defTabSz="3992166" rtl="0" eaLnBrk="1" fontAlgn="auto" latinLnBrk="0" hangingPunct="1">
              <a:lnSpc>
                <a:spcPct val="100000"/>
              </a:lnSpc>
              <a:spcBef>
                <a:spcPts val="0"/>
              </a:spcBef>
              <a:spcAft>
                <a:spcPts val="450"/>
              </a:spcAft>
              <a:buClrTx/>
              <a:buSzTx/>
              <a:buFontTx/>
              <a:buNone/>
              <a:tabLst/>
              <a:defRPr/>
            </a:pPr>
            <a:r>
              <a:rPr kumimoji="0" lang="en-GB" sz="105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PLS, plain language summary </a:t>
            </a:r>
            <a:br>
              <a:rPr kumimoji="0" lang="en-GB" sz="105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br>
            <a:r>
              <a:rPr kumimoji="0" lang="en-GB" sz="105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1. Plain Language Summaries (PLS) of Publications: Perspectives that will shape the future. </a:t>
            </a:r>
            <a:br>
              <a:rPr kumimoji="0" lang="en-GB" sz="105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br>
            <a:r>
              <a:rPr kumimoji="0" lang="en-GB" sz="105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Available at: </a:t>
            </a:r>
            <a:r>
              <a:rPr kumimoji="0" lang="en-GB" sz="105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Calibri" panose="020F0502020204030204" pitchFamily="34" charset="0"/>
                <a:hlinkClick r:id="rId4"/>
              </a:rPr>
              <a:t>https://www.pathlms.com/ismpp/courses/24746/webinars/15307</a:t>
            </a:r>
            <a:r>
              <a:rPr kumimoji="0" lang="en-GB" sz="1050" b="0" i="0" u="none" strike="noStrike" kern="1200" cap="none" spc="0" normalizeH="0" baseline="0" noProof="0" dirty="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 </a:t>
            </a:r>
            <a:r>
              <a:rPr kumimoji="0" lang="en-GB" sz="105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accessed 2 December 2021).</a:t>
            </a:r>
          </a:p>
        </p:txBody>
      </p:sp>
      <p:sp>
        <p:nvSpPr>
          <p:cNvPr id="6" name="Slide Number Placeholder 2">
            <a:extLst>
              <a:ext uri="{FF2B5EF4-FFF2-40B4-BE49-F238E27FC236}">
                <a16:creationId xmlns:a16="http://schemas.microsoft.com/office/drawing/2014/main" id="{2B718D50-7E6C-416B-9CE9-63530DEEC083}"/>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5</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1111591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8"/>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bldLvl="2"/>
      <p:bldGraphic spid="8" grpId="0">
        <p:bldAsOne/>
      </p:bldGraphic>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search design and methods</a:t>
            </a:r>
          </a:p>
        </p:txBody>
      </p:sp>
      <p:graphicFrame>
        <p:nvGraphicFramePr>
          <p:cNvPr id="7" name="Content Placeholder 6"/>
          <p:cNvGraphicFramePr>
            <a:graphicFrameLocks noGrp="1"/>
          </p:cNvGraphicFramePr>
          <p:nvPr>
            <p:ph idx="1"/>
          </p:nvPr>
        </p:nvGraphicFramePr>
        <p:xfrm>
          <a:off x="322660" y="1148954"/>
          <a:ext cx="8518922" cy="34837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2">
            <a:extLst>
              <a:ext uri="{FF2B5EF4-FFF2-40B4-BE49-F238E27FC236}">
                <a16:creationId xmlns:a16="http://schemas.microsoft.com/office/drawing/2014/main" id="{87C3DA30-CA27-4974-94DA-FB730C407B12}"/>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6</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9864786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is article with PLS</a:t>
            </a:r>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5" name="Picture 4"/>
          <p:cNvPicPr>
            <a:picLocks noChangeAspect="1"/>
          </p:cNvPicPr>
          <p:nvPr/>
        </p:nvPicPr>
        <p:blipFill>
          <a:blip r:embed="rId2"/>
          <a:stretch>
            <a:fillRect/>
          </a:stretch>
        </p:blipFill>
        <p:spPr>
          <a:xfrm>
            <a:off x="151396" y="1024025"/>
            <a:ext cx="3908661" cy="3098279"/>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rotWithShape="1">
          <a:blip r:embed="rId3"/>
          <a:srcRect b="24194"/>
          <a:stretch/>
        </p:blipFill>
        <p:spPr>
          <a:xfrm>
            <a:off x="2131822" y="2337170"/>
            <a:ext cx="4190045" cy="2534631"/>
          </a:xfrm>
          <a:prstGeom prst="rect">
            <a:avLst/>
          </a:prstGeom>
          <a:ln>
            <a:noFill/>
          </a:ln>
          <a:effectLst>
            <a:outerShdw blurRad="292100" dist="139700" dir="2700000" algn="tl" rotWithShape="0">
              <a:srgbClr val="333333">
                <a:alpha val="65000"/>
              </a:srgbClr>
            </a:outerShdw>
          </a:effectLst>
        </p:spPr>
      </p:pic>
      <p:grpSp>
        <p:nvGrpSpPr>
          <p:cNvPr id="9" name="Group 8"/>
          <p:cNvGrpSpPr/>
          <p:nvPr/>
        </p:nvGrpSpPr>
        <p:grpSpPr>
          <a:xfrm>
            <a:off x="5501390" y="1259174"/>
            <a:ext cx="3249502" cy="2323792"/>
            <a:chOff x="6066492" y="1314937"/>
            <a:chExt cx="2972836" cy="2140296"/>
          </a:xfrm>
        </p:grpSpPr>
        <p:pic>
          <p:nvPicPr>
            <p:cNvPr id="7" name="Picture 6"/>
            <p:cNvPicPr>
              <a:picLocks noChangeAspect="1"/>
            </p:cNvPicPr>
            <p:nvPr/>
          </p:nvPicPr>
          <p:blipFill>
            <a:blip r:embed="rId4"/>
            <a:stretch>
              <a:fillRect/>
            </a:stretch>
          </p:blipFill>
          <p:spPr>
            <a:xfrm>
              <a:off x="6081482" y="1314937"/>
              <a:ext cx="2947573" cy="577629"/>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5"/>
            <a:stretch>
              <a:fillRect/>
            </a:stretch>
          </p:blipFill>
          <p:spPr>
            <a:xfrm>
              <a:off x="6066492" y="1917279"/>
              <a:ext cx="2972836" cy="1537954"/>
            </a:xfrm>
            <a:prstGeom prst="rect">
              <a:avLst/>
            </a:prstGeom>
            <a:ln>
              <a:no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264294207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What criteria did we apply to identify a ‘similar’ article?</a:t>
            </a:r>
          </a:p>
        </p:txBody>
      </p:sp>
      <p:sp>
        <p:nvSpPr>
          <p:cNvPr id="10" name="Content Placeholder 9"/>
          <p:cNvSpPr>
            <a:spLocks noGrp="1"/>
          </p:cNvSpPr>
          <p:nvPr>
            <p:ph idx="1"/>
          </p:nvPr>
        </p:nvSpPr>
        <p:spPr>
          <a:xfrm>
            <a:off x="322820" y="1149180"/>
            <a:ext cx="6857299" cy="2051221"/>
          </a:xfrm>
        </p:spPr>
        <p:txBody>
          <a:bodyPr>
            <a:noAutofit/>
          </a:bodyPr>
          <a:lstStyle/>
          <a:p>
            <a:pPr marL="257175" indent="-257175">
              <a:spcBef>
                <a:spcPts val="3600"/>
              </a:spcBef>
              <a:buFont typeface="Wingdings" panose="05000000000000000000" pitchFamily="2" charset="2"/>
              <a:buChar char="ü"/>
            </a:pPr>
            <a:r>
              <a:rPr lang="en-GB" sz="2100" dirty="0"/>
              <a:t>Published in the same journal </a:t>
            </a:r>
          </a:p>
          <a:p>
            <a:pPr marL="257175" indent="-257175">
              <a:spcBef>
                <a:spcPts val="3600"/>
              </a:spcBef>
              <a:buFont typeface="Wingdings" panose="05000000000000000000" pitchFamily="2" charset="2"/>
              <a:buChar char="ü"/>
            </a:pPr>
            <a:r>
              <a:rPr lang="en-GB" sz="2100" dirty="0"/>
              <a:t>At a similar time (+/- 1 month)</a:t>
            </a:r>
          </a:p>
          <a:p>
            <a:pPr marL="257175" indent="-257175">
              <a:spcBef>
                <a:spcPts val="3600"/>
              </a:spcBef>
              <a:buFont typeface="Wingdings" panose="05000000000000000000" pitchFamily="2" charset="2"/>
              <a:buChar char="ü"/>
            </a:pPr>
            <a:r>
              <a:rPr lang="en-GB" sz="2100" dirty="0"/>
              <a:t>Within the same disease area</a:t>
            </a:r>
          </a:p>
          <a:p>
            <a:pPr marL="257175" indent="-257175">
              <a:spcBef>
                <a:spcPts val="3600"/>
              </a:spcBef>
              <a:buFont typeface="Wingdings" panose="05000000000000000000" pitchFamily="2" charset="2"/>
              <a:buChar char="ü"/>
            </a:pPr>
            <a:r>
              <a:rPr lang="en-GB" sz="2100" dirty="0"/>
              <a:t>Similar trial design </a:t>
            </a:r>
          </a:p>
          <a:p>
            <a:pPr marL="257175" indent="-257175">
              <a:spcBef>
                <a:spcPts val="3600"/>
              </a:spcBef>
              <a:buFont typeface="Wingdings" panose="05000000000000000000" pitchFamily="2" charset="2"/>
              <a:buChar char="ü"/>
            </a:pPr>
            <a:endParaRPr lang="en-GB" sz="2100" dirty="0"/>
          </a:p>
        </p:txBody>
      </p:sp>
      <p:sp>
        <p:nvSpPr>
          <p:cNvPr id="4" name="Slide Number Placeholder 2">
            <a:extLst>
              <a:ext uri="{FF2B5EF4-FFF2-40B4-BE49-F238E27FC236}">
                <a16:creationId xmlns:a16="http://schemas.microsoft.com/office/drawing/2014/main" id="{2E04C0D0-71E3-4D97-A1CC-97EB7F16D40C}"/>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8</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5396867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sults: tornado plot</a:t>
            </a:r>
          </a:p>
        </p:txBody>
      </p:sp>
      <p:graphicFrame>
        <p:nvGraphicFramePr>
          <p:cNvPr id="3" name="Chart 2"/>
          <p:cNvGraphicFramePr>
            <a:graphicFrameLocks/>
          </p:cNvGraphicFramePr>
          <p:nvPr/>
        </p:nvGraphicFramePr>
        <p:xfrm>
          <a:off x="1714501" y="1217154"/>
          <a:ext cx="6022181" cy="380761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9">
            <a:extLst>
              <a:ext uri="{FF2B5EF4-FFF2-40B4-BE49-F238E27FC236}">
                <a16:creationId xmlns:a16="http://schemas.microsoft.com/office/drawing/2014/main" id="{A1EB1667-1C30-41DC-B060-83C24709020D}"/>
              </a:ext>
            </a:extLst>
          </p:cNvPr>
          <p:cNvSpPr txBox="1">
            <a:spLocks/>
          </p:cNvSpPr>
          <p:nvPr/>
        </p:nvSpPr>
        <p:spPr>
          <a:xfrm>
            <a:off x="7410228" y="3594660"/>
            <a:ext cx="1055117" cy="1194370"/>
          </a:xfrm>
          <a:prstGeom prst="rect">
            <a:avLst/>
          </a:prstGeom>
        </p:spPr>
        <p:txBody>
          <a:bodyPr/>
          <a:lstStyle>
            <a:lvl1pPr marL="0" indent="0" algn="l" defTabSz="914400" rtl="0" eaLnBrk="1" latinLnBrk="0" hangingPunct="1">
              <a:spcBef>
                <a:spcPts val="600"/>
              </a:spcBef>
              <a:spcAft>
                <a:spcPts val="600"/>
              </a:spcAft>
              <a:buFont typeface="Arial" pitchFamily="34" charset="0"/>
              <a:buNone/>
              <a:defRPr sz="2300" b="1" i="0" kern="1200" cap="none"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vl2pPr marL="0" indent="0" algn="l" defTabSz="914400" rtl="0" eaLnBrk="1" latinLnBrk="0" hangingPunct="1">
              <a:spcBef>
                <a:spcPts val="600"/>
              </a:spcBef>
              <a:spcAft>
                <a:spcPts val="600"/>
              </a:spcAft>
              <a:buFont typeface="Arial" pitchFamily="34" charset="0"/>
              <a:buNone/>
              <a:defRPr sz="2900" kern="1200" baseline="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lgn="l" defTabSz="914400" rtl="0" eaLnBrk="1" latinLnBrk="0" hangingPunct="1">
              <a:spcBef>
                <a:spcPts val="600"/>
              </a:spcBef>
              <a:spcAft>
                <a:spcPts val="600"/>
              </a:spcAft>
              <a:buFont typeface="Arial" pitchFamily="34" charset="0"/>
              <a:buNone/>
              <a:defRPr sz="2800" kern="120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3pPr>
            <a:lvl4pPr marL="0" indent="-180000" algn="l" defTabSz="914400" rtl="0" eaLnBrk="1" latinLnBrk="0" hangingPunct="1">
              <a:spcBef>
                <a:spcPts val="600"/>
              </a:spcBef>
              <a:spcAft>
                <a:spcPts val="600"/>
              </a:spcAft>
              <a:buClr>
                <a:schemeClr val="tx2"/>
              </a:buClr>
              <a:buFont typeface="Arial" panose="020B0604020202020204" pitchFamily="34" charset="0"/>
              <a:buChar char="•"/>
              <a:defRPr sz="2200" kern="120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4pPr>
            <a:lvl5pPr marL="432000" indent="-180000" algn="l" defTabSz="914400" rtl="0" eaLnBrk="1" latinLnBrk="0" hangingPunct="1">
              <a:spcBef>
                <a:spcPts val="600"/>
              </a:spcBef>
              <a:spcAft>
                <a:spcPts val="600"/>
              </a:spcAft>
              <a:buClr>
                <a:schemeClr val="tx1">
                  <a:lumMod val="65000"/>
                  <a:lumOff val="35000"/>
                </a:schemeClr>
              </a:buClr>
              <a:buFont typeface="Helvetica" panose="020B0500000000000000" pitchFamily="2" charset="0"/>
              <a:buChar char="–"/>
              <a:defRPr sz="2200" kern="120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3" indent="0"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None/>
              <a:tabLst/>
              <a:defRPr/>
            </a:pPr>
            <a:r>
              <a:rPr kumimoji="0" lang="en-GB" sz="900" b="0" i="0" u="none" strike="noStrike" kern="1200" cap="none" spc="0" normalizeH="0" baseline="0" noProof="0" dirty="0">
                <a:ln>
                  <a:noFill/>
                </a:ln>
                <a:solidFill>
                  <a:prstClr val="black">
                    <a:lumMod val="75000"/>
                    <a:lumOff val="25000"/>
                  </a:prstClr>
                </a:solidFill>
                <a:effectLst/>
                <a:uLnTx/>
                <a:uFillTx/>
                <a:latin typeface="Franklin Gothic Book" panose="020B0503020102020204"/>
                <a:ea typeface="Verdana" panose="020B0604030504040204" pitchFamily="34" charset="0"/>
              </a:rPr>
              <a:t>Dermatology</a:t>
            </a:r>
          </a:p>
          <a:p>
            <a:pPr marL="0" marR="0" lvl="3" indent="0"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None/>
              <a:tabLst/>
              <a:defRPr/>
            </a:pPr>
            <a:r>
              <a:rPr kumimoji="0" lang="en-GB" sz="900" b="0" i="0" u="none" strike="noStrike" kern="1200" cap="none" spc="0" normalizeH="0" baseline="0" noProof="0" dirty="0">
                <a:ln>
                  <a:noFill/>
                </a:ln>
                <a:solidFill>
                  <a:prstClr val="black">
                    <a:lumMod val="75000"/>
                    <a:lumOff val="25000"/>
                  </a:prstClr>
                </a:solidFill>
                <a:effectLst/>
                <a:uLnTx/>
                <a:uFillTx/>
                <a:latin typeface="Franklin Gothic Book" panose="020B0503020102020204"/>
                <a:ea typeface="Verdana" panose="020B0604030504040204" pitchFamily="34" charset="0"/>
              </a:rPr>
              <a:t>Diabetes</a:t>
            </a:r>
          </a:p>
          <a:p>
            <a:pPr marL="0" marR="0" lvl="3" indent="0"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None/>
              <a:tabLst/>
              <a:defRPr/>
            </a:pPr>
            <a:r>
              <a:rPr kumimoji="0" lang="en-GB" sz="900" b="0" i="0" u="none" strike="noStrike" kern="1200" cap="none" spc="0" normalizeH="0" baseline="0" noProof="0" dirty="0">
                <a:ln>
                  <a:noFill/>
                </a:ln>
                <a:solidFill>
                  <a:prstClr val="black">
                    <a:lumMod val="75000"/>
                    <a:lumOff val="25000"/>
                  </a:prstClr>
                </a:solidFill>
                <a:effectLst/>
                <a:uLnTx/>
                <a:uFillTx/>
                <a:latin typeface="Franklin Gothic Book" panose="020B0503020102020204"/>
                <a:ea typeface="Verdana" panose="020B0604030504040204" pitchFamily="34" charset="0"/>
              </a:rPr>
              <a:t>Neurology</a:t>
            </a:r>
          </a:p>
          <a:p>
            <a:pPr marL="0" marR="0" lvl="3" indent="0"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None/>
              <a:tabLst/>
              <a:defRPr/>
            </a:pPr>
            <a:r>
              <a:rPr kumimoji="0" lang="en-GB" sz="900" b="0" i="0" u="none" strike="noStrike" kern="1200" cap="none" spc="0" normalizeH="0" baseline="0" noProof="0" dirty="0">
                <a:ln>
                  <a:noFill/>
                </a:ln>
                <a:solidFill>
                  <a:prstClr val="black">
                    <a:lumMod val="75000"/>
                    <a:lumOff val="25000"/>
                  </a:prstClr>
                </a:solidFill>
                <a:effectLst/>
                <a:uLnTx/>
                <a:uFillTx/>
                <a:latin typeface="Franklin Gothic Book" panose="020B0503020102020204"/>
                <a:ea typeface="Verdana" panose="020B0604030504040204" pitchFamily="34" charset="0"/>
              </a:rPr>
              <a:t>Oncology</a:t>
            </a:r>
          </a:p>
          <a:p>
            <a:pPr marL="0" marR="0" lvl="3" indent="0"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None/>
              <a:tabLst/>
              <a:defRPr/>
            </a:pPr>
            <a:r>
              <a:rPr kumimoji="0" lang="en-GB" sz="900" b="0" i="0" u="none" strike="noStrike" kern="1200" cap="none" spc="0" normalizeH="0" baseline="0" noProof="0" dirty="0">
                <a:ln>
                  <a:noFill/>
                </a:ln>
                <a:solidFill>
                  <a:prstClr val="black">
                    <a:lumMod val="75000"/>
                    <a:lumOff val="25000"/>
                  </a:prstClr>
                </a:solidFill>
                <a:effectLst/>
                <a:uLnTx/>
                <a:uFillTx/>
                <a:latin typeface="Franklin Gothic Book" panose="020B0503020102020204"/>
                <a:ea typeface="Verdana" panose="020B0604030504040204" pitchFamily="34" charset="0"/>
              </a:rPr>
              <a:t>Ophthalmology</a:t>
            </a:r>
          </a:p>
          <a:p>
            <a:pPr marL="0" marR="0" lvl="3" indent="0"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None/>
              <a:tabLst/>
              <a:defRPr/>
            </a:pPr>
            <a:r>
              <a:rPr kumimoji="0" lang="en-GB" sz="900" b="0" i="0" u="none" strike="noStrike" kern="1200" cap="none" spc="0" normalizeH="0" baseline="0" noProof="0" dirty="0">
                <a:ln>
                  <a:noFill/>
                </a:ln>
                <a:solidFill>
                  <a:prstClr val="black">
                    <a:lumMod val="75000"/>
                    <a:lumOff val="25000"/>
                  </a:prstClr>
                </a:solidFill>
                <a:effectLst/>
                <a:uLnTx/>
                <a:uFillTx/>
                <a:latin typeface="Franklin Gothic Book" panose="020B0503020102020204"/>
                <a:ea typeface="Verdana" panose="020B0604030504040204" pitchFamily="34" charset="0"/>
              </a:rPr>
              <a:t>Respiratory</a:t>
            </a:r>
          </a:p>
          <a:p>
            <a:pPr marL="0" marR="0" lvl="3" indent="0"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None/>
              <a:tabLst/>
              <a:defRPr/>
            </a:pPr>
            <a:r>
              <a:rPr kumimoji="0" lang="en-GB" sz="900" b="0" i="0" u="none" strike="noStrike" kern="1200" cap="none" spc="0" normalizeH="0" baseline="0" noProof="0" dirty="0">
                <a:ln>
                  <a:noFill/>
                </a:ln>
                <a:solidFill>
                  <a:prstClr val="black">
                    <a:lumMod val="75000"/>
                    <a:lumOff val="25000"/>
                  </a:prstClr>
                </a:solidFill>
                <a:effectLst/>
                <a:uLnTx/>
                <a:uFillTx/>
                <a:latin typeface="Franklin Gothic Book" panose="020B0503020102020204"/>
                <a:ea typeface="Verdana" panose="020B0604030504040204" pitchFamily="34" charset="0"/>
              </a:rPr>
              <a:t>Rheumatology</a:t>
            </a:r>
          </a:p>
          <a:p>
            <a:pPr marL="0" marR="0" lvl="3" indent="0" algn="l" defTabSz="914400" rtl="0" eaLnBrk="1" fontAlgn="auto" latinLnBrk="0" hangingPunct="1">
              <a:lnSpc>
                <a:spcPct val="100000"/>
              </a:lnSpc>
              <a:spcBef>
                <a:spcPts val="0"/>
              </a:spcBef>
              <a:spcAft>
                <a:spcPts val="0"/>
              </a:spcAft>
              <a:buClr>
                <a:srgbClr val="44546A"/>
              </a:buClr>
              <a:buSzTx/>
              <a:buFont typeface="Arial" panose="020B0604020202020204" pitchFamily="34" charset="0"/>
              <a:buNone/>
              <a:tabLst/>
              <a:defRPr/>
            </a:pPr>
            <a:r>
              <a:rPr kumimoji="0" lang="en-GB" sz="900" b="0" i="0" u="none" strike="noStrike" kern="1200" cap="none" spc="0" normalizeH="0" baseline="0" noProof="0" dirty="0">
                <a:ln>
                  <a:noFill/>
                </a:ln>
                <a:solidFill>
                  <a:prstClr val="black">
                    <a:lumMod val="75000"/>
                    <a:lumOff val="25000"/>
                  </a:prstClr>
                </a:solidFill>
                <a:effectLst/>
                <a:uLnTx/>
                <a:uFillTx/>
                <a:latin typeface="Franklin Gothic Book" panose="020B0503020102020204"/>
                <a:ea typeface="Verdana" panose="020B0604030504040204" pitchFamily="34" charset="0"/>
              </a:rPr>
              <a:t>Other</a:t>
            </a:r>
          </a:p>
        </p:txBody>
      </p:sp>
      <p:graphicFrame>
        <p:nvGraphicFramePr>
          <p:cNvPr id="5" name="Table 4"/>
          <p:cNvGraphicFramePr>
            <a:graphicFrameLocks noGrp="1"/>
          </p:cNvGraphicFramePr>
          <p:nvPr/>
        </p:nvGraphicFramePr>
        <p:xfrm>
          <a:off x="6828788" y="3645213"/>
          <a:ext cx="593569" cy="1079520"/>
        </p:xfrm>
        <a:graphic>
          <a:graphicData uri="http://schemas.openxmlformats.org/drawingml/2006/table">
            <a:tbl>
              <a:tblPr/>
              <a:tblGrid>
                <a:gridCol w="593569">
                  <a:extLst>
                    <a:ext uri="{9D8B030D-6E8A-4147-A177-3AD203B41FA5}">
                      <a16:colId xmlns:a16="http://schemas.microsoft.com/office/drawing/2014/main" val="3170383542"/>
                    </a:ext>
                  </a:extLst>
                </a:gridCol>
              </a:tblGrid>
              <a:tr h="134940">
                <a:tc>
                  <a:txBody>
                    <a:bodyPr/>
                    <a:lstStyle/>
                    <a:p>
                      <a:pPr algn="l" fontAlgn="b"/>
                      <a:r>
                        <a:rPr lang="en-GB" sz="800" b="0" i="0" u="none" strike="noStrike" dirty="0">
                          <a:solidFill>
                            <a:srgbClr val="000000"/>
                          </a:solidFill>
                          <a:effectLst/>
                          <a:latin typeface="Calibri" panose="020F0502020204030204" pitchFamily="34" charset="0"/>
                        </a:rPr>
                        <a:t> </a:t>
                      </a:r>
                    </a:p>
                  </a:txBody>
                  <a:tcPr marL="5715" marR="5715" marT="5715" marB="0" anchor="b">
                    <a:lnL>
                      <a:noFill/>
                    </a:lnL>
                    <a:lnR>
                      <a:noFill/>
                    </a:lnR>
                    <a:lnT>
                      <a:noFill/>
                    </a:lnT>
                    <a:lnB>
                      <a:noFill/>
                    </a:lnB>
                    <a:solidFill>
                      <a:srgbClr val="008080"/>
                    </a:solidFill>
                  </a:tcPr>
                </a:tc>
                <a:extLst>
                  <a:ext uri="{0D108BD9-81ED-4DB2-BD59-A6C34878D82A}">
                    <a16:rowId xmlns:a16="http://schemas.microsoft.com/office/drawing/2014/main" val="1383897357"/>
                  </a:ext>
                </a:extLst>
              </a:tr>
              <a:tr h="134940">
                <a:tc>
                  <a:txBody>
                    <a:bodyPr/>
                    <a:lstStyle/>
                    <a:p>
                      <a:pPr algn="l" fontAlgn="b"/>
                      <a:r>
                        <a:rPr lang="en-GB" sz="800" b="0" i="0" u="none" strike="noStrike" dirty="0">
                          <a:solidFill>
                            <a:srgbClr val="000000"/>
                          </a:solidFill>
                          <a:effectLst/>
                          <a:latin typeface="Calibri" panose="020F0502020204030204" pitchFamily="34" charset="0"/>
                        </a:rPr>
                        <a:t> </a:t>
                      </a:r>
                    </a:p>
                  </a:txBody>
                  <a:tcPr marL="5715" marR="5715" marT="5715" marB="0" anchor="b">
                    <a:lnL>
                      <a:noFill/>
                    </a:lnL>
                    <a:lnR>
                      <a:noFill/>
                    </a:lnR>
                    <a:lnT>
                      <a:noFill/>
                    </a:lnT>
                    <a:lnB>
                      <a:noFill/>
                    </a:lnB>
                    <a:solidFill>
                      <a:srgbClr val="757171"/>
                    </a:solidFill>
                  </a:tcPr>
                </a:tc>
                <a:extLst>
                  <a:ext uri="{0D108BD9-81ED-4DB2-BD59-A6C34878D82A}">
                    <a16:rowId xmlns:a16="http://schemas.microsoft.com/office/drawing/2014/main" val="1186022925"/>
                  </a:ext>
                </a:extLst>
              </a:tr>
              <a:tr h="134940">
                <a:tc>
                  <a:txBody>
                    <a:bodyPr/>
                    <a:lstStyle/>
                    <a:p>
                      <a:pPr algn="l" fontAlgn="b"/>
                      <a:r>
                        <a:rPr lang="en-GB" sz="800" b="0" i="0" u="none" strike="noStrike">
                          <a:solidFill>
                            <a:srgbClr val="000000"/>
                          </a:solidFill>
                          <a:effectLst/>
                          <a:latin typeface="Calibri" panose="020F0502020204030204" pitchFamily="34" charset="0"/>
                        </a:rPr>
                        <a:t> </a:t>
                      </a:r>
                    </a:p>
                  </a:txBody>
                  <a:tcPr marL="5715" marR="5715" marT="5715" marB="0" anchor="b">
                    <a:lnL>
                      <a:noFill/>
                    </a:lnL>
                    <a:lnR>
                      <a:noFill/>
                    </a:lnR>
                    <a:lnT>
                      <a:noFill/>
                    </a:lnT>
                    <a:lnB>
                      <a:noFill/>
                    </a:lnB>
                    <a:solidFill>
                      <a:srgbClr val="ED7D31"/>
                    </a:solidFill>
                  </a:tcPr>
                </a:tc>
                <a:extLst>
                  <a:ext uri="{0D108BD9-81ED-4DB2-BD59-A6C34878D82A}">
                    <a16:rowId xmlns:a16="http://schemas.microsoft.com/office/drawing/2014/main" val="1019945522"/>
                  </a:ext>
                </a:extLst>
              </a:tr>
              <a:tr h="134940">
                <a:tc>
                  <a:txBody>
                    <a:bodyPr/>
                    <a:lstStyle/>
                    <a:p>
                      <a:pPr algn="l" fontAlgn="b"/>
                      <a:r>
                        <a:rPr lang="en-GB" sz="800" b="0" i="0" u="none" strike="noStrike">
                          <a:solidFill>
                            <a:srgbClr val="000000"/>
                          </a:solidFill>
                          <a:effectLst/>
                          <a:latin typeface="Calibri" panose="020F0502020204030204" pitchFamily="34" charset="0"/>
                        </a:rPr>
                        <a:t> </a:t>
                      </a:r>
                    </a:p>
                  </a:txBody>
                  <a:tcPr marL="5715" marR="5715" marT="5715" marB="0" anchor="b">
                    <a:lnL>
                      <a:noFill/>
                    </a:lnL>
                    <a:lnR>
                      <a:noFill/>
                    </a:lnR>
                    <a:lnT>
                      <a:noFill/>
                    </a:lnT>
                    <a:lnB>
                      <a:noFill/>
                    </a:lnB>
                    <a:solidFill>
                      <a:srgbClr val="4472C4"/>
                    </a:solidFill>
                  </a:tcPr>
                </a:tc>
                <a:extLst>
                  <a:ext uri="{0D108BD9-81ED-4DB2-BD59-A6C34878D82A}">
                    <a16:rowId xmlns:a16="http://schemas.microsoft.com/office/drawing/2014/main" val="644179708"/>
                  </a:ext>
                </a:extLst>
              </a:tr>
              <a:tr h="134940">
                <a:tc>
                  <a:txBody>
                    <a:bodyPr/>
                    <a:lstStyle/>
                    <a:p>
                      <a:pPr algn="l" fontAlgn="b"/>
                      <a:r>
                        <a:rPr lang="en-GB" sz="800" b="0" i="0" u="none" strike="noStrike">
                          <a:solidFill>
                            <a:srgbClr val="000000"/>
                          </a:solidFill>
                          <a:effectLst/>
                          <a:latin typeface="Calibri" panose="020F0502020204030204" pitchFamily="34" charset="0"/>
                        </a:rPr>
                        <a:t> </a:t>
                      </a:r>
                    </a:p>
                  </a:txBody>
                  <a:tcPr marL="5715" marR="5715" marT="5715" marB="0" anchor="b">
                    <a:lnL>
                      <a:noFill/>
                    </a:lnL>
                    <a:lnR>
                      <a:noFill/>
                    </a:lnR>
                    <a:lnT>
                      <a:noFill/>
                    </a:lnT>
                    <a:lnB>
                      <a:noFill/>
                    </a:lnB>
                    <a:solidFill>
                      <a:srgbClr val="BFBFBF"/>
                    </a:solidFill>
                  </a:tcPr>
                </a:tc>
                <a:extLst>
                  <a:ext uri="{0D108BD9-81ED-4DB2-BD59-A6C34878D82A}">
                    <a16:rowId xmlns:a16="http://schemas.microsoft.com/office/drawing/2014/main" val="961532697"/>
                  </a:ext>
                </a:extLst>
              </a:tr>
              <a:tr h="134940">
                <a:tc>
                  <a:txBody>
                    <a:bodyPr/>
                    <a:lstStyle/>
                    <a:p>
                      <a:pPr algn="l" fontAlgn="b"/>
                      <a:r>
                        <a:rPr lang="en-GB" sz="800" b="0" i="0" u="none" strike="noStrike">
                          <a:solidFill>
                            <a:srgbClr val="000000"/>
                          </a:solidFill>
                          <a:effectLst/>
                          <a:latin typeface="Calibri" panose="020F0502020204030204" pitchFamily="34" charset="0"/>
                        </a:rPr>
                        <a:t> </a:t>
                      </a:r>
                    </a:p>
                  </a:txBody>
                  <a:tcPr marL="5715" marR="5715" marT="5715" marB="0" anchor="b">
                    <a:lnL>
                      <a:noFill/>
                    </a:lnL>
                    <a:lnR>
                      <a:noFill/>
                    </a:lnR>
                    <a:lnT>
                      <a:noFill/>
                    </a:lnT>
                    <a:lnB>
                      <a:noFill/>
                    </a:lnB>
                    <a:solidFill>
                      <a:srgbClr val="FF0000"/>
                    </a:solidFill>
                  </a:tcPr>
                </a:tc>
                <a:extLst>
                  <a:ext uri="{0D108BD9-81ED-4DB2-BD59-A6C34878D82A}">
                    <a16:rowId xmlns:a16="http://schemas.microsoft.com/office/drawing/2014/main" val="3863358514"/>
                  </a:ext>
                </a:extLst>
              </a:tr>
              <a:tr h="134940">
                <a:tc>
                  <a:txBody>
                    <a:bodyPr/>
                    <a:lstStyle/>
                    <a:p>
                      <a:pPr algn="l" fontAlgn="b"/>
                      <a:r>
                        <a:rPr lang="en-GB" sz="800" b="0" i="0" u="none" strike="noStrike">
                          <a:solidFill>
                            <a:srgbClr val="000000"/>
                          </a:solidFill>
                          <a:effectLst/>
                          <a:latin typeface="Calibri" panose="020F0502020204030204" pitchFamily="34" charset="0"/>
                        </a:rPr>
                        <a:t> </a:t>
                      </a:r>
                    </a:p>
                  </a:txBody>
                  <a:tcPr marL="5715" marR="5715" marT="5715" marB="0" anchor="b">
                    <a:lnL>
                      <a:noFill/>
                    </a:lnL>
                    <a:lnR>
                      <a:noFill/>
                    </a:lnR>
                    <a:lnT>
                      <a:noFill/>
                    </a:lnT>
                    <a:lnB>
                      <a:noFill/>
                    </a:lnB>
                    <a:solidFill>
                      <a:srgbClr val="7030A0"/>
                    </a:solidFill>
                  </a:tcPr>
                </a:tc>
                <a:extLst>
                  <a:ext uri="{0D108BD9-81ED-4DB2-BD59-A6C34878D82A}">
                    <a16:rowId xmlns:a16="http://schemas.microsoft.com/office/drawing/2014/main" val="3069460490"/>
                  </a:ext>
                </a:extLst>
              </a:tr>
              <a:tr h="134940">
                <a:tc>
                  <a:txBody>
                    <a:bodyPr/>
                    <a:lstStyle/>
                    <a:p>
                      <a:pPr algn="l" fontAlgn="b"/>
                      <a:r>
                        <a:rPr lang="en-GB" sz="800" b="0" i="0" u="none" strike="noStrike" dirty="0">
                          <a:solidFill>
                            <a:srgbClr val="000000"/>
                          </a:solidFill>
                          <a:effectLst/>
                          <a:latin typeface="Calibri" panose="020F0502020204030204" pitchFamily="34" charset="0"/>
                        </a:rPr>
                        <a:t> </a:t>
                      </a:r>
                    </a:p>
                  </a:txBody>
                  <a:tcPr marL="5715" marR="5715" marT="5715" marB="0" anchor="b">
                    <a:lnL>
                      <a:noFill/>
                    </a:lnL>
                    <a:lnR>
                      <a:noFill/>
                    </a:lnR>
                    <a:lnT>
                      <a:noFill/>
                    </a:lnT>
                    <a:lnB>
                      <a:noFill/>
                    </a:lnB>
                    <a:solidFill>
                      <a:srgbClr val="000000"/>
                    </a:solidFill>
                  </a:tcPr>
                </a:tc>
                <a:extLst>
                  <a:ext uri="{0D108BD9-81ED-4DB2-BD59-A6C34878D82A}">
                    <a16:rowId xmlns:a16="http://schemas.microsoft.com/office/drawing/2014/main" val="1601347736"/>
                  </a:ext>
                </a:extLst>
              </a:tr>
            </a:tbl>
          </a:graphicData>
        </a:graphic>
      </p:graphicFrame>
      <p:sp>
        <p:nvSpPr>
          <p:cNvPr id="6" name="Text Placeholder 39">
            <a:extLst>
              <a:ext uri="{FF2B5EF4-FFF2-40B4-BE49-F238E27FC236}">
                <a16:creationId xmlns:a16="http://schemas.microsoft.com/office/drawing/2014/main" id="{85A01736-74F8-4A2E-940D-101C3B004733}"/>
              </a:ext>
            </a:extLst>
          </p:cNvPr>
          <p:cNvSpPr txBox="1">
            <a:spLocks/>
          </p:cNvSpPr>
          <p:nvPr/>
        </p:nvSpPr>
        <p:spPr>
          <a:xfrm>
            <a:off x="-355759" y="1002843"/>
            <a:ext cx="9883098" cy="286126"/>
          </a:xfrm>
          <a:prstGeom prst="rect">
            <a:avLst/>
          </a:prstGeom>
        </p:spPr>
        <p:txBody>
          <a:bodyPr/>
          <a:lstStyle>
            <a:lvl1pPr marL="0" indent="0" algn="l" defTabSz="914400" rtl="0" eaLnBrk="1" latinLnBrk="0" hangingPunct="1">
              <a:spcBef>
                <a:spcPts val="600"/>
              </a:spcBef>
              <a:spcAft>
                <a:spcPts val="600"/>
              </a:spcAft>
              <a:buFont typeface="Arial" pitchFamily="34" charset="0"/>
              <a:buNone/>
              <a:defRPr sz="2300" b="1" i="0" kern="1200" cap="none" baseline="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1pPr>
            <a:lvl2pPr marL="0" indent="0" algn="l" defTabSz="914400" rtl="0" eaLnBrk="1" latinLnBrk="0" hangingPunct="1">
              <a:spcBef>
                <a:spcPts val="600"/>
              </a:spcBef>
              <a:spcAft>
                <a:spcPts val="600"/>
              </a:spcAft>
              <a:buFont typeface="Arial" pitchFamily="34" charset="0"/>
              <a:buNone/>
              <a:defRPr sz="2900" kern="1200" baseline="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marL="0" indent="0" algn="l" defTabSz="914400" rtl="0" eaLnBrk="1" latinLnBrk="0" hangingPunct="1">
              <a:spcBef>
                <a:spcPts val="600"/>
              </a:spcBef>
              <a:spcAft>
                <a:spcPts val="600"/>
              </a:spcAft>
              <a:buFont typeface="Arial" pitchFamily="34" charset="0"/>
              <a:buNone/>
              <a:defRPr sz="2800" kern="120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3pPr>
            <a:lvl4pPr marL="0" indent="-180000" algn="l" defTabSz="914400" rtl="0" eaLnBrk="1" latinLnBrk="0" hangingPunct="1">
              <a:spcBef>
                <a:spcPts val="600"/>
              </a:spcBef>
              <a:spcAft>
                <a:spcPts val="600"/>
              </a:spcAft>
              <a:buClr>
                <a:schemeClr val="tx2"/>
              </a:buClr>
              <a:buFont typeface="Arial" panose="020B0604020202020204" pitchFamily="34" charset="0"/>
              <a:buChar char="•"/>
              <a:defRPr sz="2200" kern="120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4pPr>
            <a:lvl5pPr marL="432000" indent="-180000" algn="l" defTabSz="914400" rtl="0" eaLnBrk="1" latinLnBrk="0" hangingPunct="1">
              <a:spcBef>
                <a:spcPts val="600"/>
              </a:spcBef>
              <a:spcAft>
                <a:spcPts val="600"/>
              </a:spcAft>
              <a:buClr>
                <a:schemeClr val="tx1">
                  <a:lumMod val="65000"/>
                  <a:lumOff val="35000"/>
                </a:schemeClr>
              </a:buClr>
              <a:buFont typeface="Helvetica" panose="020B0500000000000000" pitchFamily="2" charset="0"/>
              <a:buChar char="–"/>
              <a:defRPr sz="2200" kern="1200">
                <a:solidFill>
                  <a:schemeClr val="tx1">
                    <a:lumMod val="75000"/>
                    <a:lumOff val="25000"/>
                  </a:schemeClr>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3" indent="0" algn="ctr" defTabSz="914400" rtl="0" eaLnBrk="1" fontAlgn="auto" latinLnBrk="0" hangingPunct="1">
              <a:lnSpc>
                <a:spcPct val="100000"/>
              </a:lnSpc>
              <a:spcBef>
                <a:spcPts val="900"/>
              </a:spcBef>
              <a:spcAft>
                <a:spcPts val="0"/>
              </a:spcAft>
              <a:buClr>
                <a:srgbClr val="44546A"/>
              </a:buClr>
              <a:buSzTx/>
              <a:buFont typeface="Arial" panose="020B0604020202020204" pitchFamily="34" charset="0"/>
              <a:buNone/>
              <a:tabLst/>
              <a:defRPr/>
            </a:pPr>
            <a:r>
              <a:rPr kumimoji="0" lang="en-GB" sz="1200" b="0" i="0" u="none" strike="noStrike" kern="1200" cap="none" spc="0" normalizeH="0" baseline="0" noProof="0" dirty="0">
                <a:ln>
                  <a:noFill/>
                </a:ln>
                <a:solidFill>
                  <a:srgbClr val="44546A"/>
                </a:solidFill>
                <a:effectLst/>
                <a:uLnTx/>
                <a:uFillTx/>
                <a:latin typeface="Franklin Gothic Book" panose="020B0503020102020204"/>
                <a:ea typeface="Verdana" panose="020B0604030504040204" pitchFamily="34" charset="0"/>
              </a:rPr>
              <a:t>Percentage difference in number of accesses/month vs article without a PLS</a:t>
            </a:r>
            <a:endParaRPr kumimoji="0" lang="en-GB" sz="1200" b="0" i="0" u="none" strike="noStrike" kern="1200" cap="none" spc="0" normalizeH="0" baseline="0" noProof="0" dirty="0">
              <a:ln>
                <a:noFill/>
              </a:ln>
              <a:solidFill>
                <a:srgbClr val="44546A"/>
              </a:solidFill>
              <a:effectLst/>
              <a:uLnTx/>
              <a:uFillTx/>
              <a:latin typeface="Franklin Gothic Book" panose="020B0503020102020204"/>
              <a:ea typeface="Verdana" panose="020B0604030504040204" pitchFamily="34" charset="0"/>
              <a:cs typeface="Arial" panose="020B0604020202020204" pitchFamily="34" charset="0"/>
            </a:endParaRPr>
          </a:p>
        </p:txBody>
      </p:sp>
      <p:grpSp>
        <p:nvGrpSpPr>
          <p:cNvPr id="7" name="Group 6"/>
          <p:cNvGrpSpPr/>
          <p:nvPr/>
        </p:nvGrpSpPr>
        <p:grpSpPr>
          <a:xfrm>
            <a:off x="5550219" y="2319260"/>
            <a:ext cx="2293620" cy="975360"/>
            <a:chOff x="6695440" y="4724400"/>
            <a:chExt cx="3058160" cy="1300480"/>
          </a:xfrm>
        </p:grpSpPr>
        <p:sp>
          <p:nvSpPr>
            <p:cNvPr id="8" name="Right Arrow 7"/>
            <p:cNvSpPr/>
            <p:nvPr/>
          </p:nvSpPr>
          <p:spPr>
            <a:xfrm>
              <a:off x="6695440" y="4724400"/>
              <a:ext cx="3058160" cy="1300480"/>
            </a:xfrm>
            <a:prstGeom prst="rightArrow">
              <a:avLst/>
            </a:prstGeom>
            <a:no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9" name="TextBox 8"/>
            <p:cNvSpPr txBox="1"/>
            <p:nvPr/>
          </p:nvSpPr>
          <p:spPr>
            <a:xfrm>
              <a:off x="6817360" y="5161280"/>
              <a:ext cx="2122804" cy="430887"/>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4472C4">
                      <a:lumMod val="50000"/>
                    </a:srgbClr>
                  </a:solidFill>
                  <a:effectLst/>
                  <a:uLnTx/>
                  <a:uFillTx/>
                  <a:latin typeface="Franklin Gothic Book" panose="020B0503020102020204"/>
                  <a:ea typeface="+mn-ea"/>
                  <a:cs typeface="+mn-cs"/>
                </a:rPr>
                <a:t>Increased access</a:t>
              </a:r>
            </a:p>
          </p:txBody>
        </p:sp>
      </p:grpSp>
      <p:grpSp>
        <p:nvGrpSpPr>
          <p:cNvPr id="10" name="Group 9"/>
          <p:cNvGrpSpPr/>
          <p:nvPr/>
        </p:nvGrpSpPr>
        <p:grpSpPr>
          <a:xfrm>
            <a:off x="1411130" y="2319260"/>
            <a:ext cx="2293620" cy="975360"/>
            <a:chOff x="2824480" y="4724400"/>
            <a:chExt cx="3058160" cy="1300480"/>
          </a:xfrm>
        </p:grpSpPr>
        <p:sp>
          <p:nvSpPr>
            <p:cNvPr id="11" name="Right Arrow 10"/>
            <p:cNvSpPr/>
            <p:nvPr/>
          </p:nvSpPr>
          <p:spPr>
            <a:xfrm rot="10800000">
              <a:off x="2824480" y="4724400"/>
              <a:ext cx="3058160" cy="1300480"/>
            </a:xfrm>
            <a:prstGeom prst="rightArrow">
              <a:avLst/>
            </a:prstGeom>
            <a:no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12" name="TextBox 11"/>
            <p:cNvSpPr txBox="1"/>
            <p:nvPr/>
          </p:nvSpPr>
          <p:spPr>
            <a:xfrm>
              <a:off x="3478037" y="5174585"/>
              <a:ext cx="2218984" cy="430887"/>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4472C4">
                      <a:lumMod val="50000"/>
                    </a:srgbClr>
                  </a:solidFill>
                  <a:effectLst/>
                  <a:uLnTx/>
                  <a:uFillTx/>
                  <a:latin typeface="Franklin Gothic Book" panose="020B0503020102020204"/>
                  <a:ea typeface="+mn-ea"/>
                  <a:cs typeface="+mn-cs"/>
                </a:rPr>
                <a:t>Decreased access</a:t>
              </a:r>
            </a:p>
          </p:txBody>
        </p:sp>
      </p:grpSp>
      <p:sp>
        <p:nvSpPr>
          <p:cNvPr id="13" name="Slide Number Placeholder 2">
            <a:extLst>
              <a:ext uri="{FF2B5EF4-FFF2-40B4-BE49-F238E27FC236}">
                <a16:creationId xmlns:a16="http://schemas.microsoft.com/office/drawing/2014/main" id="{06239B0E-95EF-48EC-92FC-D4D50E61EAC8}"/>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9</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4385267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205ADA5E-9DAC-44AE-B280-A736BA6368D7}"/>
              </a:ext>
            </a:extLst>
          </p:cNvPr>
          <p:cNvSpPr>
            <a:spLocks/>
          </p:cNvSpPr>
          <p:nvPr/>
        </p:nvSpPr>
        <p:spPr>
          <a:xfrm>
            <a:off x="857250" y="2883731"/>
            <a:ext cx="3034030" cy="1440000"/>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endParaRPr kumimoji="0" lang="en-GB" sz="2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306FEDDB-952E-41CE-98ED-B9410C517BE6}"/>
              </a:ext>
            </a:extLst>
          </p:cNvPr>
          <p:cNvSpPr>
            <a:spLocks/>
          </p:cNvSpPr>
          <p:nvPr/>
        </p:nvSpPr>
        <p:spPr>
          <a:xfrm>
            <a:off x="857250" y="1221581"/>
            <a:ext cx="7462661" cy="1512000"/>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endParaRPr kumimoji="0" lang="en-GB" sz="2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 name="Title 2"/>
          <p:cNvSpPr>
            <a:spLocks noGrp="1"/>
          </p:cNvSpPr>
          <p:nvPr>
            <p:ph type="title"/>
          </p:nvPr>
        </p:nvSpPr>
        <p:spPr>
          <a:xfrm>
            <a:off x="857250" y="59945"/>
            <a:ext cx="7462661" cy="941541"/>
          </a:xfrm>
        </p:spPr>
        <p:txBody>
          <a:bodyPr/>
          <a:lstStyle/>
          <a:p>
            <a:r>
              <a:rPr lang="en-GB" sz="2800" noProof="0" dirty="0"/>
              <a:t>What do we mean by a </a:t>
            </a:r>
            <a:br>
              <a:rPr lang="en-GB" sz="2800" noProof="0" dirty="0"/>
            </a:br>
            <a:r>
              <a:rPr lang="en-GB" sz="2800" noProof="0" dirty="0"/>
              <a:t>plain language summary (PLS)?</a:t>
            </a:r>
          </a:p>
        </p:txBody>
      </p:sp>
      <p:sp>
        <p:nvSpPr>
          <p:cNvPr id="16" name="Text Placeholder 3">
            <a:extLst>
              <a:ext uri="{FF2B5EF4-FFF2-40B4-BE49-F238E27FC236}">
                <a16:creationId xmlns:a16="http://schemas.microsoft.com/office/drawing/2014/main" id="{FB090053-09FD-41E1-8E7C-E2085B653CBA}"/>
              </a:ext>
            </a:extLst>
          </p:cNvPr>
          <p:cNvSpPr txBox="1">
            <a:spLocks/>
          </p:cNvSpPr>
          <p:nvPr/>
        </p:nvSpPr>
        <p:spPr bwMode="white">
          <a:xfrm>
            <a:off x="857250" y="4730204"/>
            <a:ext cx="5452396" cy="216966"/>
          </a:xfrm>
          <a:prstGeom prst="rect">
            <a:avLst/>
          </a:prstGeom>
        </p:spPr>
        <p:txBody>
          <a:bodyPr vert="horz" lIns="91424" tIns="45712" rIns="91424" bIns="45712" rtlCol="0" anchor="b" anchorCtr="0">
            <a:spAutoFit/>
          </a:bodyPr>
          <a:lstStyle>
            <a:lvl1pPr marL="304747" indent="-304747" algn="l" defTabSz="1218987" rtl="0" eaLnBrk="1" latinLnBrk="0" hangingPunct="1">
              <a:lnSpc>
                <a:spcPct val="90000"/>
              </a:lnSpc>
              <a:spcBef>
                <a:spcPts val="1000"/>
              </a:spcBef>
              <a:buClr>
                <a:schemeClr val="accent4"/>
              </a:buClr>
              <a:buSzPct val="100000"/>
              <a:buFont typeface="Arial" pitchFamily="34" charset="0"/>
              <a:buChar char="•"/>
              <a:defRPr sz="2800" kern="1200">
                <a:solidFill>
                  <a:schemeClr val="tx1"/>
                </a:solidFill>
                <a:latin typeface="+mn-lt"/>
                <a:ea typeface="+mn-ea"/>
                <a:cs typeface="+mn-cs"/>
              </a:defRPr>
            </a:lvl1pPr>
            <a:lvl2pPr marL="738188" indent="-360363" algn="l" defTabSz="1218987" rtl="0" eaLnBrk="1" latinLnBrk="0" hangingPunct="1">
              <a:lnSpc>
                <a:spcPct val="90000"/>
              </a:lnSpc>
              <a:spcBef>
                <a:spcPts val="600"/>
              </a:spcBef>
              <a:buClr>
                <a:schemeClr val="accent4"/>
              </a:buClr>
              <a:buSzPct val="100000"/>
              <a:buFont typeface="Calibri" panose="020F0502020204030204" pitchFamily="34" charset="0"/>
              <a:buChar char="–"/>
              <a:defRPr sz="2400" kern="1200">
                <a:solidFill>
                  <a:schemeClr val="tx1"/>
                </a:solidFill>
                <a:latin typeface="+mn-lt"/>
                <a:ea typeface="+mn-ea"/>
                <a:cs typeface="+mn-cs"/>
              </a:defRPr>
            </a:lvl2pPr>
            <a:lvl3pPr marL="1027113" indent="-344488" algn="l" defTabSz="1218987" rtl="0" eaLnBrk="1" latinLnBrk="0" hangingPunct="1">
              <a:lnSpc>
                <a:spcPct val="90000"/>
              </a:lnSpc>
              <a:spcBef>
                <a:spcPts val="600"/>
              </a:spcBef>
              <a:buClr>
                <a:schemeClr val="accent4"/>
              </a:buClr>
              <a:buSzPct val="100000"/>
              <a:buFont typeface="Wingdings" panose="05000000000000000000" pitchFamily="2" charset="2"/>
              <a:buChar char="§"/>
              <a:defRPr sz="2000" kern="1200">
                <a:solidFill>
                  <a:schemeClr val="tx1"/>
                </a:solidFill>
                <a:latin typeface="+mn-lt"/>
                <a:ea typeface="+mn-ea"/>
                <a:cs typeface="+mn-cs"/>
              </a:defRPr>
            </a:lvl3pPr>
            <a:lvl4pPr marL="1379538" indent="-392113" algn="l" defTabSz="1218987" rtl="0" eaLnBrk="1" latinLnBrk="0" hangingPunct="1">
              <a:lnSpc>
                <a:spcPct val="90000"/>
              </a:lnSpc>
              <a:spcBef>
                <a:spcPts val="400"/>
              </a:spcBef>
              <a:buClr>
                <a:schemeClr val="accent4"/>
              </a:buClr>
              <a:buSzPct val="100000"/>
              <a:buFont typeface="Calibri" panose="020F0502020204030204" pitchFamily="34" charset="0"/>
              <a:buChar char="–"/>
              <a:defRPr sz="1800" kern="1200">
                <a:solidFill>
                  <a:schemeClr val="tx1"/>
                </a:solidFill>
                <a:latin typeface="+mn-lt"/>
                <a:ea typeface="+mn-ea"/>
                <a:cs typeface="+mn-cs"/>
              </a:defRPr>
            </a:lvl4pPr>
            <a:lvl5pPr marL="1652588" indent="-273050" algn="l" defTabSz="1218987" rtl="0" eaLnBrk="1" latinLnBrk="0" hangingPunct="1">
              <a:lnSpc>
                <a:spcPct val="90000"/>
              </a:lnSpc>
              <a:spcBef>
                <a:spcPts val="400"/>
              </a:spcBef>
              <a:buClr>
                <a:schemeClr val="accent4"/>
              </a:buClr>
              <a:buSzPct val="100000"/>
              <a:buFont typeface="Arial" pitchFamily="34" charset="0"/>
              <a:buChar char="•"/>
              <a:defRPr sz="1600" kern="1200">
                <a:solidFill>
                  <a:schemeClr val="tx1"/>
                </a:solidFill>
                <a:latin typeface="+mn-lt"/>
                <a:ea typeface="+mn-ea"/>
                <a:cs typeface="+mn-cs"/>
              </a:defRPr>
            </a:lvl5pPr>
            <a:lvl6pPr marL="1828480" indent="-231607" algn="l" defTabSz="1218987" rtl="0" eaLnBrk="1" latinLnBrk="0" hangingPunct="1">
              <a:lnSpc>
                <a:spcPct val="90000"/>
              </a:lnSpc>
              <a:spcBef>
                <a:spcPts val="800"/>
              </a:spcBef>
              <a:buClr>
                <a:schemeClr val="accent1"/>
              </a:buClr>
              <a:buSzPct val="80000"/>
              <a:buFont typeface="Arial" pitchFamily="34" charset="0"/>
              <a:buChar char="•"/>
              <a:defRPr sz="2000" kern="1200">
                <a:solidFill>
                  <a:schemeClr val="tx1"/>
                </a:solidFill>
                <a:latin typeface="+mn-lt"/>
                <a:ea typeface="+mn-ea"/>
                <a:cs typeface="+mn-cs"/>
              </a:defRPr>
            </a:lvl6pPr>
            <a:lvl7pPr marL="2133227" indent="-231607" algn="l" defTabSz="1218987" rtl="0" eaLnBrk="1" latinLnBrk="0" hangingPunct="1">
              <a:lnSpc>
                <a:spcPct val="90000"/>
              </a:lnSpc>
              <a:spcBef>
                <a:spcPts val="800"/>
              </a:spcBef>
              <a:buClr>
                <a:schemeClr val="accent1"/>
              </a:buClr>
              <a:buSzPct val="80000"/>
              <a:buFont typeface="Arial" pitchFamily="34" charset="0"/>
              <a:buChar char="•"/>
              <a:defRPr sz="2000" kern="1200">
                <a:solidFill>
                  <a:schemeClr val="tx1"/>
                </a:solidFill>
                <a:latin typeface="+mn-lt"/>
                <a:ea typeface="+mn-ea"/>
                <a:cs typeface="+mn-cs"/>
              </a:defRPr>
            </a:lvl7pPr>
            <a:lvl8pPr marL="2437973" indent="-231607" algn="l" defTabSz="1218987" rtl="0" eaLnBrk="1" latinLnBrk="0" hangingPunct="1">
              <a:lnSpc>
                <a:spcPct val="90000"/>
              </a:lnSpc>
              <a:spcBef>
                <a:spcPts val="800"/>
              </a:spcBef>
              <a:buClr>
                <a:schemeClr val="accent1"/>
              </a:buClr>
              <a:buSzPct val="80000"/>
              <a:buFont typeface="Arial" pitchFamily="34" charset="0"/>
              <a:buChar char="•"/>
              <a:defRPr sz="2000" kern="1200" baseline="0">
                <a:solidFill>
                  <a:schemeClr val="tx1"/>
                </a:solidFill>
                <a:latin typeface="+mn-lt"/>
                <a:ea typeface="+mn-ea"/>
                <a:cs typeface="+mn-cs"/>
              </a:defRPr>
            </a:lvl8pPr>
            <a:lvl9pPr marL="2742720" indent="-231607" algn="l" defTabSz="1218987" rtl="0" eaLnBrk="1" latinLnBrk="0" hangingPunct="1">
              <a:lnSpc>
                <a:spcPct val="90000"/>
              </a:lnSpc>
              <a:spcBef>
                <a:spcPts val="800"/>
              </a:spcBef>
              <a:buClr>
                <a:schemeClr val="accent1"/>
              </a:buClr>
              <a:buSzPct val="80000"/>
              <a:buFont typeface="Arial" pitchFamily="34" charset="0"/>
              <a:buChar char="•"/>
              <a:defRPr sz="2000" kern="1200" baseline="0">
                <a:solidFill>
                  <a:schemeClr val="tx1"/>
                </a:solidFill>
                <a:latin typeface="+mn-lt"/>
                <a:ea typeface="+mn-ea"/>
                <a:cs typeface="+mn-cs"/>
              </a:defRPr>
            </a:lvl9pPr>
          </a:lstStyle>
          <a:p>
            <a:pPr marL="0" marR="0" lvl="0" indent="0" algn="l" defTabSz="914240" rtl="0" eaLnBrk="1" fontAlgn="auto" latinLnBrk="0" hangingPunct="1">
              <a:lnSpc>
                <a:spcPct val="90000"/>
              </a:lnSpc>
              <a:spcBef>
                <a:spcPts val="750"/>
              </a:spcBef>
              <a:spcAft>
                <a:spcPts val="0"/>
              </a:spcAft>
              <a:buClr>
                <a:srgbClr val="A2D08A"/>
              </a:buClr>
              <a:buSzPct val="100000"/>
              <a:buFont typeface="Arial" pitchFamily="34" charset="0"/>
              <a:buNone/>
              <a:tabLst/>
              <a:defRPr/>
            </a:pPr>
            <a:r>
              <a:rPr kumimoji="0" lang="en-GB" sz="900" b="0" i="1" u="none" strike="noStrike" kern="1200" cap="none" spc="0" normalizeH="0" baseline="0" noProof="0" dirty="0">
                <a:ln>
                  <a:noFill/>
                </a:ln>
                <a:solidFill>
                  <a:prstClr val="black"/>
                </a:solidFill>
                <a:effectLst/>
                <a:uLnTx/>
                <a:uFillTx/>
                <a:latin typeface="Calibri"/>
                <a:ea typeface="+mn-ea"/>
                <a:cs typeface="+mn-cs"/>
              </a:rPr>
              <a:t>*mandatory in the EU for all trials, as part of Clinical Trial Regulation EU No. 536/2014</a:t>
            </a:r>
          </a:p>
        </p:txBody>
      </p:sp>
      <p:sp>
        <p:nvSpPr>
          <p:cNvPr id="30" name="Rectangle 29">
            <a:extLst>
              <a:ext uri="{FF2B5EF4-FFF2-40B4-BE49-F238E27FC236}">
                <a16:creationId xmlns:a16="http://schemas.microsoft.com/office/drawing/2014/main" id="{6052F20F-1424-4162-B202-42B7F60A417A}"/>
              </a:ext>
            </a:extLst>
          </p:cNvPr>
          <p:cNvSpPr>
            <a:spLocks/>
          </p:cNvSpPr>
          <p:nvPr/>
        </p:nvSpPr>
        <p:spPr>
          <a:xfrm>
            <a:off x="1056201" y="1755795"/>
            <a:ext cx="7050582" cy="443572"/>
          </a:xfrm>
          <a:prstGeom prst="rect">
            <a:avLst/>
          </a:prstGeom>
        </p:spPr>
        <p:txBody>
          <a:bodyPr lIns="0" tIns="13500" rIns="0" bIns="13500" anchor="ctr">
            <a:noAutofit/>
          </a:bodyPr>
          <a:lstStyle/>
          <a:p>
            <a:pPr marL="0" marR="0" lvl="0" indent="0" algn="ctr" defTabSz="685800" rtl="0" eaLnBrk="1" fontAlgn="auto" latinLnBrk="0" hangingPunct="1">
              <a:lnSpc>
                <a:spcPct val="100000"/>
              </a:lnSpc>
              <a:spcBef>
                <a:spcPts val="0"/>
              </a:spcBef>
              <a:spcAft>
                <a:spcPts val="1125"/>
              </a:spcAft>
              <a:buClrTx/>
              <a:buSzTx/>
              <a:buFontTx/>
              <a:buNone/>
              <a:tabLst>
                <a:tab pos="2088356" algn="l"/>
              </a:tabLst>
              <a:defRPr/>
            </a:pPr>
            <a:r>
              <a:rPr kumimoji="0" lang="en-GB" sz="2000" b="0" i="0" u="none" strike="noStrike" kern="1200" cap="none" spc="0" normalizeH="0" baseline="0" noProof="0" dirty="0">
                <a:ln>
                  <a:noFill/>
                </a:ln>
                <a:solidFill>
                  <a:prstClr val="black"/>
                </a:solidFill>
                <a:effectLst/>
                <a:uLnTx/>
                <a:uFillTx/>
                <a:latin typeface="Franklin Gothic Book" panose="020B0503020102020204"/>
                <a:ea typeface="+mn-ea"/>
                <a:cs typeface="+mn-cs"/>
              </a:rPr>
              <a:t>A short summary of a piece of research presented in a way that </a:t>
            </a:r>
            <a:br>
              <a:rPr kumimoji="0" lang="en-GB" sz="2000" b="0" i="0" u="none" strike="noStrike" kern="1200" cap="none" spc="0" normalizeH="0" baseline="0" noProof="0" dirty="0">
                <a:ln>
                  <a:noFill/>
                </a:ln>
                <a:solidFill>
                  <a:prstClr val="black"/>
                </a:solidFill>
                <a:effectLst/>
                <a:uLnTx/>
                <a:uFillTx/>
                <a:latin typeface="Franklin Gothic Book" panose="020B0503020102020204"/>
                <a:ea typeface="+mn-ea"/>
                <a:cs typeface="+mn-cs"/>
              </a:rPr>
            </a:br>
            <a:r>
              <a:rPr kumimoji="0" lang="en-GB" sz="2000" b="0" i="0" u="none" strike="noStrike" kern="1200" cap="none" spc="0" normalizeH="0" baseline="0" noProof="0" dirty="0">
                <a:ln>
                  <a:noFill/>
                </a:ln>
                <a:solidFill>
                  <a:prstClr val="black"/>
                </a:solidFill>
                <a:effectLst/>
                <a:uLnTx/>
                <a:uFillTx/>
                <a:latin typeface="Franklin Gothic Book" panose="020B0503020102020204"/>
                <a:ea typeface="+mn-ea"/>
                <a:cs typeface="+mn-cs"/>
              </a:rPr>
              <a:t>is accessible to non-specialist lay audiences such as patients</a:t>
            </a:r>
          </a:p>
        </p:txBody>
      </p:sp>
      <p:sp>
        <p:nvSpPr>
          <p:cNvPr id="49" name="Rectangle 48">
            <a:extLst>
              <a:ext uri="{FF2B5EF4-FFF2-40B4-BE49-F238E27FC236}">
                <a16:creationId xmlns:a16="http://schemas.microsoft.com/office/drawing/2014/main" id="{F39FCE95-E29D-42B9-9C37-DB2A875DE0F4}"/>
              </a:ext>
            </a:extLst>
          </p:cNvPr>
          <p:cNvSpPr>
            <a:spLocks/>
          </p:cNvSpPr>
          <p:nvPr/>
        </p:nvSpPr>
        <p:spPr>
          <a:xfrm>
            <a:off x="4572000" y="2883731"/>
            <a:ext cx="3747911" cy="1440000"/>
          </a:xfrm>
          <a:prstGeom prst="rect">
            <a:avLst/>
          </a:prstGeom>
          <a:solidFill>
            <a:schemeClr val="accent6">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40" rtl="0" eaLnBrk="1" fontAlgn="auto" latinLnBrk="0" hangingPunct="1">
              <a:lnSpc>
                <a:spcPct val="100000"/>
              </a:lnSpc>
              <a:spcBef>
                <a:spcPts val="0"/>
              </a:spcBef>
              <a:spcAft>
                <a:spcPts val="0"/>
              </a:spcAft>
              <a:buClrTx/>
              <a:buSzTx/>
              <a:buFontTx/>
              <a:buNone/>
              <a:tabLst/>
              <a:defRPr/>
            </a:pPr>
            <a:endParaRPr kumimoji="0" lang="en-GB" sz="2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8" name="Rectangle 47">
            <a:extLst>
              <a:ext uri="{FF2B5EF4-FFF2-40B4-BE49-F238E27FC236}">
                <a16:creationId xmlns:a16="http://schemas.microsoft.com/office/drawing/2014/main" id="{5038C5C8-308D-400E-B4E4-E171B2055C81}"/>
              </a:ext>
            </a:extLst>
          </p:cNvPr>
          <p:cNvSpPr>
            <a:spLocks/>
          </p:cNvSpPr>
          <p:nvPr/>
        </p:nvSpPr>
        <p:spPr>
          <a:xfrm>
            <a:off x="5016129" y="3215819"/>
            <a:ext cx="3174083" cy="775824"/>
          </a:xfrm>
          <a:prstGeom prst="rect">
            <a:avLst/>
          </a:prstGeom>
        </p:spPr>
        <p:txBody>
          <a:bodyPr lIns="0" tIns="13500" rIns="0" bIns="13500" anchor="ctr">
            <a:noAutofit/>
          </a:bodyPr>
          <a:lstStyle/>
          <a:p>
            <a:pPr marL="0" marR="0" lvl="0" indent="0" algn="ctr" defTabSz="685800" rtl="0" eaLnBrk="1" fontAlgn="auto" latinLnBrk="0" hangingPunct="1">
              <a:lnSpc>
                <a:spcPct val="100000"/>
              </a:lnSpc>
              <a:spcBef>
                <a:spcPts val="0"/>
              </a:spcBef>
              <a:spcAft>
                <a:spcPts val="600"/>
              </a:spcAft>
              <a:buClrTx/>
              <a:buSzTx/>
              <a:buFontTx/>
              <a:buNone/>
              <a:tabLst>
                <a:tab pos="2088356" algn="l"/>
              </a:tabLst>
              <a:defRPr/>
            </a:pPr>
            <a:r>
              <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rPr>
              <a:t>Publication PLS associated with</a:t>
            </a:r>
            <a:br>
              <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rPr>
            </a:br>
            <a:r>
              <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rPr>
              <a:t> a journal article, abstract, or congress presentation</a:t>
            </a:r>
          </a:p>
        </p:txBody>
      </p:sp>
      <p:sp>
        <p:nvSpPr>
          <p:cNvPr id="57" name="Rectangle 56">
            <a:extLst>
              <a:ext uri="{FF2B5EF4-FFF2-40B4-BE49-F238E27FC236}">
                <a16:creationId xmlns:a16="http://schemas.microsoft.com/office/drawing/2014/main" id="{2FFCEA01-787A-442E-8A27-34E3081D6979}"/>
              </a:ext>
            </a:extLst>
          </p:cNvPr>
          <p:cNvSpPr/>
          <p:nvPr/>
        </p:nvSpPr>
        <p:spPr>
          <a:xfrm>
            <a:off x="1203055" y="3114367"/>
            <a:ext cx="2639276" cy="978729"/>
          </a:xfrm>
          <a:prstGeom prst="rect">
            <a:avLst/>
          </a:prstGeom>
        </p:spPr>
        <p:txBody>
          <a:bodyPr wrap="square" anchor="ctr">
            <a:spAutoFit/>
          </a:bodyPr>
          <a:lstStyle/>
          <a:p>
            <a:pPr marL="0" marR="0" lvl="0" indent="0" algn="ctr" defTabSz="914240" rtl="0" eaLnBrk="1" fontAlgn="auto" latinLnBrk="0" hangingPunct="1">
              <a:lnSpc>
                <a:spcPct val="90000"/>
              </a:lnSpc>
              <a:spcBef>
                <a:spcPts val="0"/>
              </a:spcBef>
              <a:spcAft>
                <a:spcPts val="60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Franklin Gothic Book" panose="020B0503020102020204"/>
                <a:ea typeface="+mn-ea"/>
                <a:cs typeface="+mn-cs"/>
              </a:rPr>
              <a:t>Clinical trial PLS, also know as clinical trial summaries (CTS), to inform patients about trial results* </a:t>
            </a:r>
          </a:p>
        </p:txBody>
      </p:sp>
      <p:sp>
        <p:nvSpPr>
          <p:cNvPr id="2" name="Slide Number Placeholder 1">
            <a:extLst>
              <a:ext uri="{FF2B5EF4-FFF2-40B4-BE49-F238E27FC236}">
                <a16:creationId xmlns:a16="http://schemas.microsoft.com/office/drawing/2014/main" id="{EAD1D49B-0A81-46C4-97A5-FBD27AA6FE92}"/>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5" name="Graphic 4" descr="Checkmark with solid fill">
            <a:extLst>
              <a:ext uri="{FF2B5EF4-FFF2-40B4-BE49-F238E27FC236}">
                <a16:creationId xmlns:a16="http://schemas.microsoft.com/office/drawing/2014/main" id="{7AE3371E-8F26-4B0C-90BF-59168584F5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15169" y="2877902"/>
            <a:ext cx="914400" cy="914400"/>
          </a:xfrm>
          <a:prstGeom prst="rect">
            <a:avLst/>
          </a:prstGeom>
        </p:spPr>
      </p:pic>
      <p:pic>
        <p:nvPicPr>
          <p:cNvPr id="7" name="Graphic 6" descr="Close with solid fill">
            <a:extLst>
              <a:ext uri="{FF2B5EF4-FFF2-40B4-BE49-F238E27FC236}">
                <a16:creationId xmlns:a16="http://schemas.microsoft.com/office/drawing/2014/main" id="{FD62052B-1D55-4A22-84F9-55DE1D0ADA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06351" y="2883731"/>
            <a:ext cx="914400" cy="914400"/>
          </a:xfrm>
          <a:prstGeom prst="rect">
            <a:avLst/>
          </a:prstGeom>
        </p:spPr>
      </p:pic>
    </p:spTree>
    <p:extLst>
      <p:ext uri="{BB962C8B-B14F-4D97-AF65-F5344CB8AC3E}">
        <p14:creationId xmlns:p14="http://schemas.microsoft.com/office/powerpoint/2010/main" val="47494849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sults: key findings</a:t>
            </a:r>
          </a:p>
        </p:txBody>
      </p:sp>
      <p:grpSp>
        <p:nvGrpSpPr>
          <p:cNvPr id="14" name="Group 13"/>
          <p:cNvGrpSpPr/>
          <p:nvPr/>
        </p:nvGrpSpPr>
        <p:grpSpPr>
          <a:xfrm>
            <a:off x="971550" y="2099310"/>
            <a:ext cx="7229475" cy="1516380"/>
            <a:chOff x="1295400" y="2570480"/>
            <a:chExt cx="9639300" cy="2021840"/>
          </a:xfrm>
        </p:grpSpPr>
        <p:cxnSp>
          <p:nvCxnSpPr>
            <p:cNvPr id="6" name="Straight Arrow Connector 5"/>
            <p:cNvCxnSpPr/>
            <p:nvPr/>
          </p:nvCxnSpPr>
          <p:spPr>
            <a:xfrm>
              <a:off x="1295400" y="4560570"/>
              <a:ext cx="9639300" cy="28575"/>
            </a:xfrm>
            <a:prstGeom prst="straightConnector1">
              <a:avLst/>
            </a:prstGeom>
            <a:ln w="666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a:off x="6271260" y="2570480"/>
              <a:ext cx="0" cy="2021840"/>
            </a:xfrm>
            <a:prstGeom prst="straightConnector1">
              <a:avLst/>
            </a:prstGeom>
            <a:ln w="66675">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a:xfrm>
            <a:off x="4703445" y="2643433"/>
            <a:ext cx="3733800" cy="923330"/>
          </a:xfrm>
          <a:prstGeom prst="rect">
            <a:avLst/>
          </a:prstGeom>
        </p:spPr>
        <p:txBody>
          <a:bodyPr wrap="square">
            <a:spAutoFit/>
          </a:bodyPr>
          <a:lstStyle/>
          <a:p>
            <a:pPr marL="0" marR="0" lvl="3" indent="0" algn="ctr" defTabSz="685800" rtl="0" eaLnBrk="1" fontAlgn="auto" latinLnBrk="0" hangingPunct="1">
              <a:lnSpc>
                <a:spcPct val="100000"/>
              </a:lnSpc>
              <a:spcBef>
                <a:spcPts val="900"/>
              </a:spcBef>
              <a:spcAft>
                <a:spcPts val="0"/>
              </a:spcAft>
              <a:buClrTx/>
              <a:buSzTx/>
              <a:buFontTx/>
              <a:buNone/>
              <a:tabLst/>
              <a:defRPr/>
            </a:pPr>
            <a:r>
              <a:rPr kumimoji="0" lang="en-GB" sz="1800" b="1" i="0" u="none" strike="noStrike" kern="1200" cap="none" spc="0" normalizeH="0" baseline="0" noProof="0" dirty="0">
                <a:ln>
                  <a:noFill/>
                </a:ln>
                <a:solidFill>
                  <a:srgbClr val="44546A"/>
                </a:solidFill>
                <a:effectLst/>
                <a:uLnTx/>
                <a:uFillTx/>
                <a:latin typeface="Franklin Gothic Book" panose="020B0503020102020204"/>
                <a:ea typeface="+mn-ea"/>
                <a:cs typeface="+mn-cs"/>
              </a:rPr>
              <a:t>62%</a:t>
            </a:r>
            <a:r>
              <a:rPr kumimoji="0" lang="en-GB" sz="1800" b="0" i="0" u="none" strike="noStrike" kern="1200" cap="none" spc="0" normalizeH="0" baseline="0" noProof="0" dirty="0">
                <a:ln>
                  <a:noFill/>
                </a:ln>
                <a:solidFill>
                  <a:srgbClr val="44546A"/>
                </a:solidFill>
                <a:effectLst/>
                <a:uLnTx/>
                <a:uFillTx/>
                <a:latin typeface="Franklin Gothic Book" panose="020B0503020102020204"/>
                <a:ea typeface="+mn-ea"/>
                <a:cs typeface="+mn-cs"/>
              </a:rPr>
              <a:t> (31/50) of articles with PLS were accessed significantly more often than those without a PLS</a:t>
            </a:r>
            <a:endParaRPr kumimoji="0" lang="en-GB" sz="1800" b="0" i="0" u="none" strike="noStrike" kern="1200" cap="none" spc="0" normalizeH="0" baseline="0" noProof="0" dirty="0">
              <a:ln>
                <a:noFill/>
              </a:ln>
              <a:solidFill>
                <a:srgbClr val="44546A"/>
              </a:solidFill>
              <a:effectLst/>
              <a:uLnTx/>
              <a:uFillTx/>
              <a:latin typeface="Franklin Gothic Book" panose="020B0503020102020204"/>
              <a:ea typeface="+mn-ea"/>
              <a:cs typeface="Arial" panose="020B0604020202020204" pitchFamily="34" charset="0"/>
            </a:endParaRPr>
          </a:p>
        </p:txBody>
      </p:sp>
      <p:sp>
        <p:nvSpPr>
          <p:cNvPr id="12" name="Rectangle 11"/>
          <p:cNvSpPr/>
          <p:nvPr/>
        </p:nvSpPr>
        <p:spPr>
          <a:xfrm>
            <a:off x="1030605" y="2803364"/>
            <a:ext cx="3579495" cy="646331"/>
          </a:xfrm>
          <a:prstGeom prst="rect">
            <a:avLst/>
          </a:prstGeom>
        </p:spPr>
        <p:txBody>
          <a:bodyPr wrap="square">
            <a:spAutoFit/>
          </a:bodyPr>
          <a:lstStyle/>
          <a:p>
            <a:pPr marL="0" marR="0" lvl="3" indent="0" algn="ctr" defTabSz="685800" rtl="0" eaLnBrk="1" fontAlgn="auto" latinLnBrk="0" hangingPunct="1">
              <a:lnSpc>
                <a:spcPct val="100000"/>
              </a:lnSpc>
              <a:spcBef>
                <a:spcPts val="900"/>
              </a:spcBef>
              <a:spcAft>
                <a:spcPts val="0"/>
              </a:spcAft>
              <a:buClrTx/>
              <a:buSzTx/>
              <a:buFontTx/>
              <a:buNone/>
              <a:tabLst/>
              <a:defRPr/>
            </a:pPr>
            <a:r>
              <a:rPr kumimoji="0" lang="en-GB" sz="1800" b="1" i="0" u="none" strike="noStrike" kern="1200" cap="none" spc="0" normalizeH="0" baseline="0" noProof="0" dirty="0">
                <a:ln>
                  <a:noFill/>
                </a:ln>
                <a:solidFill>
                  <a:srgbClr val="44546A"/>
                </a:solidFill>
                <a:effectLst/>
                <a:uLnTx/>
                <a:uFillTx/>
                <a:latin typeface="Franklin Gothic Book" panose="020B0503020102020204"/>
                <a:ea typeface="+mn-ea"/>
                <a:cs typeface="+mn-cs"/>
              </a:rPr>
              <a:t>8%</a:t>
            </a:r>
            <a:r>
              <a:rPr kumimoji="0" lang="en-GB" sz="1800" b="0" i="0" u="none" strike="noStrike" kern="1200" cap="none" spc="0" normalizeH="0" baseline="0" noProof="0" dirty="0">
                <a:ln>
                  <a:noFill/>
                </a:ln>
                <a:solidFill>
                  <a:srgbClr val="44546A"/>
                </a:solidFill>
                <a:effectLst/>
                <a:uLnTx/>
                <a:uFillTx/>
                <a:latin typeface="Franklin Gothic Book" panose="020B0503020102020204"/>
                <a:ea typeface="+mn-ea"/>
                <a:cs typeface="+mn-cs"/>
              </a:rPr>
              <a:t> (4/50) had significantly fewer</a:t>
            </a:r>
            <a:br>
              <a:rPr kumimoji="0" lang="en-GB" sz="1800" b="0" i="0" u="none" strike="noStrike" kern="1200" cap="none" spc="0" normalizeH="0" baseline="0" noProof="0" dirty="0">
                <a:ln>
                  <a:noFill/>
                </a:ln>
                <a:solidFill>
                  <a:srgbClr val="44546A"/>
                </a:solidFill>
                <a:effectLst/>
                <a:uLnTx/>
                <a:uFillTx/>
                <a:latin typeface="Franklin Gothic Book" panose="020B0503020102020204"/>
                <a:ea typeface="+mn-ea"/>
                <a:cs typeface="+mn-cs"/>
              </a:rPr>
            </a:br>
            <a:r>
              <a:rPr kumimoji="0" lang="en-GB" sz="1800" b="0" i="0" u="none" strike="noStrike" kern="1200" cap="none" spc="0" normalizeH="0" baseline="0" noProof="0" dirty="0">
                <a:ln>
                  <a:noFill/>
                </a:ln>
                <a:solidFill>
                  <a:srgbClr val="44546A"/>
                </a:solidFill>
                <a:effectLst/>
                <a:uLnTx/>
                <a:uFillTx/>
                <a:latin typeface="Franklin Gothic Book" panose="020B0503020102020204"/>
                <a:ea typeface="+mn-ea"/>
                <a:cs typeface="+mn-cs"/>
              </a:rPr>
              <a:t>accesses</a:t>
            </a:r>
            <a:endParaRPr kumimoji="0" lang="en-GB" sz="1800" b="0" i="0" u="none" strike="noStrike" kern="1200" cap="none" spc="0" normalizeH="0" baseline="0" noProof="0" dirty="0">
              <a:ln>
                <a:noFill/>
              </a:ln>
              <a:solidFill>
                <a:srgbClr val="44546A"/>
              </a:solidFill>
              <a:effectLst/>
              <a:uLnTx/>
              <a:uFillTx/>
              <a:latin typeface="Franklin Gothic Book" panose="020B0503020102020204"/>
              <a:ea typeface="+mn-ea"/>
              <a:cs typeface="Arial" panose="020B0604020202020204" pitchFamily="34" charset="0"/>
            </a:endParaRPr>
          </a:p>
        </p:txBody>
      </p:sp>
      <p:sp>
        <p:nvSpPr>
          <p:cNvPr id="13" name="Rectangle 12"/>
          <p:cNvSpPr/>
          <p:nvPr/>
        </p:nvSpPr>
        <p:spPr>
          <a:xfrm>
            <a:off x="2712957" y="1125260"/>
            <a:ext cx="3746659" cy="923330"/>
          </a:xfrm>
          <a:prstGeom prst="rect">
            <a:avLst/>
          </a:prstGeom>
        </p:spPr>
        <p:txBody>
          <a:bodyPr wrap="square">
            <a:spAutoFit/>
          </a:bodyPr>
          <a:lstStyle/>
          <a:p>
            <a:pPr marL="0" marR="0" lvl="3" indent="0" algn="ctr" defTabSz="685800" rtl="0" eaLnBrk="1" fontAlgn="auto" latinLnBrk="0" hangingPunct="1">
              <a:lnSpc>
                <a:spcPct val="100000"/>
              </a:lnSpc>
              <a:spcBef>
                <a:spcPts val="900"/>
              </a:spcBef>
              <a:spcAft>
                <a:spcPts val="0"/>
              </a:spcAft>
              <a:buClrTx/>
              <a:buSzTx/>
              <a:buFontTx/>
              <a:buNone/>
              <a:tabLst/>
              <a:defRPr/>
            </a:pPr>
            <a:r>
              <a:rPr kumimoji="0" lang="en-GB" sz="1800" b="1" i="0" u="none" strike="noStrike" kern="1200" cap="none" spc="0" normalizeH="0" baseline="0" noProof="0" dirty="0">
                <a:ln>
                  <a:noFill/>
                </a:ln>
                <a:solidFill>
                  <a:srgbClr val="44546A"/>
                </a:solidFill>
                <a:effectLst/>
                <a:uLnTx/>
                <a:uFillTx/>
                <a:latin typeface="Franklin Gothic Book" panose="020B0503020102020204"/>
                <a:ea typeface="+mn-ea"/>
                <a:cs typeface="+mn-cs"/>
              </a:rPr>
              <a:t>30%</a:t>
            </a:r>
            <a:r>
              <a:rPr kumimoji="0" lang="en-GB" sz="1800" b="0" i="0" u="none" strike="noStrike" kern="1200" cap="none" spc="0" normalizeH="0" baseline="0" noProof="0" dirty="0">
                <a:ln>
                  <a:noFill/>
                </a:ln>
                <a:solidFill>
                  <a:srgbClr val="44546A"/>
                </a:solidFill>
                <a:effectLst/>
                <a:uLnTx/>
                <a:uFillTx/>
                <a:latin typeface="Franklin Gothic Book" panose="020B0503020102020204"/>
                <a:ea typeface="+mn-ea"/>
                <a:cs typeface="+mn-cs"/>
              </a:rPr>
              <a:t> (15/50) of comparisons there was no significant difference found between access numbers</a:t>
            </a:r>
          </a:p>
        </p:txBody>
      </p:sp>
      <p:grpSp>
        <p:nvGrpSpPr>
          <p:cNvPr id="19" name="Group 18"/>
          <p:cNvGrpSpPr/>
          <p:nvPr/>
        </p:nvGrpSpPr>
        <p:grpSpPr>
          <a:xfrm>
            <a:off x="5021580" y="3714750"/>
            <a:ext cx="2293620" cy="975360"/>
            <a:chOff x="6695440" y="4724400"/>
            <a:chExt cx="3058160" cy="1300480"/>
          </a:xfrm>
        </p:grpSpPr>
        <p:sp>
          <p:nvSpPr>
            <p:cNvPr id="15" name="Right Arrow 14"/>
            <p:cNvSpPr/>
            <p:nvPr/>
          </p:nvSpPr>
          <p:spPr>
            <a:xfrm>
              <a:off x="6695440" y="4724400"/>
              <a:ext cx="3058160" cy="1300480"/>
            </a:xfrm>
            <a:prstGeom prst="rightArrow">
              <a:avLst/>
            </a:prstGeom>
            <a:no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17" name="TextBox 16"/>
            <p:cNvSpPr txBox="1"/>
            <p:nvPr/>
          </p:nvSpPr>
          <p:spPr>
            <a:xfrm>
              <a:off x="6817360" y="5161280"/>
              <a:ext cx="2122804" cy="430887"/>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4472C4">
                      <a:lumMod val="50000"/>
                    </a:srgbClr>
                  </a:solidFill>
                  <a:effectLst/>
                  <a:uLnTx/>
                  <a:uFillTx/>
                  <a:latin typeface="Franklin Gothic Book" panose="020B0503020102020204"/>
                  <a:ea typeface="+mn-ea"/>
                  <a:cs typeface="+mn-cs"/>
                </a:rPr>
                <a:t>Increased access</a:t>
              </a:r>
            </a:p>
          </p:txBody>
        </p:sp>
      </p:grpSp>
      <p:grpSp>
        <p:nvGrpSpPr>
          <p:cNvPr id="20" name="Group 19"/>
          <p:cNvGrpSpPr/>
          <p:nvPr/>
        </p:nvGrpSpPr>
        <p:grpSpPr>
          <a:xfrm>
            <a:off x="2118360" y="3714750"/>
            <a:ext cx="2293620" cy="975360"/>
            <a:chOff x="2824480" y="4724400"/>
            <a:chExt cx="3058160" cy="1300480"/>
          </a:xfrm>
        </p:grpSpPr>
        <p:sp>
          <p:nvSpPr>
            <p:cNvPr id="16" name="Right Arrow 15"/>
            <p:cNvSpPr/>
            <p:nvPr/>
          </p:nvSpPr>
          <p:spPr>
            <a:xfrm rot="10800000">
              <a:off x="2824480" y="4724400"/>
              <a:ext cx="3058160" cy="1300480"/>
            </a:xfrm>
            <a:prstGeom prst="rightArrow">
              <a:avLst/>
            </a:prstGeom>
            <a:noFill/>
            <a:ln w="349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13"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18" name="TextBox 17"/>
            <p:cNvSpPr txBox="1"/>
            <p:nvPr/>
          </p:nvSpPr>
          <p:spPr>
            <a:xfrm>
              <a:off x="3478037" y="5174585"/>
              <a:ext cx="2218984" cy="430887"/>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500" b="0" i="0" u="none" strike="noStrike" kern="1200" cap="none" spc="0" normalizeH="0" baseline="0" noProof="0" dirty="0">
                  <a:ln>
                    <a:noFill/>
                  </a:ln>
                  <a:solidFill>
                    <a:srgbClr val="4472C4">
                      <a:lumMod val="50000"/>
                    </a:srgbClr>
                  </a:solidFill>
                  <a:effectLst/>
                  <a:uLnTx/>
                  <a:uFillTx/>
                  <a:latin typeface="Franklin Gothic Book" panose="020B0503020102020204"/>
                  <a:ea typeface="+mn-ea"/>
                  <a:cs typeface="+mn-cs"/>
                </a:rPr>
                <a:t>Decreased access</a:t>
              </a:r>
            </a:p>
          </p:txBody>
        </p:sp>
      </p:grpSp>
      <p:sp>
        <p:nvSpPr>
          <p:cNvPr id="22" name="Rectangle 21"/>
          <p:cNvSpPr/>
          <p:nvPr/>
        </p:nvSpPr>
        <p:spPr>
          <a:xfrm>
            <a:off x="198121" y="4706035"/>
            <a:ext cx="7736681" cy="253916"/>
          </a:xfrm>
          <a:prstGeom prst="rect">
            <a:avLst/>
          </a:prstGeom>
        </p:spPr>
        <p:txBody>
          <a:bodyPr wrap="square">
            <a:spAutoFit/>
          </a:bodyPr>
          <a:lstStyle/>
          <a:p>
            <a:pPr marL="0" marR="0" lvl="0" indent="0" algn="l" defTabSz="3992166" rtl="0" eaLnBrk="1" fontAlgn="auto" latinLnBrk="0" hangingPunct="1">
              <a:lnSpc>
                <a:spcPct val="100000"/>
              </a:lnSpc>
              <a:spcBef>
                <a:spcPts val="0"/>
              </a:spcBef>
              <a:spcAft>
                <a:spcPts val="450"/>
              </a:spcAft>
              <a:buClrTx/>
              <a:buSzTx/>
              <a:buFontTx/>
              <a:buNone/>
              <a:tabLst/>
              <a:defRPr/>
            </a:pPr>
            <a:r>
              <a:rPr kumimoji="0" lang="en-GB" sz="105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Significant difference = 25% more (or fewer) accesses, on average, per month</a:t>
            </a:r>
          </a:p>
        </p:txBody>
      </p:sp>
      <p:sp>
        <p:nvSpPr>
          <p:cNvPr id="21" name="Slide Number Placeholder 2">
            <a:extLst>
              <a:ext uri="{FF2B5EF4-FFF2-40B4-BE49-F238E27FC236}">
                <a16:creationId xmlns:a16="http://schemas.microsoft.com/office/drawing/2014/main" id="{43265EAD-413A-4A8F-B054-6382AEED094B}"/>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188242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sults: by therapy area</a:t>
            </a:r>
          </a:p>
        </p:txBody>
      </p:sp>
      <p:sp>
        <p:nvSpPr>
          <p:cNvPr id="3" name="Content Placeholder 2"/>
          <p:cNvSpPr>
            <a:spLocks noGrp="1"/>
          </p:cNvSpPr>
          <p:nvPr>
            <p:ph idx="1"/>
          </p:nvPr>
        </p:nvSpPr>
        <p:spPr/>
        <p:txBody>
          <a:bodyPr/>
          <a:lstStyle/>
          <a:p>
            <a:pPr marL="257175" lvl="3" indent="-257175">
              <a:lnSpc>
                <a:spcPct val="100000"/>
              </a:lnSpc>
              <a:spcBef>
                <a:spcPts val="1350"/>
              </a:spcBef>
            </a:pPr>
            <a:r>
              <a:rPr lang="en-GB" dirty="0">
                <a:solidFill>
                  <a:schemeClr val="tx2"/>
                </a:solidFill>
              </a:rPr>
              <a:t>The following therapy areas all demonstrated significantly higher average number of accesses per month for articles with PLS compared with articles without PLS: </a:t>
            </a:r>
          </a:p>
          <a:p>
            <a:pPr marL="600067" lvl="4" indent="-257175">
              <a:lnSpc>
                <a:spcPct val="100000"/>
              </a:lnSpc>
              <a:spcBef>
                <a:spcPts val="1350"/>
              </a:spcBef>
              <a:buClr>
                <a:schemeClr val="tx2"/>
              </a:buClr>
              <a:buFont typeface="Verdana" panose="020B0604030504040204" pitchFamily="34" charset="0"/>
              <a:buChar char="–"/>
            </a:pPr>
            <a:r>
              <a:rPr lang="en-GB" sz="1800" dirty="0">
                <a:solidFill>
                  <a:schemeClr val="tx2"/>
                </a:solidFill>
              </a:rPr>
              <a:t>Ophthalmology (100%, 4/4) </a:t>
            </a:r>
          </a:p>
          <a:p>
            <a:pPr marL="600067" lvl="4" indent="-257175">
              <a:lnSpc>
                <a:spcPct val="100000"/>
              </a:lnSpc>
              <a:spcBef>
                <a:spcPts val="1350"/>
              </a:spcBef>
              <a:buClr>
                <a:schemeClr val="tx2"/>
              </a:buClr>
              <a:buFont typeface="Verdana" panose="020B0604030504040204" pitchFamily="34" charset="0"/>
              <a:buChar char="–"/>
            </a:pPr>
            <a:r>
              <a:rPr lang="en-GB" sz="1800" dirty="0">
                <a:solidFill>
                  <a:schemeClr val="tx2"/>
                </a:solidFill>
              </a:rPr>
              <a:t>Rheumatology (75%, 9/12)</a:t>
            </a:r>
          </a:p>
          <a:p>
            <a:pPr marL="600067" lvl="4" indent="-257175">
              <a:lnSpc>
                <a:spcPct val="100000"/>
              </a:lnSpc>
              <a:spcBef>
                <a:spcPts val="1350"/>
              </a:spcBef>
              <a:buClr>
                <a:schemeClr val="tx2"/>
              </a:buClr>
              <a:buFont typeface="Verdana" panose="020B0604030504040204" pitchFamily="34" charset="0"/>
              <a:buChar char="–"/>
            </a:pPr>
            <a:r>
              <a:rPr lang="en-GB" sz="1800" dirty="0">
                <a:solidFill>
                  <a:schemeClr val="tx2"/>
                </a:solidFill>
              </a:rPr>
              <a:t>Oncology (75%, 3/4) </a:t>
            </a:r>
          </a:p>
          <a:p>
            <a:pPr marL="600067" lvl="4" indent="-257175">
              <a:lnSpc>
                <a:spcPct val="100000"/>
              </a:lnSpc>
              <a:spcBef>
                <a:spcPts val="1350"/>
              </a:spcBef>
              <a:buClr>
                <a:schemeClr val="tx2"/>
              </a:buClr>
              <a:buFont typeface="Verdana" panose="020B0604030504040204" pitchFamily="34" charset="0"/>
              <a:buChar char="–"/>
            </a:pPr>
            <a:r>
              <a:rPr lang="en-GB" sz="1800" dirty="0">
                <a:solidFill>
                  <a:schemeClr val="tx2"/>
                </a:solidFill>
              </a:rPr>
              <a:t>Diabetes (60%, 6/10)</a:t>
            </a:r>
            <a:endParaRPr lang="en-GB" dirty="0"/>
          </a:p>
        </p:txBody>
      </p:sp>
      <p:sp>
        <p:nvSpPr>
          <p:cNvPr id="4" name="Rectangle 3"/>
          <p:cNvSpPr/>
          <p:nvPr/>
        </p:nvSpPr>
        <p:spPr>
          <a:xfrm>
            <a:off x="1" y="4579077"/>
            <a:ext cx="7736681" cy="415498"/>
          </a:xfrm>
          <a:prstGeom prst="rect">
            <a:avLst/>
          </a:prstGeom>
        </p:spPr>
        <p:txBody>
          <a:bodyPr wrap="square">
            <a:spAutoFit/>
          </a:bodyPr>
          <a:lstStyle/>
          <a:p>
            <a:pPr marL="0" marR="0" lvl="0" indent="0" algn="l" defTabSz="3992166" rtl="0" eaLnBrk="1" fontAlgn="auto" latinLnBrk="0" hangingPunct="1">
              <a:lnSpc>
                <a:spcPct val="100000"/>
              </a:lnSpc>
              <a:spcBef>
                <a:spcPts val="0"/>
              </a:spcBef>
              <a:spcAft>
                <a:spcPts val="450"/>
              </a:spcAft>
              <a:buClrTx/>
              <a:buSzTx/>
              <a:buFontTx/>
              <a:buNone/>
              <a:tabLst/>
              <a:defRPr/>
            </a:pPr>
            <a:br>
              <a:rPr kumimoji="0" lang="en-GB" sz="105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br>
            <a:r>
              <a:rPr kumimoji="0" lang="en-GB" sz="105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PLS, plain language summary</a:t>
            </a:r>
          </a:p>
        </p:txBody>
      </p:sp>
      <p:sp>
        <p:nvSpPr>
          <p:cNvPr id="5" name="Slide Number Placeholder 2">
            <a:extLst>
              <a:ext uri="{FF2B5EF4-FFF2-40B4-BE49-F238E27FC236}">
                <a16:creationId xmlns:a16="http://schemas.microsoft.com/office/drawing/2014/main" id="{31948635-4099-407B-ACDC-EC02A68A809D}"/>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1</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89681766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clusions</a:t>
            </a:r>
          </a:p>
        </p:txBody>
      </p:sp>
      <p:sp>
        <p:nvSpPr>
          <p:cNvPr id="3" name="Content Placeholder 2"/>
          <p:cNvSpPr>
            <a:spLocks noGrp="1"/>
          </p:cNvSpPr>
          <p:nvPr>
            <p:ph idx="1"/>
          </p:nvPr>
        </p:nvSpPr>
        <p:spPr/>
        <p:txBody>
          <a:bodyPr/>
          <a:lstStyle/>
          <a:p>
            <a:pPr marL="257175" lvl="3" indent="-257175">
              <a:lnSpc>
                <a:spcPct val="100000"/>
              </a:lnSpc>
              <a:spcBef>
                <a:spcPts val="1350"/>
              </a:spcBef>
            </a:pPr>
            <a:r>
              <a:rPr lang="en-GB" dirty="0"/>
              <a:t>These preliminary results suggest that, for an open-access article, inclusion of a PLS may contribute to increased access to the publication</a:t>
            </a:r>
          </a:p>
          <a:p>
            <a:pPr marL="257175" lvl="3" indent="-257175">
              <a:lnSpc>
                <a:spcPct val="100000"/>
              </a:lnSpc>
              <a:spcBef>
                <a:spcPts val="1350"/>
              </a:spcBef>
            </a:pPr>
            <a:r>
              <a:rPr lang="en-GB" dirty="0"/>
              <a:t>More research is needed to confirm this link, and contextualise other factors that may influence the popularity of articles with/without PLS</a:t>
            </a:r>
          </a:p>
        </p:txBody>
      </p:sp>
      <p:sp>
        <p:nvSpPr>
          <p:cNvPr id="4" name="Rectangle 3"/>
          <p:cNvSpPr/>
          <p:nvPr/>
        </p:nvSpPr>
        <p:spPr>
          <a:xfrm>
            <a:off x="1" y="4579077"/>
            <a:ext cx="7736681" cy="415498"/>
          </a:xfrm>
          <a:prstGeom prst="rect">
            <a:avLst/>
          </a:prstGeom>
        </p:spPr>
        <p:txBody>
          <a:bodyPr wrap="square">
            <a:spAutoFit/>
          </a:bodyPr>
          <a:lstStyle/>
          <a:p>
            <a:pPr marL="0" marR="0" lvl="0" indent="0" algn="l" defTabSz="3992166" rtl="0" eaLnBrk="1" fontAlgn="auto" latinLnBrk="0" hangingPunct="1">
              <a:lnSpc>
                <a:spcPct val="100000"/>
              </a:lnSpc>
              <a:spcBef>
                <a:spcPts val="0"/>
              </a:spcBef>
              <a:spcAft>
                <a:spcPts val="450"/>
              </a:spcAft>
              <a:buClrTx/>
              <a:buSzTx/>
              <a:buFontTx/>
              <a:buNone/>
              <a:tabLst/>
              <a:defRPr/>
            </a:pPr>
            <a:br>
              <a:rPr kumimoji="0" lang="en-GB" sz="105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br>
            <a:r>
              <a:rPr kumimoji="0" lang="en-GB" sz="1050" b="0" i="0" u="none" strike="noStrike" kern="1200" cap="none" spc="0" normalizeH="0" baseline="0" noProof="0" dirty="0">
                <a:ln>
                  <a:noFill/>
                </a:ln>
                <a:solidFill>
                  <a:srgbClr val="44546A"/>
                </a:solidFill>
                <a:effectLst/>
                <a:uLnTx/>
                <a:uFillTx/>
                <a:latin typeface="Calibri" panose="020F0502020204030204" pitchFamily="34" charset="0"/>
                <a:ea typeface="+mn-ea"/>
                <a:cs typeface="Calibri" panose="020F0502020204030204" pitchFamily="34" charset="0"/>
              </a:rPr>
              <a:t>PLS, plain language summary</a:t>
            </a:r>
          </a:p>
        </p:txBody>
      </p:sp>
      <p:sp>
        <p:nvSpPr>
          <p:cNvPr id="5" name="Slide Number Placeholder 2">
            <a:extLst>
              <a:ext uri="{FF2B5EF4-FFF2-40B4-BE49-F238E27FC236}">
                <a16:creationId xmlns:a16="http://schemas.microsoft.com/office/drawing/2014/main" id="{699C47FE-81BC-4BA4-A8BB-6003AEC97C4A}"/>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2</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8833369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Post-study reflections: There is a lot of variation in PLS formats</a:t>
            </a:r>
          </a:p>
        </p:txBody>
      </p:sp>
      <p:graphicFrame>
        <p:nvGraphicFramePr>
          <p:cNvPr id="11" name="Content Placeholder 10"/>
          <p:cNvGraphicFramePr>
            <a:graphicFrameLocks noGrp="1"/>
          </p:cNvGraphicFramePr>
          <p:nvPr>
            <p:ph idx="1"/>
          </p:nvPr>
        </p:nvGraphicFramePr>
        <p:xfrm>
          <a:off x="322660" y="1148954"/>
          <a:ext cx="8518922" cy="34837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2">
            <a:extLst>
              <a:ext uri="{FF2B5EF4-FFF2-40B4-BE49-F238E27FC236}">
                <a16:creationId xmlns:a16="http://schemas.microsoft.com/office/drawing/2014/main" id="{F9DF17EB-8AD3-4889-9B9C-6CA218B1AF44}"/>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3</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6981196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BCED93A-3FDC-42A8-866D-179067255059}"/>
              </a:ext>
            </a:extLst>
          </p:cNvPr>
          <p:cNvSpPr>
            <a:spLocks noGrp="1"/>
          </p:cNvSpPr>
          <p:nvPr>
            <p:ph type="title"/>
          </p:nvPr>
        </p:nvSpPr>
        <p:spPr/>
        <p:txBody>
          <a:bodyPr/>
          <a:lstStyle/>
          <a:p>
            <a:r>
              <a:rPr lang="en-US" dirty="0"/>
              <a:t>Faculty Discussion</a:t>
            </a:r>
          </a:p>
        </p:txBody>
      </p:sp>
      <p:sp>
        <p:nvSpPr>
          <p:cNvPr id="7" name="Text Placeholder 7">
            <a:extLst>
              <a:ext uri="{FF2B5EF4-FFF2-40B4-BE49-F238E27FC236}">
                <a16:creationId xmlns:a16="http://schemas.microsoft.com/office/drawing/2014/main" id="{2900D798-E270-4331-86F9-3F0A70ED4170}"/>
              </a:ext>
            </a:extLst>
          </p:cNvPr>
          <p:cNvSpPr txBox="1">
            <a:spLocks/>
          </p:cNvSpPr>
          <p:nvPr/>
        </p:nvSpPr>
        <p:spPr>
          <a:xfrm>
            <a:off x="3000375" y="3157538"/>
            <a:ext cx="5510213" cy="995012"/>
          </a:xfrm>
          <a:prstGeom prst="roundRect">
            <a:avLst/>
          </a:prstGeom>
          <a:noFill/>
          <a:ln w="12700" cap="flat" cmpd="sng" algn="ctr">
            <a:solidFill>
              <a:schemeClr val="accent6"/>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lnSpcReduction="10000"/>
          </a:bodyPr>
          <a:lstStyle>
            <a:lvl1pPr marL="0" indent="0" algn="l" defTabSz="685800" rtl="0" eaLnBrk="1" latinLnBrk="0" hangingPunct="1">
              <a:lnSpc>
                <a:spcPct val="90000"/>
              </a:lnSpc>
              <a:spcBef>
                <a:spcPts val="750"/>
              </a:spcBef>
              <a:buClr>
                <a:srgbClr val="F28C11"/>
              </a:buClr>
              <a:buFont typeface="Arial" panose="020B0604020202020204" pitchFamily="34" charset="0"/>
              <a:buNone/>
              <a:defRPr sz="2400" b="1" i="0" kern="1200">
                <a:solidFill>
                  <a:schemeClr val="tx1"/>
                </a:solidFill>
                <a:latin typeface="+mn-lt"/>
                <a:ea typeface="+mn-ea"/>
                <a:cs typeface="+mn-cs"/>
              </a:defRPr>
            </a:lvl1pPr>
            <a:lvl2pPr marL="342900" indent="0" algn="l" defTabSz="685800" rtl="0" eaLnBrk="1" latinLnBrk="0" hangingPunct="1">
              <a:lnSpc>
                <a:spcPct val="90000"/>
              </a:lnSpc>
              <a:spcBef>
                <a:spcPts val="375"/>
              </a:spcBef>
              <a:buClr>
                <a:srgbClr val="F28C11"/>
              </a:buClr>
              <a:buFont typeface=".AppleSystemUIFont" charset="-120"/>
              <a:buNone/>
              <a:tabLst/>
              <a:defRPr sz="1500" kern="1200">
                <a:solidFill>
                  <a:schemeClr val="tx1">
                    <a:tint val="75000"/>
                  </a:schemeClr>
                </a:solidFill>
                <a:latin typeface="+mn-lt"/>
                <a:ea typeface="+mn-ea"/>
                <a:cs typeface="+mn-cs"/>
              </a:defRPr>
            </a:lvl2pPr>
            <a:lvl3pPr marL="685800" indent="0" algn="l" defTabSz="685800" rtl="0" eaLnBrk="1" latinLnBrk="0" hangingPunct="1">
              <a:lnSpc>
                <a:spcPct val="90000"/>
              </a:lnSpc>
              <a:spcBef>
                <a:spcPts val="375"/>
              </a:spcBef>
              <a:buClr>
                <a:srgbClr val="F28C11"/>
              </a:buClr>
              <a:buFont typeface="Wingdings" charset="2"/>
              <a:buNone/>
              <a:tabLst/>
              <a:defRPr sz="1350" kern="1200">
                <a:solidFill>
                  <a:schemeClr val="tx1">
                    <a:tint val="75000"/>
                  </a:schemeClr>
                </a:solidFill>
                <a:latin typeface="+mn-lt"/>
                <a:ea typeface="+mn-ea"/>
                <a:cs typeface="+mn-cs"/>
              </a:defRPr>
            </a:lvl3pPr>
            <a:lvl4pPr marL="1028700" indent="0" algn="l" defTabSz="685800" rtl="0" eaLnBrk="1" latinLnBrk="0" hangingPunct="1">
              <a:lnSpc>
                <a:spcPct val="90000"/>
              </a:lnSpc>
              <a:spcBef>
                <a:spcPts val="375"/>
              </a:spcBef>
              <a:buClr>
                <a:srgbClr val="F28C11"/>
              </a:buClr>
              <a:buFont typeface="Arial" panose="020B0604020202020204" pitchFamily="34" charset="0"/>
              <a:buNone/>
              <a:tabLst/>
              <a:defRPr sz="1200" kern="1200">
                <a:solidFill>
                  <a:schemeClr val="tx1">
                    <a:tint val="75000"/>
                  </a:schemeClr>
                </a:solidFill>
                <a:latin typeface="+mn-lt"/>
                <a:ea typeface="+mn-ea"/>
                <a:cs typeface="+mn-cs"/>
              </a:defRPr>
            </a:lvl4pPr>
            <a:lvl5pPr marL="1371600" indent="0" algn="l" defTabSz="685800" rtl="0" eaLnBrk="1" latinLnBrk="0" hangingPunct="1">
              <a:lnSpc>
                <a:spcPct val="90000"/>
              </a:lnSpc>
              <a:spcBef>
                <a:spcPts val="375"/>
              </a:spcBef>
              <a:buClr>
                <a:srgbClr val="F28C11"/>
              </a:buClr>
              <a:buFont typeface="Courier New" charset="0"/>
              <a:buNone/>
              <a:tabLst/>
              <a:defRPr sz="1200" kern="1200">
                <a:solidFill>
                  <a:schemeClr val="tx1">
                    <a:tint val="75000"/>
                  </a:schemeClr>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r>
              <a:rPr lang="en-US" sz="1800" b="0" dirty="0">
                <a:latin typeface="Arial Narrow" panose="020B0606020202030204" pitchFamily="34" charset="0"/>
                <a:cs typeface="Arial" panose="020B0604020202020204" pitchFamily="34" charset="0"/>
              </a:rPr>
              <a:t>You can submit questions at any time. </a:t>
            </a:r>
          </a:p>
          <a:p>
            <a:r>
              <a:rPr lang="en-US" sz="1800" b="0" dirty="0">
                <a:solidFill>
                  <a:schemeClr val="accent1"/>
                </a:solidFill>
                <a:latin typeface="Arial Narrow" panose="020B0606020202030204" pitchFamily="34" charset="0"/>
                <a:cs typeface="Arial" panose="020B0604020202020204" pitchFamily="34" charset="0"/>
              </a:rPr>
              <a:t>To ask a question</a:t>
            </a:r>
            <a:r>
              <a:rPr lang="en-US" sz="1800" b="0" dirty="0">
                <a:latin typeface="Arial Narrow" panose="020B0606020202030204" pitchFamily="34" charset="0"/>
                <a:cs typeface="Arial" panose="020B0604020202020204" pitchFamily="34" charset="0"/>
              </a:rPr>
              <a:t>, open the Q&amp;A window, type your question into the Q&amp;A box. </a:t>
            </a:r>
            <a:r>
              <a:rPr lang="en-US" sz="1800" b="0" dirty="0">
                <a:solidFill>
                  <a:schemeClr val="accent1"/>
                </a:solidFill>
                <a:latin typeface="Arial Narrow" panose="020B0606020202030204" pitchFamily="34" charset="0"/>
                <a:cs typeface="Arial" panose="020B0604020202020204" pitchFamily="34" charset="0"/>
              </a:rPr>
              <a:t>Click Send</a:t>
            </a:r>
            <a:r>
              <a:rPr lang="en-US" sz="1800" b="0" dirty="0">
                <a:latin typeface="Arial Narrow" panose="020B0606020202030204" pitchFamily="34" charset="0"/>
                <a:cs typeface="Arial" panose="020B0604020202020204" pitchFamily="34" charset="0"/>
              </a:rPr>
              <a:t>. </a:t>
            </a:r>
            <a:endParaRPr lang="en-US" sz="1000" b="0" dirty="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110132424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C0F6E1-CF8B-4BCF-8E73-237513D9EAF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4" name="Object 3" hidden="1">
                        <a:extLst>
                          <a:ext uri="{FF2B5EF4-FFF2-40B4-BE49-F238E27FC236}">
                            <a16:creationId xmlns:a16="http://schemas.microsoft.com/office/drawing/2014/main" id="{56C0F6E1-CF8B-4BCF-8E73-237513D9EAF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C5B36683-8DFF-4DF9-8CF4-0FE412B2B489}"/>
              </a:ext>
            </a:extLst>
          </p:cNvPr>
          <p:cNvSpPr>
            <a:spLocks noGrp="1"/>
          </p:cNvSpPr>
          <p:nvPr>
            <p:ph type="title"/>
          </p:nvPr>
        </p:nvSpPr>
        <p:spPr/>
        <p:txBody>
          <a:bodyPr/>
          <a:lstStyle/>
          <a:p>
            <a:r>
              <a:rPr lang="en-US" dirty="0"/>
              <a:t>Audience Q&amp;A</a:t>
            </a:r>
          </a:p>
        </p:txBody>
      </p:sp>
      <p:sp>
        <p:nvSpPr>
          <p:cNvPr id="12" name="Text Placeholder 7">
            <a:extLst>
              <a:ext uri="{FF2B5EF4-FFF2-40B4-BE49-F238E27FC236}">
                <a16:creationId xmlns:a16="http://schemas.microsoft.com/office/drawing/2014/main" id="{DFE67A4E-1222-4DAC-B542-A206577A15CD}"/>
              </a:ext>
            </a:extLst>
          </p:cNvPr>
          <p:cNvSpPr txBox="1">
            <a:spLocks/>
          </p:cNvSpPr>
          <p:nvPr/>
        </p:nvSpPr>
        <p:spPr>
          <a:xfrm>
            <a:off x="3000375" y="3157538"/>
            <a:ext cx="5510213" cy="995012"/>
          </a:xfrm>
          <a:prstGeom prst="roundRect">
            <a:avLst/>
          </a:prstGeom>
          <a:noFill/>
          <a:ln w="12700" cap="flat" cmpd="sng" algn="ctr">
            <a:solidFill>
              <a:schemeClr val="accent6"/>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l" defTabSz="685800" rtl="0" eaLnBrk="1" latinLnBrk="0" hangingPunct="1">
              <a:lnSpc>
                <a:spcPct val="90000"/>
              </a:lnSpc>
              <a:spcBef>
                <a:spcPts val="750"/>
              </a:spcBef>
              <a:buClr>
                <a:srgbClr val="F28C11"/>
              </a:buClr>
              <a:buFont typeface="Arial" panose="020B0604020202020204" pitchFamily="34" charset="0"/>
              <a:buNone/>
              <a:defRPr sz="2400" b="1" i="0" kern="1200">
                <a:solidFill>
                  <a:schemeClr val="tx1"/>
                </a:solidFill>
                <a:latin typeface="+mn-lt"/>
                <a:ea typeface="+mn-ea"/>
                <a:cs typeface="+mn-cs"/>
              </a:defRPr>
            </a:lvl1pPr>
            <a:lvl2pPr marL="342900" indent="0" algn="l" defTabSz="685800" rtl="0" eaLnBrk="1" latinLnBrk="0" hangingPunct="1">
              <a:lnSpc>
                <a:spcPct val="90000"/>
              </a:lnSpc>
              <a:spcBef>
                <a:spcPts val="375"/>
              </a:spcBef>
              <a:buClr>
                <a:srgbClr val="F28C11"/>
              </a:buClr>
              <a:buFont typeface=".AppleSystemUIFont" charset="-120"/>
              <a:buNone/>
              <a:tabLst/>
              <a:defRPr sz="1500" kern="1200">
                <a:solidFill>
                  <a:schemeClr val="tx1">
                    <a:tint val="75000"/>
                  </a:schemeClr>
                </a:solidFill>
                <a:latin typeface="+mn-lt"/>
                <a:ea typeface="+mn-ea"/>
                <a:cs typeface="+mn-cs"/>
              </a:defRPr>
            </a:lvl2pPr>
            <a:lvl3pPr marL="685800" indent="0" algn="l" defTabSz="685800" rtl="0" eaLnBrk="1" latinLnBrk="0" hangingPunct="1">
              <a:lnSpc>
                <a:spcPct val="90000"/>
              </a:lnSpc>
              <a:spcBef>
                <a:spcPts val="375"/>
              </a:spcBef>
              <a:buClr>
                <a:srgbClr val="F28C11"/>
              </a:buClr>
              <a:buFont typeface="Wingdings" charset="2"/>
              <a:buNone/>
              <a:tabLst/>
              <a:defRPr sz="1350" kern="1200">
                <a:solidFill>
                  <a:schemeClr val="tx1">
                    <a:tint val="75000"/>
                  </a:schemeClr>
                </a:solidFill>
                <a:latin typeface="+mn-lt"/>
                <a:ea typeface="+mn-ea"/>
                <a:cs typeface="+mn-cs"/>
              </a:defRPr>
            </a:lvl3pPr>
            <a:lvl4pPr marL="1028700" indent="0" algn="l" defTabSz="685800" rtl="0" eaLnBrk="1" latinLnBrk="0" hangingPunct="1">
              <a:lnSpc>
                <a:spcPct val="90000"/>
              </a:lnSpc>
              <a:spcBef>
                <a:spcPts val="375"/>
              </a:spcBef>
              <a:buClr>
                <a:srgbClr val="F28C11"/>
              </a:buClr>
              <a:buFont typeface="Arial" panose="020B0604020202020204" pitchFamily="34" charset="0"/>
              <a:buNone/>
              <a:tabLst/>
              <a:defRPr sz="1200" kern="1200">
                <a:solidFill>
                  <a:schemeClr val="tx1">
                    <a:tint val="75000"/>
                  </a:schemeClr>
                </a:solidFill>
                <a:latin typeface="+mn-lt"/>
                <a:ea typeface="+mn-ea"/>
                <a:cs typeface="+mn-cs"/>
              </a:defRPr>
            </a:lvl4pPr>
            <a:lvl5pPr marL="1371600" indent="0" algn="l" defTabSz="685800" rtl="0" eaLnBrk="1" latinLnBrk="0" hangingPunct="1">
              <a:lnSpc>
                <a:spcPct val="90000"/>
              </a:lnSpc>
              <a:spcBef>
                <a:spcPts val="375"/>
              </a:spcBef>
              <a:buClr>
                <a:srgbClr val="F28C11"/>
              </a:buClr>
              <a:buFont typeface="Courier New" charset="0"/>
              <a:buNone/>
              <a:tabLst/>
              <a:defRPr sz="1200" kern="1200">
                <a:solidFill>
                  <a:schemeClr val="tx1">
                    <a:tint val="75000"/>
                  </a:schemeClr>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6pPr>
            <a:lvl7pPr marL="20574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7pPr>
            <a:lvl8pPr marL="24003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8pPr>
            <a:lvl9pPr marL="2743200" indent="0" algn="l" defTabSz="685800" rtl="0" eaLnBrk="1" latinLnBrk="0" hangingPunct="1">
              <a:lnSpc>
                <a:spcPct val="90000"/>
              </a:lnSpc>
              <a:spcBef>
                <a:spcPts val="375"/>
              </a:spcBef>
              <a:buFont typeface="Arial" panose="020B0604020202020204" pitchFamily="34" charset="0"/>
              <a:buNone/>
              <a:defRPr sz="1200" kern="1200">
                <a:solidFill>
                  <a:schemeClr val="tx1">
                    <a:tint val="75000"/>
                  </a:schemeClr>
                </a:solidFill>
                <a:latin typeface="+mn-lt"/>
                <a:ea typeface="+mn-ea"/>
                <a:cs typeface="+mn-cs"/>
              </a:defRPr>
            </a:lvl9pPr>
          </a:lstStyle>
          <a:p>
            <a:r>
              <a:rPr lang="en-US" sz="1800" b="0">
                <a:solidFill>
                  <a:schemeClr val="accent1"/>
                </a:solidFill>
                <a:latin typeface="Arial Narrow" panose="020B0606020202030204" pitchFamily="34" charset="0"/>
                <a:cs typeface="Arial" panose="020B0604020202020204" pitchFamily="34" charset="0"/>
              </a:rPr>
              <a:t>To ask a question</a:t>
            </a:r>
            <a:r>
              <a:rPr lang="en-US" sz="1800" b="0">
                <a:latin typeface="Arial Narrow" panose="020B0606020202030204" pitchFamily="34" charset="0"/>
                <a:cs typeface="Arial" panose="020B0604020202020204" pitchFamily="34" charset="0"/>
              </a:rPr>
              <a:t>, open the Q&amp;A window, type your question into the Q&amp;A box. </a:t>
            </a:r>
            <a:r>
              <a:rPr lang="en-US" sz="1800" b="0">
                <a:solidFill>
                  <a:schemeClr val="accent1"/>
                </a:solidFill>
                <a:latin typeface="Arial Narrow" panose="020B0606020202030204" pitchFamily="34" charset="0"/>
                <a:cs typeface="Arial" panose="020B0604020202020204" pitchFamily="34" charset="0"/>
              </a:rPr>
              <a:t>Click Send</a:t>
            </a:r>
            <a:r>
              <a:rPr lang="en-US" sz="1800" b="0">
                <a:latin typeface="Arial Narrow" panose="020B0606020202030204" pitchFamily="34" charset="0"/>
                <a:cs typeface="Arial" panose="020B0604020202020204" pitchFamily="34" charset="0"/>
              </a:rPr>
              <a:t>. </a:t>
            </a:r>
            <a:endParaRPr lang="en-US" sz="1000" b="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14418634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8C3231E-1738-4AC1-8DD9-3C6C45069CEC}"/>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6</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 name="Content Placeholder 3">
            <a:extLst>
              <a:ext uri="{FF2B5EF4-FFF2-40B4-BE49-F238E27FC236}">
                <a16:creationId xmlns:a16="http://schemas.microsoft.com/office/drawing/2014/main" id="{82681E2F-22B5-4534-BD0F-6FF98C2E2FB8}"/>
              </a:ext>
            </a:extLst>
          </p:cNvPr>
          <p:cNvSpPr>
            <a:spLocks noGrp="1"/>
          </p:cNvSpPr>
          <p:nvPr>
            <p:ph idx="1"/>
          </p:nvPr>
        </p:nvSpPr>
        <p:spPr>
          <a:xfrm>
            <a:off x="857251" y="1447801"/>
            <a:ext cx="7016749" cy="3302000"/>
          </a:xfrm>
          <a:ln>
            <a:solidFill>
              <a:srgbClr val="0070C0"/>
            </a:solidFill>
          </a:ln>
        </p:spPr>
        <p:txBody>
          <a:bodyPr/>
          <a:lstStyle/>
          <a:p>
            <a:r>
              <a:rPr lang="en-US" dirty="0"/>
              <a:t>Already on board</a:t>
            </a:r>
          </a:p>
          <a:p>
            <a:r>
              <a:rPr lang="en-US" dirty="0"/>
              <a:t>Ready to start adopting </a:t>
            </a:r>
          </a:p>
          <a:p>
            <a:r>
              <a:rPr lang="en-US" dirty="0"/>
              <a:t>Waiting for GPP4</a:t>
            </a:r>
          </a:p>
          <a:p>
            <a:r>
              <a:rPr lang="en-US" dirty="0"/>
              <a:t>Unlikely to adopt</a:t>
            </a:r>
          </a:p>
          <a:p>
            <a:endParaRPr lang="en-US" dirty="0"/>
          </a:p>
        </p:txBody>
      </p:sp>
      <p:sp>
        <p:nvSpPr>
          <p:cNvPr id="2" name="Title 1">
            <a:extLst>
              <a:ext uri="{FF2B5EF4-FFF2-40B4-BE49-F238E27FC236}">
                <a16:creationId xmlns:a16="http://schemas.microsoft.com/office/drawing/2014/main" id="{8AE7DF0F-79EA-4C0E-A289-180B65798D45}"/>
              </a:ext>
            </a:extLst>
          </p:cNvPr>
          <p:cNvSpPr>
            <a:spLocks noGrp="1"/>
          </p:cNvSpPr>
          <p:nvPr>
            <p:ph type="title"/>
          </p:nvPr>
        </p:nvSpPr>
        <p:spPr>
          <a:xfrm>
            <a:off x="857250" y="122288"/>
            <a:ext cx="7462661" cy="941541"/>
          </a:xfrm>
        </p:spPr>
        <p:txBody>
          <a:bodyPr>
            <a:noAutofit/>
          </a:bodyPr>
          <a:lstStyle/>
          <a:p>
            <a:r>
              <a:rPr lang="en-US" sz="2400" dirty="0"/>
              <a:t>What’s your level of PLS adoption?</a:t>
            </a:r>
          </a:p>
        </p:txBody>
      </p:sp>
    </p:spTree>
    <p:extLst>
      <p:ext uri="{BB962C8B-B14F-4D97-AF65-F5344CB8AC3E}">
        <p14:creationId xmlns:p14="http://schemas.microsoft.com/office/powerpoint/2010/main" val="131679892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400" dirty="0"/>
              <a:t>PLS Resource Slide</a:t>
            </a:r>
          </a:p>
        </p:txBody>
      </p:sp>
      <p:sp>
        <p:nvSpPr>
          <p:cNvPr id="3" name="Content Placeholder 2"/>
          <p:cNvSpPr>
            <a:spLocks noGrp="1"/>
          </p:cNvSpPr>
          <p:nvPr>
            <p:ph idx="1"/>
          </p:nvPr>
        </p:nvSpPr>
        <p:spPr/>
        <p:txBody>
          <a:bodyPr>
            <a:normAutofit fontScale="92500" lnSpcReduction="20000"/>
          </a:bodyPr>
          <a:lstStyle/>
          <a:p>
            <a:pPr marL="257175" lvl="3" indent="-257175">
              <a:lnSpc>
                <a:spcPct val="100000"/>
              </a:lnSpc>
              <a:spcBef>
                <a:spcPts val="1350"/>
              </a:spcBef>
            </a:pPr>
            <a:r>
              <a:rPr lang="en-US" dirty="0">
                <a:hlinkClick r:id="rId3"/>
              </a:rPr>
              <a:t>A Company’s Approach to Developing Publication Plain Language Summaries | the Map (ismpp-newsletter.com)</a:t>
            </a:r>
            <a:endParaRPr lang="en-US" dirty="0"/>
          </a:p>
          <a:p>
            <a:pPr marL="257175" lvl="3" indent="-257175">
              <a:lnSpc>
                <a:spcPct val="100000"/>
              </a:lnSpc>
              <a:spcBef>
                <a:spcPts val="1350"/>
              </a:spcBef>
            </a:pPr>
            <a:r>
              <a:rPr lang="en-US" dirty="0">
                <a:hlinkClick r:id="rId4"/>
              </a:rPr>
              <a:t>Plain language summaries of publications of company-sponsored medical research: what key questions do we need to address? (tandfonline.com)</a:t>
            </a:r>
            <a:endParaRPr lang="en-US" dirty="0"/>
          </a:p>
          <a:p>
            <a:pPr marL="257175" lvl="3" indent="-257175">
              <a:lnSpc>
                <a:spcPct val="100000"/>
              </a:lnSpc>
              <a:spcBef>
                <a:spcPts val="1350"/>
              </a:spcBef>
            </a:pPr>
            <a:r>
              <a:rPr lang="en-US" dirty="0">
                <a:hlinkClick r:id="rId5"/>
              </a:rPr>
              <a:t>ISMPP-Sponsored Study on PLS Now Published in CMRO Presents Expert Perspectives | the Map (ismpp-newsletter.com)</a:t>
            </a:r>
            <a:r>
              <a:rPr lang="en-US" dirty="0"/>
              <a:t> </a:t>
            </a:r>
          </a:p>
          <a:p>
            <a:pPr marL="257175" lvl="3" indent="-257175">
              <a:lnSpc>
                <a:spcPct val="100000"/>
              </a:lnSpc>
              <a:spcBef>
                <a:spcPts val="1350"/>
              </a:spcBef>
            </a:pPr>
            <a:r>
              <a:rPr lang="en-US" dirty="0">
                <a:hlinkClick r:id="rId6"/>
              </a:rPr>
              <a:t>Open Pharma recommendations for plain language summaries of peer-reviewed medical journal publications (tandfonline.com)</a:t>
            </a:r>
            <a:endParaRPr lang="en-GB" u="sng" dirty="0">
              <a:solidFill>
                <a:srgbClr val="0563C1"/>
              </a:solidFill>
              <a:effectLst/>
              <a:ea typeface="Calibri" panose="020F0502020204030204" pitchFamily="34" charset="0"/>
              <a:hlinkClick r:id="rId7"/>
            </a:endParaRPr>
          </a:p>
          <a:p>
            <a:pPr marL="257175" lvl="3" indent="-257175">
              <a:lnSpc>
                <a:spcPct val="100000"/>
              </a:lnSpc>
              <a:spcBef>
                <a:spcPts val="1350"/>
              </a:spcBef>
            </a:pPr>
            <a:r>
              <a:rPr lang="en-GB" u="sng" dirty="0">
                <a:solidFill>
                  <a:srgbClr val="0563C1"/>
                </a:solidFill>
                <a:effectLst/>
                <a:ea typeface="Calibri" panose="020F0502020204030204" pitchFamily="34" charset="0"/>
                <a:hlinkClick r:id="rId7"/>
              </a:rPr>
              <a:t>Journal of Medical Internet Research - Optimizing Readability and Format of Plain Language Summaries for Medical Research Articles: Cross-sectional Survey Study (jmir.org)</a:t>
            </a:r>
            <a:endParaRPr lang="en-GB" u="sng" dirty="0">
              <a:solidFill>
                <a:srgbClr val="0563C1"/>
              </a:solidFill>
              <a:effectLst/>
              <a:ea typeface="Calibri" panose="020F0502020204030204" pitchFamily="34" charset="0"/>
            </a:endParaRPr>
          </a:p>
          <a:p>
            <a:pPr marL="257175" lvl="3" indent="-257175">
              <a:lnSpc>
                <a:spcPct val="100000"/>
              </a:lnSpc>
              <a:spcBef>
                <a:spcPts val="1350"/>
              </a:spcBef>
            </a:pPr>
            <a:r>
              <a:rPr lang="en-GB" dirty="0">
                <a:effectLst/>
                <a:ea typeface="Calibri" panose="020F0502020204030204" pitchFamily="34" charset="0"/>
              </a:rPr>
              <a:t>PFMD guide </a:t>
            </a:r>
            <a:r>
              <a:rPr lang="en-GB" u="sng" dirty="0">
                <a:solidFill>
                  <a:srgbClr val="0563C1"/>
                </a:solidFill>
                <a:effectLst/>
                <a:ea typeface="Calibri" panose="020F0502020204030204" pitchFamily="34" charset="0"/>
                <a:hlinkClick r:id="rId8"/>
              </a:rPr>
              <a:t>https://pemsuite.org/How-to-Guides/WG5.pdf</a:t>
            </a:r>
            <a:r>
              <a:rPr lang="en-GB" dirty="0">
                <a:effectLst/>
                <a:ea typeface="Calibri" panose="020F0502020204030204" pitchFamily="34" charset="0"/>
              </a:rPr>
              <a:t> </a:t>
            </a:r>
          </a:p>
        </p:txBody>
      </p:sp>
      <p:sp>
        <p:nvSpPr>
          <p:cNvPr id="4" name="Slide Number Placeholder 2">
            <a:extLst>
              <a:ext uri="{FF2B5EF4-FFF2-40B4-BE49-F238E27FC236}">
                <a16:creationId xmlns:a16="http://schemas.microsoft.com/office/drawing/2014/main" id="{8F80C2F3-86FD-4C9B-B1E6-FE94551CA689}"/>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7</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25117279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2C93BE-CE3D-4DE4-B069-C376301A6A65}"/>
              </a:ext>
            </a:extLst>
          </p:cNvPr>
          <p:cNvSpPr>
            <a:spLocks noGrp="1"/>
          </p:cNvSpPr>
          <p:nvPr>
            <p:ph type="title"/>
          </p:nvPr>
        </p:nvSpPr>
        <p:spPr/>
        <p:txBody>
          <a:bodyPr>
            <a:normAutofit/>
          </a:bodyPr>
          <a:lstStyle/>
          <a:p>
            <a:r>
              <a:rPr lang="en-US" sz="3200" dirty="0"/>
              <a:t>Upcoming ISMPP U Webinars</a:t>
            </a:r>
          </a:p>
        </p:txBody>
      </p:sp>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8</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grpSp>
        <p:nvGrpSpPr>
          <p:cNvPr id="9" name="Group 8">
            <a:extLst>
              <a:ext uri="{FF2B5EF4-FFF2-40B4-BE49-F238E27FC236}">
                <a16:creationId xmlns:a16="http://schemas.microsoft.com/office/drawing/2014/main" id="{9BE29CBD-EA64-4311-9416-A4509447FFD4}"/>
              </a:ext>
            </a:extLst>
          </p:cNvPr>
          <p:cNvGrpSpPr>
            <a:grpSpLocks/>
          </p:cNvGrpSpPr>
          <p:nvPr/>
        </p:nvGrpSpPr>
        <p:grpSpPr>
          <a:xfrm>
            <a:off x="691192" y="1318496"/>
            <a:ext cx="7684866" cy="1632926"/>
            <a:chOff x="395288" y="6318314"/>
            <a:chExt cx="15865819" cy="1105528"/>
          </a:xfrm>
        </p:grpSpPr>
        <p:sp>
          <p:nvSpPr>
            <p:cNvPr id="10" name="Rectangle: Rounded Corners 9">
              <a:extLst>
                <a:ext uri="{FF2B5EF4-FFF2-40B4-BE49-F238E27FC236}">
                  <a16:creationId xmlns:a16="http://schemas.microsoft.com/office/drawing/2014/main" id="{7F23B056-5A55-4CBC-9853-67740DD0C535}"/>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1" name="Rectangle 10">
              <a:extLst>
                <a:ext uri="{FF2B5EF4-FFF2-40B4-BE49-F238E27FC236}">
                  <a16:creationId xmlns:a16="http://schemas.microsoft.com/office/drawing/2014/main" id="{95A6E253-A376-4DA0-86D7-5587325B2A7E}"/>
                </a:ext>
              </a:extLst>
            </p:cNvPr>
            <p:cNvSpPr>
              <a:spLocks/>
            </p:cNvSpPr>
            <p:nvPr/>
          </p:nvSpPr>
          <p:spPr>
            <a:xfrm>
              <a:off x="913596" y="6711504"/>
              <a:ext cx="15347511" cy="712338"/>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25"/>
                </a:spcAft>
                <a:buClrTx/>
                <a:buSzTx/>
                <a:buFontTx/>
                <a:buNone/>
                <a:tabLst>
                  <a:tab pos="2088356" algn="l"/>
                </a:tabLst>
                <a:defRPr/>
              </a:pPr>
              <a:r>
                <a:rPr lang="en-GB" sz="1800" b="1" dirty="0">
                  <a:solidFill>
                    <a:srgbClr val="0070C0"/>
                  </a:solidFill>
                  <a:latin typeface="Franklin Gothic Book" panose="020B0503020102020204"/>
                </a:rPr>
                <a:t>March 2</a:t>
              </a:r>
              <a:r>
                <a:rPr kumimoji="0" lang="en-GB" sz="1800" b="1" i="0" u="none" strike="noStrike" kern="1200" cap="none" spc="0" normalizeH="0" baseline="0" noProof="0" dirty="0">
                  <a:ln>
                    <a:noFill/>
                  </a:ln>
                  <a:solidFill>
                    <a:srgbClr val="0070C0"/>
                  </a:solidFill>
                  <a:effectLst/>
                  <a:uLnTx/>
                  <a:uFillTx/>
                  <a:latin typeface="Franklin Gothic Book" panose="020B0503020102020204"/>
                  <a:ea typeface="+mn-ea"/>
                  <a:cs typeface="+mn-cs"/>
                </a:rPr>
                <a:t>, 2022: </a:t>
              </a:r>
              <a:endParaRPr kumimoji="0" lang="en-GB" sz="1800" b="1" i="0" u="none" strike="noStrike" kern="1200" cap="none" spc="0" normalizeH="0" baseline="0" noProof="0" dirty="0">
                <a:ln>
                  <a:noFill/>
                </a:ln>
                <a:solidFill>
                  <a:srgbClr val="0070C0"/>
                </a:solidFill>
                <a:effectLst/>
                <a:uLnTx/>
                <a:uFillTx/>
                <a:latin typeface="Franklin Gothic Book" panose="020B0503020102020204"/>
                <a:ea typeface="+mn-lt"/>
                <a:cs typeface="+mn-lt"/>
              </a:endParaRPr>
            </a:p>
            <a:p>
              <a:pPr>
                <a:spcAft>
                  <a:spcPts val="1125"/>
                </a:spcAft>
                <a:tabLst>
                  <a:tab pos="2088356" algn="l"/>
                </a:tabLst>
                <a:defRPr/>
              </a:pPr>
              <a:r>
                <a:rPr lang="en-GB" sz="1800" b="1" dirty="0">
                  <a:solidFill>
                    <a:srgbClr val="0070C0"/>
                  </a:solidFill>
                  <a:latin typeface="Franklin Gothic Book" panose="020B0503020102020204"/>
                  <a:ea typeface="+mn-lt"/>
                  <a:cs typeface="+mn-lt"/>
                </a:rPr>
                <a:t>2022 European Meeting Member Research</a:t>
              </a:r>
            </a:p>
            <a:p>
              <a:pPr marL="0" marR="0" lvl="0" indent="0" algn="l" defTabSz="685800" rtl="0" eaLnBrk="1" fontAlgn="auto" latinLnBrk="0" hangingPunct="1">
                <a:lnSpc>
                  <a:spcPct val="100000"/>
                </a:lnSpc>
                <a:spcBef>
                  <a:spcPts val="0"/>
                </a:spcBef>
                <a:spcAft>
                  <a:spcPts val="1125"/>
                </a:spcAft>
                <a:buClrTx/>
                <a:buSzTx/>
                <a:buFontTx/>
                <a:buNone/>
                <a:tabLst>
                  <a:tab pos="2088356" algn="l"/>
                </a:tabLst>
                <a:defRPr/>
              </a:pPr>
              <a:r>
                <a:rPr kumimoji="0" lang="en-GB" sz="1800" b="1" i="0" u="none" strike="noStrike" kern="1200" cap="none" spc="0" normalizeH="0" baseline="0" noProof="0" dirty="0">
                  <a:ln>
                    <a:noFill/>
                  </a:ln>
                  <a:solidFill>
                    <a:srgbClr val="0070C0"/>
                  </a:solidFill>
                  <a:effectLst/>
                  <a:uLnTx/>
                  <a:uFillTx/>
                  <a:latin typeface="Franklin Gothic Book" panose="020B0503020102020204"/>
                  <a:ea typeface="+mn-lt"/>
                  <a:cs typeface="+mn-lt"/>
                </a:rPr>
                <a:t> </a:t>
              </a:r>
            </a:p>
            <a:p>
              <a:pPr marL="0" marR="0" lvl="0" indent="0" algn="l" defTabSz="685800" rtl="0" eaLnBrk="1" fontAlgn="auto" latinLnBrk="0" hangingPunct="1">
                <a:lnSpc>
                  <a:spcPct val="100000"/>
                </a:lnSpc>
                <a:spcBef>
                  <a:spcPts val="0"/>
                </a:spcBef>
                <a:spcAft>
                  <a:spcPts val="1125"/>
                </a:spcAft>
                <a:buClrTx/>
                <a:buSzTx/>
                <a:buFontTx/>
                <a:buNone/>
                <a:tabLst>
                  <a:tab pos="2088356" algn="l"/>
                </a:tabLst>
                <a:defRPr/>
              </a:pPr>
              <a:endParaRPr kumimoji="0" lang="en-GB" sz="1800" b="1" i="0" u="none" strike="noStrike" kern="1200" cap="none" spc="0" normalizeH="0" baseline="0" noProof="0" dirty="0">
                <a:ln>
                  <a:noFill/>
                </a:ln>
                <a:solidFill>
                  <a:srgbClr val="4472C4"/>
                </a:solidFill>
                <a:effectLst/>
                <a:uLnTx/>
                <a:uFillTx/>
                <a:latin typeface="Franklin Gothic Book" panose="020B0503020102020204"/>
                <a:ea typeface="+mn-ea"/>
                <a:cs typeface="+mn-cs"/>
              </a:endParaRPr>
            </a:p>
          </p:txBody>
        </p:sp>
      </p:grpSp>
      <p:grpSp>
        <p:nvGrpSpPr>
          <p:cNvPr id="12" name="Group 11">
            <a:extLst>
              <a:ext uri="{FF2B5EF4-FFF2-40B4-BE49-F238E27FC236}">
                <a16:creationId xmlns:a16="http://schemas.microsoft.com/office/drawing/2014/main" id="{701AA716-E11B-40F3-8242-9E94BABFBABE}"/>
              </a:ext>
            </a:extLst>
          </p:cNvPr>
          <p:cNvGrpSpPr>
            <a:grpSpLocks/>
          </p:cNvGrpSpPr>
          <p:nvPr/>
        </p:nvGrpSpPr>
        <p:grpSpPr>
          <a:xfrm>
            <a:off x="691191" y="3095477"/>
            <a:ext cx="7684867" cy="1849183"/>
            <a:chOff x="395288" y="6318314"/>
            <a:chExt cx="15865821" cy="1380242"/>
          </a:xfrm>
        </p:grpSpPr>
        <p:sp>
          <p:nvSpPr>
            <p:cNvPr id="13" name="Rectangle: Rounded Corners 12">
              <a:extLst>
                <a:ext uri="{FF2B5EF4-FFF2-40B4-BE49-F238E27FC236}">
                  <a16:creationId xmlns:a16="http://schemas.microsoft.com/office/drawing/2014/main" id="{9CC8C8FF-AC07-4A7F-9FE5-17ACF5710774}"/>
                </a:ext>
              </a:extLst>
            </p:cNvPr>
            <p:cNvSpPr>
              <a:spLocks/>
            </p:cNvSpPr>
            <p:nvPr/>
          </p:nvSpPr>
          <p:spPr>
            <a:xfrm>
              <a:off x="395288" y="6318314"/>
              <a:ext cx="15749901" cy="1008000"/>
            </a:xfrm>
            <a:prstGeom prst="roundRect">
              <a:avLst>
                <a:gd name="adj" fmla="val 11108"/>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14" name="Rectangle 13">
              <a:extLst>
                <a:ext uri="{FF2B5EF4-FFF2-40B4-BE49-F238E27FC236}">
                  <a16:creationId xmlns:a16="http://schemas.microsoft.com/office/drawing/2014/main" id="{6281A1C9-29DF-4BB8-B025-8EE6D76202C2}"/>
                </a:ext>
              </a:extLst>
            </p:cNvPr>
            <p:cNvSpPr>
              <a:spLocks/>
            </p:cNvSpPr>
            <p:nvPr/>
          </p:nvSpPr>
          <p:spPr>
            <a:xfrm>
              <a:off x="913598" y="6536752"/>
              <a:ext cx="15347511" cy="1161804"/>
            </a:xfrm>
            <a:prstGeom prst="rect">
              <a:avLst/>
            </a:prstGeom>
          </p:spPr>
          <p:txBody>
            <a:bodyPr lIns="0" tIns="13500" rIns="0" bIns="13500" anchor="ctr">
              <a:noAutofit/>
            </a:bodyPr>
            <a:lstStyle/>
            <a:p>
              <a:pPr marL="0" marR="0" lvl="0" indent="0" algn="l" defTabSz="685800" rtl="0" eaLnBrk="1" fontAlgn="auto" latinLnBrk="0" hangingPunct="1">
                <a:lnSpc>
                  <a:spcPct val="100000"/>
                </a:lnSpc>
                <a:spcBef>
                  <a:spcPts val="0"/>
                </a:spcBef>
                <a:spcAft>
                  <a:spcPts val="1125"/>
                </a:spcAft>
                <a:buClrTx/>
                <a:buSzTx/>
                <a:buFontTx/>
                <a:buNone/>
                <a:tabLst>
                  <a:tab pos="2088356" algn="l"/>
                </a:tabLst>
                <a:defRPr/>
              </a:pPr>
              <a:r>
                <a:rPr lang="en-GB" sz="1800" b="1" dirty="0">
                  <a:solidFill>
                    <a:srgbClr val="0070C0"/>
                  </a:solidFill>
                  <a:latin typeface="Franklin Gothic Book" panose="020B0503020102020204"/>
                </a:rPr>
                <a:t>Upcoming topics:</a:t>
              </a:r>
            </a:p>
            <a:p>
              <a:pPr marL="285750" marR="0" lvl="0" indent="-285750" algn="l" defTabSz="685800" rtl="0" eaLnBrk="1" fontAlgn="auto" latinLnBrk="0" hangingPunct="1">
                <a:lnSpc>
                  <a:spcPct val="100000"/>
                </a:lnSpc>
                <a:spcBef>
                  <a:spcPts val="0"/>
                </a:spcBef>
                <a:spcAft>
                  <a:spcPts val="1125"/>
                </a:spcAft>
                <a:buClrTx/>
                <a:buSzTx/>
                <a:buFont typeface="Arial" panose="020B0604020202020204" pitchFamily="34" charset="0"/>
                <a:buChar char="•"/>
                <a:tabLst>
                  <a:tab pos="2088356" algn="l"/>
                </a:tabLst>
                <a:defRPr/>
              </a:pPr>
              <a:r>
                <a:rPr kumimoji="0" lang="en-GB" sz="1800" b="1" i="0" u="none" strike="noStrike" kern="1200" cap="none" spc="0" normalizeH="0" baseline="0" noProof="0" dirty="0">
                  <a:ln>
                    <a:noFill/>
                  </a:ln>
                  <a:solidFill>
                    <a:srgbClr val="0070C0"/>
                  </a:solidFill>
                  <a:effectLst/>
                  <a:uLnTx/>
                  <a:uFillTx/>
                  <a:latin typeface="Franklin Gothic Book" panose="020B0503020102020204"/>
                  <a:ea typeface="+mn-lt"/>
                  <a:cs typeface="+mn-lt"/>
                </a:rPr>
                <a:t>Updated </a:t>
              </a:r>
              <a:r>
                <a:rPr lang="en-GB" sz="1800" b="1" dirty="0">
                  <a:solidFill>
                    <a:srgbClr val="0070C0"/>
                  </a:solidFill>
                  <a:latin typeface="Franklin Gothic Book" panose="020B0503020102020204"/>
                  <a:ea typeface="+mn-lt"/>
                  <a:cs typeface="+mn-lt"/>
                </a:rPr>
                <a:t>CHEERS</a:t>
              </a:r>
              <a:r>
                <a:rPr kumimoji="0" lang="en-GB" sz="1800" b="1" i="0" u="none" strike="noStrike" kern="1200" cap="none" spc="0" normalizeH="0" baseline="0" noProof="0" dirty="0">
                  <a:ln>
                    <a:noFill/>
                  </a:ln>
                  <a:solidFill>
                    <a:srgbClr val="0070C0"/>
                  </a:solidFill>
                  <a:effectLst/>
                  <a:uLnTx/>
                  <a:uFillTx/>
                  <a:latin typeface="Franklin Gothic Book" panose="020B0503020102020204"/>
                  <a:ea typeface="+mn-lt"/>
                  <a:cs typeface="+mn-lt"/>
                </a:rPr>
                <a:t> Statement</a:t>
              </a:r>
            </a:p>
            <a:p>
              <a:pPr marL="285750" marR="0" lvl="0" indent="-285750" algn="l" defTabSz="685800" rtl="0" eaLnBrk="1" fontAlgn="auto" latinLnBrk="0" hangingPunct="1">
                <a:lnSpc>
                  <a:spcPct val="100000"/>
                </a:lnSpc>
                <a:spcBef>
                  <a:spcPts val="0"/>
                </a:spcBef>
                <a:spcAft>
                  <a:spcPts val="1125"/>
                </a:spcAft>
                <a:buClrTx/>
                <a:buSzTx/>
                <a:buFont typeface="Arial" panose="020B0604020202020204" pitchFamily="34" charset="0"/>
                <a:buChar char="•"/>
                <a:tabLst>
                  <a:tab pos="2088356" algn="l"/>
                </a:tabLst>
                <a:defRPr/>
              </a:pPr>
              <a:r>
                <a:rPr kumimoji="0" lang="en-GB" sz="1800" b="1" i="0" u="none" strike="noStrike" kern="1200" cap="none" spc="0" normalizeH="0" baseline="0" noProof="0" dirty="0">
                  <a:ln>
                    <a:noFill/>
                  </a:ln>
                  <a:solidFill>
                    <a:srgbClr val="0070C0"/>
                  </a:solidFill>
                  <a:effectLst/>
                  <a:uLnTx/>
                  <a:uFillTx/>
                  <a:latin typeface="Franklin Gothic Book" panose="020B0503020102020204"/>
                  <a:ea typeface="+mn-lt"/>
                  <a:cs typeface="+mn-lt"/>
                </a:rPr>
                <a:t>Copyrights </a:t>
              </a:r>
            </a:p>
            <a:p>
              <a:pPr marL="0" marR="0" lvl="0" indent="0" algn="l" defTabSz="685800" rtl="0" eaLnBrk="1" fontAlgn="auto" latinLnBrk="0" hangingPunct="1">
                <a:lnSpc>
                  <a:spcPct val="100000"/>
                </a:lnSpc>
                <a:spcBef>
                  <a:spcPts val="0"/>
                </a:spcBef>
                <a:spcAft>
                  <a:spcPts val="1125"/>
                </a:spcAft>
                <a:buClrTx/>
                <a:buSzTx/>
                <a:buFontTx/>
                <a:buNone/>
                <a:tabLst>
                  <a:tab pos="2088356" algn="l"/>
                </a:tabLst>
                <a:defRPr/>
              </a:pPr>
              <a:endParaRPr kumimoji="0" lang="en-GB" sz="1800" b="1" i="0" u="none" strike="noStrike" kern="1200" cap="none" spc="0" normalizeH="0" baseline="0" noProof="0" dirty="0">
                <a:ln>
                  <a:noFill/>
                </a:ln>
                <a:solidFill>
                  <a:srgbClr val="4472C4"/>
                </a:solidFill>
                <a:effectLst/>
                <a:uLnTx/>
                <a:uFillTx/>
                <a:latin typeface="Franklin Gothic Book" panose="020B0503020102020204"/>
                <a:ea typeface="+mn-lt"/>
                <a:cs typeface="+mn-lt"/>
              </a:endParaRPr>
            </a:p>
            <a:p>
              <a:pPr marL="0" marR="0" lvl="0" indent="0" algn="l" defTabSz="685800" rtl="0" eaLnBrk="1" fontAlgn="auto" latinLnBrk="0" hangingPunct="1">
                <a:lnSpc>
                  <a:spcPct val="100000"/>
                </a:lnSpc>
                <a:spcBef>
                  <a:spcPts val="0"/>
                </a:spcBef>
                <a:spcAft>
                  <a:spcPts val="1125"/>
                </a:spcAft>
                <a:buClrTx/>
                <a:buSzTx/>
                <a:buFontTx/>
                <a:buNone/>
                <a:tabLst>
                  <a:tab pos="2088356" algn="l"/>
                </a:tabLst>
                <a:defRPr/>
              </a:pPr>
              <a:endParaRPr kumimoji="0" lang="en-GB" sz="1800" b="1" i="0" u="none" strike="noStrike" kern="1200" cap="none" spc="0" normalizeH="0" baseline="0" noProof="0" dirty="0">
                <a:ln>
                  <a:noFill/>
                </a:ln>
                <a:solidFill>
                  <a:srgbClr val="4472C4"/>
                </a:solidFill>
                <a:effectLst/>
                <a:uLnTx/>
                <a:uFillTx/>
                <a:latin typeface="Franklin Gothic Book" panose="020B0503020102020204"/>
                <a:ea typeface="+mn-ea"/>
                <a:cs typeface="+mn-cs"/>
              </a:endParaRPr>
            </a:p>
          </p:txBody>
        </p:sp>
      </p:grpSp>
    </p:spTree>
    <p:extLst>
      <p:ext uri="{BB962C8B-B14F-4D97-AF65-F5344CB8AC3E}">
        <p14:creationId xmlns:p14="http://schemas.microsoft.com/office/powerpoint/2010/main" val="59301131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3">
            <a:extLst>
              <a:ext uri="{FF2B5EF4-FFF2-40B4-BE49-F238E27FC236}">
                <a16:creationId xmlns:a16="http://schemas.microsoft.com/office/drawing/2014/main" id="{44C72608-80B2-43A3-BD8E-50C311A9E3AB}"/>
              </a:ext>
            </a:extLst>
          </p:cNvPr>
          <p:cNvSpPr>
            <a:spLocks noGrp="1"/>
          </p:cNvSpPr>
          <p:nvPr>
            <p:ph type="sldNum" sz="quarter" idx="10"/>
          </p:nvPr>
        </p:nvSpPr>
        <p:spPr>
          <a:xfrm>
            <a:off x="6985487" y="27288"/>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9</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sp>
        <p:nvSpPr>
          <p:cNvPr id="4" name="Rectangle 3"/>
          <p:cNvSpPr/>
          <p:nvPr/>
        </p:nvSpPr>
        <p:spPr>
          <a:xfrm>
            <a:off x="5497116" y="4400550"/>
            <a:ext cx="464188"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5" name="Title 4">
            <a:extLst>
              <a:ext uri="{FF2B5EF4-FFF2-40B4-BE49-F238E27FC236}">
                <a16:creationId xmlns:a16="http://schemas.microsoft.com/office/drawing/2014/main" id="{AEBFE75B-1787-43BA-BE3A-A3D0C6AA0C5D}"/>
              </a:ext>
            </a:extLst>
          </p:cNvPr>
          <p:cNvSpPr>
            <a:spLocks noGrp="1"/>
          </p:cNvSpPr>
          <p:nvPr>
            <p:ph type="title"/>
          </p:nvPr>
        </p:nvSpPr>
        <p:spPr/>
        <p:txBody>
          <a:bodyPr/>
          <a:lstStyle/>
          <a:p>
            <a:endParaRPr lang="en-US"/>
          </a:p>
        </p:txBody>
      </p:sp>
      <p:pic>
        <p:nvPicPr>
          <p:cNvPr id="6" name="Picture 5">
            <a:extLst>
              <a:ext uri="{FF2B5EF4-FFF2-40B4-BE49-F238E27FC236}">
                <a16:creationId xmlns:a16="http://schemas.microsoft.com/office/drawing/2014/main" id="{DBF9351A-D77F-4FF8-B06B-254C203AC44A}"/>
              </a:ext>
            </a:extLst>
          </p:cNvPr>
          <p:cNvPicPr>
            <a:picLocks noChangeAspect="1"/>
          </p:cNvPicPr>
          <p:nvPr/>
        </p:nvPicPr>
        <p:blipFill>
          <a:blip r:embed="rId3"/>
          <a:stretch>
            <a:fillRect/>
          </a:stretch>
        </p:blipFill>
        <p:spPr>
          <a:xfrm>
            <a:off x="0" y="0"/>
            <a:ext cx="9143999" cy="5143500"/>
          </a:xfrm>
          <a:prstGeom prst="rect">
            <a:avLst/>
          </a:prstGeom>
        </p:spPr>
      </p:pic>
    </p:spTree>
    <p:extLst>
      <p:ext uri="{BB962C8B-B14F-4D97-AF65-F5344CB8AC3E}">
        <p14:creationId xmlns:p14="http://schemas.microsoft.com/office/powerpoint/2010/main" val="12069132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1FFB4F5D-2FD5-43FA-B06E-6A6C21C67116}"/>
              </a:ext>
            </a:extLst>
          </p:cNvPr>
          <p:cNvSpPr/>
          <p:nvPr/>
        </p:nvSpPr>
        <p:spPr>
          <a:xfrm>
            <a:off x="0" y="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5" name="Picture 4">
            <a:extLst>
              <a:ext uri="{FF2B5EF4-FFF2-40B4-BE49-F238E27FC236}">
                <a16:creationId xmlns:a16="http://schemas.microsoft.com/office/drawing/2014/main" id="{986FCB68-4DC6-480B-A608-D5904F8A9D6E}"/>
              </a:ext>
            </a:extLst>
          </p:cNvPr>
          <p:cNvPicPr>
            <a:picLocks noChangeAspect="1"/>
          </p:cNvPicPr>
          <p:nvPr/>
        </p:nvPicPr>
        <p:blipFill rotWithShape="1">
          <a:blip r:embed="rId2"/>
          <a:srcRect t="10422" b="8506"/>
          <a:stretch/>
        </p:blipFill>
        <p:spPr>
          <a:xfrm>
            <a:off x="0" y="1"/>
            <a:ext cx="9144000" cy="416997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077610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Content Placeholder 2">
            <a:extLst>
              <a:ext uri="{FF2B5EF4-FFF2-40B4-BE49-F238E27FC236}">
                <a16:creationId xmlns:a16="http://schemas.microsoft.com/office/drawing/2014/main" id="{FD0FE247-FC3A-41CD-A62B-1C1848015115}"/>
              </a:ext>
            </a:extLst>
          </p:cNvPr>
          <p:cNvSpPr>
            <a:spLocks noGrp="1"/>
          </p:cNvSpPr>
          <p:nvPr>
            <p:ph idx="11"/>
          </p:nvPr>
        </p:nvSpPr>
        <p:spPr/>
        <p:txBody>
          <a:bodyPr>
            <a:normAutofit/>
          </a:bodyPr>
          <a:lstStyle/>
          <a:p>
            <a:pPr marL="0" indent="0">
              <a:spcAft>
                <a:spcPts val="1200"/>
              </a:spcAft>
              <a:buNone/>
            </a:pPr>
            <a:r>
              <a:rPr lang="en-GB" altLang="en-US" sz="2000"/>
              <a:t>We hope you enjoyed today'</a:t>
            </a:r>
            <a:r>
              <a:rPr lang="en-GB" altLang="ja-JP" sz="2000"/>
              <a:t>s presentation. </a:t>
            </a:r>
          </a:p>
          <a:p>
            <a:pPr marL="0" indent="0">
              <a:spcAft>
                <a:spcPts val="1200"/>
              </a:spcAft>
              <a:buNone/>
            </a:pPr>
            <a:r>
              <a:rPr lang="en-GB" altLang="ja-JP" sz="2000" b="1">
                <a:solidFill>
                  <a:schemeClr val="accent2"/>
                </a:solidFill>
              </a:rPr>
              <a:t>After closing out of Zoom, please click the CONTINUE button </a:t>
            </a:r>
            <a:br>
              <a:rPr lang="en-GB" altLang="ja-JP" sz="2000" b="1">
                <a:solidFill>
                  <a:schemeClr val="accent2"/>
                </a:solidFill>
              </a:rPr>
            </a:br>
            <a:r>
              <a:rPr lang="en-GB" altLang="ja-JP" sz="2000" b="1">
                <a:solidFill>
                  <a:schemeClr val="accent2"/>
                </a:solidFill>
              </a:rPr>
              <a:t>on your screen to take our short survey. Thank you!</a:t>
            </a:r>
            <a:endParaRPr lang="en-GB" altLang="en-US" sz="2000" b="1">
              <a:solidFill>
                <a:schemeClr val="accent2"/>
              </a:solidFill>
            </a:endParaRPr>
          </a:p>
        </p:txBody>
      </p:sp>
      <p:sp>
        <p:nvSpPr>
          <p:cNvPr id="3" name="Title 2">
            <a:extLst>
              <a:ext uri="{FF2B5EF4-FFF2-40B4-BE49-F238E27FC236}">
                <a16:creationId xmlns:a16="http://schemas.microsoft.com/office/drawing/2014/main" id="{4F114EF1-A5FF-4254-A531-1B2C555157F1}"/>
              </a:ext>
            </a:extLst>
          </p:cNvPr>
          <p:cNvSpPr>
            <a:spLocks noGrp="1"/>
          </p:cNvSpPr>
          <p:nvPr>
            <p:ph type="title"/>
          </p:nvPr>
        </p:nvSpPr>
        <p:spPr/>
        <p:txBody>
          <a:bodyPr/>
          <a:lstStyle/>
          <a:p>
            <a:r>
              <a:rPr lang="en-US" sz="3200"/>
              <a:t>Thank you for attending!</a:t>
            </a:r>
          </a:p>
        </p:txBody>
      </p:sp>
      <p:pic>
        <p:nvPicPr>
          <p:cNvPr id="9" name="Picture 8" descr="Graphical user interface, text, application, chat or text message&#10;&#10;Description automatically generated">
            <a:extLst>
              <a:ext uri="{FF2B5EF4-FFF2-40B4-BE49-F238E27FC236}">
                <a16:creationId xmlns:a16="http://schemas.microsoft.com/office/drawing/2014/main" id="{D33EB056-BE07-4485-81AD-724D6E777C6A}"/>
              </a:ext>
            </a:extLst>
          </p:cNvPr>
          <p:cNvPicPr>
            <a:picLocks noChangeAspect="1"/>
          </p:cNvPicPr>
          <p:nvPr/>
        </p:nvPicPr>
        <p:blipFill>
          <a:blip r:embed="rId3"/>
          <a:stretch>
            <a:fillRect/>
          </a:stretch>
        </p:blipFill>
        <p:spPr>
          <a:xfrm>
            <a:off x="2068986" y="2397419"/>
            <a:ext cx="5326380" cy="2407920"/>
          </a:xfrm>
          <a:prstGeom prst="rect">
            <a:avLst/>
          </a:prstGeom>
        </p:spPr>
      </p:pic>
      <p:sp>
        <p:nvSpPr>
          <p:cNvPr id="14" name="Rectangle: Rounded Corners 13">
            <a:extLst>
              <a:ext uri="{FF2B5EF4-FFF2-40B4-BE49-F238E27FC236}">
                <a16:creationId xmlns:a16="http://schemas.microsoft.com/office/drawing/2014/main" id="{FB41DBDD-7315-4825-BA74-4932B3FADCAC}"/>
              </a:ext>
            </a:extLst>
          </p:cNvPr>
          <p:cNvSpPr/>
          <p:nvPr/>
        </p:nvSpPr>
        <p:spPr>
          <a:xfrm>
            <a:off x="3548990" y="4337183"/>
            <a:ext cx="1047754" cy="400903"/>
          </a:xfrm>
          <a:prstGeom prst="roundRect">
            <a:avLst>
              <a:gd name="adj" fmla="val 16667"/>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6" name="Slide Number Placeholder 2">
            <a:extLst>
              <a:ext uri="{FF2B5EF4-FFF2-40B4-BE49-F238E27FC236}">
                <a16:creationId xmlns:a16="http://schemas.microsoft.com/office/drawing/2014/main" id="{F1BF8C6C-81B4-41D4-B2DF-45EA49D3F5E0}"/>
              </a:ext>
            </a:extLst>
          </p:cNvPr>
          <p:cNvSpPr>
            <a:spLocks noGrp="1"/>
          </p:cNvSpPr>
          <p:nvPr>
            <p:ph type="sldNum" sz="quarter" idx="10"/>
          </p:nvPr>
        </p:nvSpPr>
        <p:spPr>
          <a:xfrm>
            <a:off x="6985487" y="59945"/>
            <a:ext cx="2057400" cy="273844"/>
          </a:xfrm>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0</a:t>
            </a:fld>
            <a:endParaRPr kumimoji="0" lang="en-US" sz="9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41223349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01959-1619-4F96-8E97-53B7A28A6417}"/>
              </a:ext>
            </a:extLst>
          </p:cNvPr>
          <p:cNvSpPr>
            <a:spLocks noGrp="1"/>
          </p:cNvSpPr>
          <p:nvPr>
            <p:ph type="ctrTitle"/>
          </p:nvPr>
        </p:nvSpPr>
        <p:spPr>
          <a:xfrm>
            <a:off x="4745892" y="1211087"/>
            <a:ext cx="3877408" cy="664649"/>
          </a:xfrm>
        </p:spPr>
        <p:txBody>
          <a:bodyPr/>
          <a:lstStyle/>
          <a:p>
            <a:r>
              <a:rPr lang="en-US" dirty="0"/>
              <a:t>ISMPP University</a:t>
            </a:r>
          </a:p>
        </p:txBody>
      </p:sp>
      <p:sp>
        <p:nvSpPr>
          <p:cNvPr id="3" name="Subtitle 2">
            <a:extLst>
              <a:ext uri="{FF2B5EF4-FFF2-40B4-BE49-F238E27FC236}">
                <a16:creationId xmlns:a16="http://schemas.microsoft.com/office/drawing/2014/main" id="{F6A5669E-B61B-4FF9-8070-490009B12AEA}"/>
              </a:ext>
            </a:extLst>
          </p:cNvPr>
          <p:cNvSpPr>
            <a:spLocks noGrp="1"/>
          </p:cNvSpPr>
          <p:nvPr>
            <p:ph type="subTitle" idx="1"/>
          </p:nvPr>
        </p:nvSpPr>
        <p:spPr>
          <a:xfrm>
            <a:off x="4511374" y="1872259"/>
            <a:ext cx="4013795" cy="1000219"/>
          </a:xfrm>
        </p:spPr>
        <p:txBody>
          <a:bodyPr/>
          <a:lstStyle/>
          <a:p>
            <a:r>
              <a:rPr lang="en-US" sz="2000" dirty="0"/>
              <a:t>Plain Language Summaries (PLS)              of publications:                                                    </a:t>
            </a:r>
          </a:p>
          <a:p>
            <a:r>
              <a:rPr lang="en-US" sz="2000" dirty="0"/>
              <a:t>Focus on practical application</a:t>
            </a:r>
          </a:p>
          <a:p>
            <a:endParaRPr lang="en-US" dirty="0"/>
          </a:p>
        </p:txBody>
      </p:sp>
      <p:sp>
        <p:nvSpPr>
          <p:cNvPr id="5" name="TextBox 4">
            <a:extLst>
              <a:ext uri="{FF2B5EF4-FFF2-40B4-BE49-F238E27FC236}">
                <a16:creationId xmlns:a16="http://schemas.microsoft.com/office/drawing/2014/main" id="{B51E204F-7927-43EE-8EBD-37CA3BC7DC54}"/>
              </a:ext>
            </a:extLst>
          </p:cNvPr>
          <p:cNvSpPr txBox="1"/>
          <p:nvPr/>
        </p:nvSpPr>
        <p:spPr>
          <a:xfrm>
            <a:off x="4669878" y="3340458"/>
            <a:ext cx="3696789" cy="338554"/>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Franklin Gothic Book" panose="020B0503020102020204"/>
                <a:ea typeface="+mn-ea"/>
                <a:cs typeface="+mn-cs"/>
              </a:rPr>
              <a:t>February 2, 2022</a:t>
            </a:r>
          </a:p>
        </p:txBody>
      </p:sp>
      <p:pic>
        <p:nvPicPr>
          <p:cNvPr id="7" name="Picture 6" descr="A close up of a sign&#10;&#10;Description automatically generated">
            <a:extLst>
              <a:ext uri="{FF2B5EF4-FFF2-40B4-BE49-F238E27FC236}">
                <a16:creationId xmlns:a16="http://schemas.microsoft.com/office/drawing/2014/main" id="{AFBD653C-86B6-49C3-9674-63C430726F0E}"/>
              </a:ext>
            </a:extLst>
          </p:cNvPr>
          <p:cNvPicPr>
            <a:picLocks noChangeAspect="1"/>
          </p:cNvPicPr>
          <p:nvPr/>
        </p:nvPicPr>
        <p:blipFill>
          <a:blip r:embed="rId3"/>
          <a:stretch>
            <a:fillRect/>
          </a:stretch>
        </p:blipFill>
        <p:spPr>
          <a:xfrm>
            <a:off x="5407178" y="320839"/>
            <a:ext cx="696251" cy="696251"/>
          </a:xfrm>
          <a:prstGeom prst="rect">
            <a:avLst/>
          </a:prstGeom>
        </p:spPr>
      </p:pic>
      <p:sp>
        <p:nvSpPr>
          <p:cNvPr id="8" name="Plus Sign 7">
            <a:extLst>
              <a:ext uri="{FF2B5EF4-FFF2-40B4-BE49-F238E27FC236}">
                <a16:creationId xmlns:a16="http://schemas.microsoft.com/office/drawing/2014/main" id="{7697EEA5-09DA-4234-BF38-6B90153E7B0F}"/>
              </a:ext>
            </a:extLst>
          </p:cNvPr>
          <p:cNvSpPr/>
          <p:nvPr/>
        </p:nvSpPr>
        <p:spPr>
          <a:xfrm>
            <a:off x="6265266" y="501823"/>
            <a:ext cx="506023" cy="413025"/>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9" name="Picture 8">
            <a:extLst>
              <a:ext uri="{FF2B5EF4-FFF2-40B4-BE49-F238E27FC236}">
                <a16:creationId xmlns:a16="http://schemas.microsoft.com/office/drawing/2014/main" id="{FCBFCC8E-C30E-4D8F-AA73-663C1BE95284}"/>
              </a:ext>
            </a:extLst>
          </p:cNvPr>
          <p:cNvPicPr>
            <a:picLocks noChangeAspect="1"/>
          </p:cNvPicPr>
          <p:nvPr/>
        </p:nvPicPr>
        <p:blipFill>
          <a:blip r:embed="rId4"/>
          <a:stretch>
            <a:fillRect/>
          </a:stretch>
        </p:blipFill>
        <p:spPr>
          <a:xfrm>
            <a:off x="6863226" y="354328"/>
            <a:ext cx="799153" cy="597740"/>
          </a:xfrm>
          <a:prstGeom prst="rect">
            <a:avLst/>
          </a:prstGeom>
        </p:spPr>
      </p:pic>
    </p:spTree>
    <p:extLst>
      <p:ext uri="{BB962C8B-B14F-4D97-AF65-F5344CB8AC3E}">
        <p14:creationId xmlns:p14="http://schemas.microsoft.com/office/powerpoint/2010/main" val="351179581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7223BBC-1864-437A-AF1F-E7E98CC595D9}"/>
              </a:ext>
            </a:extLst>
          </p:cNvPr>
          <p:cNvSpPr>
            <a:spLocks noGrp="1"/>
          </p:cNvSpPr>
          <p:nvPr>
            <p:ph type="title"/>
          </p:nvPr>
        </p:nvSpPr>
        <p:spPr>
          <a:xfrm>
            <a:off x="3000374" y="557214"/>
            <a:ext cx="5814017" cy="2308622"/>
          </a:xfrm>
        </p:spPr>
        <p:txBody>
          <a:bodyPr/>
          <a:lstStyle/>
          <a:p>
            <a:r>
              <a:rPr lang="en-US" dirty="0"/>
              <a:t>Faculty Bios</a:t>
            </a:r>
          </a:p>
        </p:txBody>
      </p:sp>
    </p:spTree>
    <p:extLst>
      <p:ext uri="{BB962C8B-B14F-4D97-AF65-F5344CB8AC3E}">
        <p14:creationId xmlns:p14="http://schemas.microsoft.com/office/powerpoint/2010/main" val="278943111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0" y="488975"/>
            <a:ext cx="7895740" cy="480131"/>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28C11"/>
                </a:solidFill>
                <a:effectLst/>
                <a:uLnTx/>
                <a:uFillTx/>
                <a:latin typeface="Franklin Gothic Medium" panose="020B0603020102020204"/>
                <a:ea typeface="+mn-ea"/>
                <a:cs typeface="+mn-cs"/>
              </a:rPr>
              <a:t>Melissa Crouse </a:t>
            </a:r>
            <a:endParaRPr kumimoji="0" lang="en-US" sz="2800" b="1" i="0" u="none" strike="noStrike" kern="1200" cap="none" spc="0" normalizeH="0" baseline="30000" noProof="0" dirty="0">
              <a:ln>
                <a:noFill/>
              </a:ln>
              <a:solidFill>
                <a:srgbClr val="F28C11"/>
              </a:solidFill>
              <a:effectLst/>
              <a:uLnTx/>
              <a:uFillTx/>
              <a:latin typeface="Franklin Gothic Medium" panose="020B0603020102020204"/>
              <a:ea typeface="+mn-ea"/>
              <a:cs typeface="+mn-cs"/>
            </a:endParaRPr>
          </a:p>
        </p:txBody>
      </p:sp>
      <p:sp>
        <p:nvSpPr>
          <p:cNvPr id="27" name="Rectangle 26">
            <a:extLst>
              <a:ext uri="{FF2B5EF4-FFF2-40B4-BE49-F238E27FC236}">
                <a16:creationId xmlns:a16="http://schemas.microsoft.com/office/drawing/2014/main" id="{30B86684-560B-4625-9126-37384A52BFC5}"/>
              </a:ext>
            </a:extLst>
          </p:cNvPr>
          <p:cNvSpPr/>
          <p:nvPr/>
        </p:nvSpPr>
        <p:spPr>
          <a:xfrm>
            <a:off x="216197" y="4852293"/>
            <a:ext cx="4389343" cy="196208"/>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Franklin Gothic Book" panose="020B0503020102020204"/>
                <a:ea typeface="+mn-ea"/>
                <a:cs typeface="+mn-cs"/>
              </a:rPr>
              <a:t>CMPP, certified medical publications professional; ISMPP, international society of medical publications professional</a:t>
            </a:r>
            <a:endParaRPr kumimoji="0" lang="en-IN" sz="675" b="0" i="0" u="none" strike="noStrike" kern="1200" cap="none" spc="0" normalizeH="0" baseline="0" noProof="0" dirty="0">
              <a:ln>
                <a:noFill/>
              </a:ln>
              <a:solidFill>
                <a:prstClr val="white"/>
              </a:solidFill>
              <a:effectLst/>
              <a:uLnTx/>
              <a:uFillTx/>
              <a:latin typeface="Franklin Gothic Book" panose="020B0503020102020204"/>
              <a:ea typeface="+mn-ea"/>
              <a:cs typeface="+mn-cs"/>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082565" y="1475109"/>
            <a:ext cx="5437305" cy="2585323"/>
          </a:xfrm>
          <a:prstGeom prst="rect">
            <a:avLst/>
          </a:prstGeom>
          <a:noFill/>
        </p:spPr>
        <p:txBody>
          <a:bodyPr wrap="square">
            <a:spAutoFit/>
          </a:bodyPr>
          <a:lstStyle/>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Clinical trial participant</a:t>
            </a: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Passionate about advocacy, mentoring and keeping abreast of developments in scientific research</a:t>
            </a: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Founder, RET Renegades</a:t>
            </a: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Founder of Southwest Florida Lung Cancer Support Group</a:t>
            </a: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Emmy Winner for ‘Melissa’s Story’ about her and her family’s journey living with lung cancer</a:t>
            </a:r>
          </a:p>
        </p:txBody>
      </p:sp>
      <p:pic>
        <p:nvPicPr>
          <p:cNvPr id="3" name="Picture 2" descr="A person holding a dog&#10;&#10;Description automatically generated with medium confidence">
            <a:extLst>
              <a:ext uri="{FF2B5EF4-FFF2-40B4-BE49-F238E27FC236}">
                <a16:creationId xmlns:a16="http://schemas.microsoft.com/office/drawing/2014/main" id="{2AC56354-EE08-4A1B-BD71-1B09DFE80EDE}"/>
              </a:ext>
            </a:extLst>
          </p:cNvPr>
          <p:cNvPicPr>
            <a:picLocks noChangeAspect="1"/>
          </p:cNvPicPr>
          <p:nvPr/>
        </p:nvPicPr>
        <p:blipFill rotWithShape="1">
          <a:blip r:embed="rId2"/>
          <a:srcRect l="26871" t="6231" r="23291" b="59129"/>
          <a:stretch/>
        </p:blipFill>
        <p:spPr>
          <a:xfrm>
            <a:off x="348792" y="1396170"/>
            <a:ext cx="2627090" cy="2743200"/>
          </a:xfrm>
          <a:prstGeom prst="ellipse">
            <a:avLst/>
          </a:prstGeom>
          <a:ln>
            <a:noFill/>
          </a:ln>
          <a:effectLst>
            <a:softEdge rad="112500"/>
          </a:effectLst>
        </p:spPr>
      </p:pic>
    </p:spTree>
    <p:extLst>
      <p:ext uri="{BB962C8B-B14F-4D97-AF65-F5344CB8AC3E}">
        <p14:creationId xmlns:p14="http://schemas.microsoft.com/office/powerpoint/2010/main" val="425011217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0" y="488975"/>
            <a:ext cx="7895740" cy="480131"/>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28C11"/>
                </a:solidFill>
                <a:effectLst/>
                <a:uLnTx/>
                <a:uFillTx/>
                <a:latin typeface="Franklin Gothic Medium" panose="020B0603020102020204"/>
                <a:ea typeface="+mn-ea"/>
                <a:cs typeface="+mn-cs"/>
              </a:rPr>
              <a:t>Jessie Daw </a:t>
            </a:r>
            <a:endParaRPr kumimoji="0" lang="en-US" sz="2800" b="1" i="0" u="none" strike="noStrike" kern="1200" cap="none" spc="0" normalizeH="0" baseline="30000" noProof="0" dirty="0">
              <a:ln>
                <a:noFill/>
              </a:ln>
              <a:solidFill>
                <a:srgbClr val="F28C11"/>
              </a:solidFill>
              <a:effectLst/>
              <a:uLnTx/>
              <a:uFillTx/>
              <a:latin typeface="Franklin Gothic Medium" panose="020B0603020102020204"/>
              <a:ea typeface="+mn-ea"/>
              <a:cs typeface="+mn-cs"/>
            </a:endParaRPr>
          </a:p>
        </p:txBody>
      </p:sp>
      <p:sp>
        <p:nvSpPr>
          <p:cNvPr id="27" name="Rectangle 26">
            <a:extLst>
              <a:ext uri="{FF2B5EF4-FFF2-40B4-BE49-F238E27FC236}">
                <a16:creationId xmlns:a16="http://schemas.microsoft.com/office/drawing/2014/main" id="{30B86684-560B-4625-9126-37384A52BFC5}"/>
              </a:ext>
            </a:extLst>
          </p:cNvPr>
          <p:cNvSpPr/>
          <p:nvPr/>
        </p:nvSpPr>
        <p:spPr>
          <a:xfrm>
            <a:off x="216197" y="4852293"/>
            <a:ext cx="4389343" cy="196208"/>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Franklin Gothic Book" panose="020B0503020102020204"/>
                <a:ea typeface="+mn-ea"/>
                <a:cs typeface="+mn-cs"/>
              </a:rPr>
              <a:t>CMPP, certified medical publications professional; ISMPP, international society of medical publications professional</a:t>
            </a:r>
            <a:endParaRPr kumimoji="0" lang="en-IN" sz="675" b="0" i="0" u="none" strike="noStrike" kern="1200" cap="none" spc="0" normalizeH="0" baseline="0" noProof="0" dirty="0">
              <a:ln>
                <a:noFill/>
              </a:ln>
              <a:solidFill>
                <a:prstClr val="white"/>
              </a:solidFill>
              <a:effectLst/>
              <a:uLnTx/>
              <a:uFillTx/>
              <a:latin typeface="Franklin Gothic Book" panose="020B0503020102020204"/>
              <a:ea typeface="+mn-ea"/>
              <a:cs typeface="+mn-cs"/>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233394" y="1539278"/>
            <a:ext cx="5286476" cy="2785378"/>
          </a:xfrm>
          <a:prstGeom prst="rect">
            <a:avLst/>
          </a:prstGeom>
          <a:noFill/>
        </p:spPr>
        <p:txBody>
          <a:bodyPr wrap="square">
            <a:spAutoFit/>
          </a:bodyPr>
          <a:lstStyle/>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Patient Advocate, Multiple Myeloma; GSK Oncology Patient Council</a:t>
            </a:r>
            <a:endParaRPr lang="en-US" sz="1800" dirty="0">
              <a:effectLst/>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Myeloma Mentor, Multiple Myeloma Research Foundation</a:t>
            </a:r>
            <a:endParaRPr lang="en-US" sz="1800" dirty="0">
              <a:effectLst/>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Myeloma Coach, Myeloma Crowd</a:t>
            </a:r>
            <a:endParaRPr lang="en-US" sz="1800" dirty="0">
              <a:effectLst/>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Co-founder/lead of the Eastern South Dakota Multiple Myeloma Support Group</a:t>
            </a:r>
            <a:endParaRPr lang="en-US" sz="1800" dirty="0">
              <a:effectLst/>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Member, International Myeloma Foundation's 2021 ASH social media team</a:t>
            </a:r>
            <a:endParaRPr lang="en-US" sz="1800" dirty="0">
              <a:effectLst/>
              <a:ea typeface="Calibri" panose="020F050202020403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ea typeface="+mn-ea"/>
              <a:cs typeface="+mn-cs"/>
            </a:endParaRPr>
          </a:p>
        </p:txBody>
      </p:sp>
      <p:pic>
        <p:nvPicPr>
          <p:cNvPr id="3" name="Picture 2" descr="A picture containing person, person, striped&#10;&#10;Description automatically generated">
            <a:extLst>
              <a:ext uri="{FF2B5EF4-FFF2-40B4-BE49-F238E27FC236}">
                <a16:creationId xmlns:a16="http://schemas.microsoft.com/office/drawing/2014/main" id="{C4C55739-84A0-4891-A688-09E98C9DCECB}"/>
              </a:ext>
            </a:extLst>
          </p:cNvPr>
          <p:cNvPicPr>
            <a:picLocks noChangeAspect="1"/>
          </p:cNvPicPr>
          <p:nvPr/>
        </p:nvPicPr>
        <p:blipFill rotWithShape="1">
          <a:blip r:embed="rId2"/>
          <a:srcRect l="6916" t="4271" r="7385" b="20874"/>
          <a:stretch/>
        </p:blipFill>
        <p:spPr>
          <a:xfrm>
            <a:off x="527907" y="1336672"/>
            <a:ext cx="2578373" cy="2834640"/>
          </a:xfrm>
          <a:prstGeom prst="ellipse">
            <a:avLst/>
          </a:prstGeom>
          <a:ln>
            <a:noFill/>
          </a:ln>
          <a:effectLst>
            <a:softEdge rad="112500"/>
          </a:effectLst>
        </p:spPr>
      </p:pic>
    </p:spTree>
    <p:extLst>
      <p:ext uri="{BB962C8B-B14F-4D97-AF65-F5344CB8AC3E}">
        <p14:creationId xmlns:p14="http://schemas.microsoft.com/office/powerpoint/2010/main" val="177585726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0" y="488975"/>
            <a:ext cx="7895740" cy="480131"/>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sz="2800" b="1" dirty="0">
                <a:solidFill>
                  <a:srgbClr val="F28C11"/>
                </a:solidFill>
                <a:latin typeface="Franklin Gothic Medium" panose="020B0603020102020204"/>
              </a:rPr>
              <a:t>Laura Dormer</a:t>
            </a:r>
            <a:r>
              <a:rPr kumimoji="0" lang="en-US" sz="2800" b="1" i="0" u="none" strike="noStrike" kern="1200" cap="none" spc="0" normalizeH="0" baseline="0" noProof="0" dirty="0">
                <a:ln>
                  <a:noFill/>
                </a:ln>
                <a:solidFill>
                  <a:srgbClr val="F28C11"/>
                </a:solidFill>
                <a:effectLst/>
                <a:uLnTx/>
                <a:uFillTx/>
                <a:latin typeface="Franklin Gothic Medium" panose="020B0603020102020204"/>
                <a:ea typeface="+mn-ea"/>
                <a:cs typeface="+mn-cs"/>
              </a:rPr>
              <a:t> </a:t>
            </a:r>
            <a:endParaRPr kumimoji="0" lang="en-US" sz="2800" b="1" i="0" u="none" strike="noStrike" kern="1200" cap="none" spc="0" normalizeH="0" baseline="30000" noProof="0" dirty="0">
              <a:ln>
                <a:noFill/>
              </a:ln>
              <a:solidFill>
                <a:srgbClr val="F28C11"/>
              </a:solidFill>
              <a:effectLst/>
              <a:uLnTx/>
              <a:uFillTx/>
              <a:latin typeface="Franklin Gothic Medium" panose="020B0603020102020204"/>
              <a:ea typeface="+mn-ea"/>
              <a:cs typeface="+mn-cs"/>
            </a:endParaRPr>
          </a:p>
        </p:txBody>
      </p:sp>
      <p:sp>
        <p:nvSpPr>
          <p:cNvPr id="27" name="Rectangle 26">
            <a:extLst>
              <a:ext uri="{FF2B5EF4-FFF2-40B4-BE49-F238E27FC236}">
                <a16:creationId xmlns:a16="http://schemas.microsoft.com/office/drawing/2014/main" id="{30B86684-560B-4625-9126-37384A52BFC5}"/>
              </a:ext>
            </a:extLst>
          </p:cNvPr>
          <p:cNvSpPr/>
          <p:nvPr/>
        </p:nvSpPr>
        <p:spPr>
          <a:xfrm>
            <a:off x="216197" y="4852293"/>
            <a:ext cx="4389343" cy="196208"/>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Franklin Gothic Book" panose="020B0503020102020204"/>
                <a:ea typeface="+mn-ea"/>
                <a:cs typeface="+mn-cs"/>
              </a:rPr>
              <a:t>CMPP, certified medical publications professional; ISMPP, international society of medical publications professional</a:t>
            </a:r>
            <a:endParaRPr kumimoji="0" lang="en-IN" sz="675" b="0" i="0" u="none" strike="noStrike" kern="1200" cap="none" spc="0" normalizeH="0" baseline="0" noProof="0" dirty="0">
              <a:ln>
                <a:noFill/>
              </a:ln>
              <a:solidFill>
                <a:prstClr val="white"/>
              </a:solidFill>
              <a:effectLst/>
              <a:uLnTx/>
              <a:uFillTx/>
              <a:latin typeface="Franklin Gothic Book" panose="020B0503020102020204"/>
              <a:ea typeface="+mn-ea"/>
              <a:cs typeface="+mn-cs"/>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177958" y="1605710"/>
            <a:ext cx="5438142" cy="2231380"/>
          </a:xfrm>
          <a:prstGeom prst="rect">
            <a:avLst/>
          </a:prstGeom>
          <a:noFill/>
        </p:spPr>
        <p:txBody>
          <a:bodyPr wrap="square">
            <a:spAutoFit/>
          </a:bodyPr>
          <a:lstStyle/>
          <a:p>
            <a:pPr marL="342900" marR="0" lvl="0" indent="-342900">
              <a:spcBef>
                <a:spcPts val="0"/>
              </a:spcBef>
              <a:spcAft>
                <a:spcPts val="0"/>
              </a:spcAft>
              <a:buFont typeface="Symbol" panose="05050102010706020507" pitchFamily="18" charset="2"/>
              <a:buChar char=""/>
            </a:pPr>
            <a:r>
              <a:rPr lang="en-GB" sz="1800" dirty="0">
                <a:effectLst/>
                <a:ea typeface="Times New Roman" panose="02020603050405020304" pitchFamily="18" charset="0"/>
              </a:rPr>
              <a:t>Editorial Director at the Future Science Group, first publisher of standalone Plain Language Summary of Publication articles</a:t>
            </a:r>
            <a:endParaRPr lang="en-US" sz="1800" dirty="0">
              <a:effectLst/>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GB" sz="1800" dirty="0">
                <a:effectLst/>
                <a:ea typeface="Times New Roman" panose="02020603050405020304" pitchFamily="18" charset="0"/>
              </a:rPr>
              <a:t>Interest in patient engagement in publications and publication ethics</a:t>
            </a:r>
            <a:endParaRPr lang="en-US" sz="1800" dirty="0">
              <a:effectLst/>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GB" sz="1800" dirty="0">
                <a:effectLst/>
                <a:ea typeface="Times New Roman" panose="02020603050405020304" pitchFamily="18" charset="0"/>
              </a:rPr>
              <a:t>GPP4 steering committee member and member of the </a:t>
            </a:r>
            <a:r>
              <a:rPr lang="en-US" sz="1800" dirty="0">
                <a:effectLst/>
                <a:ea typeface="Times New Roman" panose="02020603050405020304" pitchFamily="18" charset="0"/>
              </a:rPr>
              <a:t>PFMD ‘How to’ Guide for PLS </a:t>
            </a:r>
            <a:r>
              <a:rPr lang="en-GB" sz="1800" dirty="0">
                <a:effectLst/>
                <a:ea typeface="Times New Roman" panose="02020603050405020304" pitchFamily="18" charset="0"/>
              </a:rPr>
              <a:t>working group</a:t>
            </a:r>
            <a:endParaRPr lang="en-US" sz="1800" dirty="0">
              <a:effectLst/>
              <a:ea typeface="Calibri" panose="020F050202020403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ea typeface="+mn-ea"/>
              <a:cs typeface="+mn-cs"/>
            </a:endParaRPr>
          </a:p>
        </p:txBody>
      </p:sp>
      <p:pic>
        <p:nvPicPr>
          <p:cNvPr id="3" name="Picture 2" descr="A person smiling for the camera&#10;&#10;Description automatically generated with low confidence">
            <a:extLst>
              <a:ext uri="{FF2B5EF4-FFF2-40B4-BE49-F238E27FC236}">
                <a16:creationId xmlns:a16="http://schemas.microsoft.com/office/drawing/2014/main" id="{2D9D556E-7CF5-4EEA-AFBA-F06DD98A2821}"/>
              </a:ext>
            </a:extLst>
          </p:cNvPr>
          <p:cNvPicPr>
            <a:picLocks noChangeAspect="1"/>
          </p:cNvPicPr>
          <p:nvPr/>
        </p:nvPicPr>
        <p:blipFill>
          <a:blip r:embed="rId2"/>
          <a:stretch>
            <a:fillRect/>
          </a:stretch>
        </p:blipFill>
        <p:spPr>
          <a:xfrm>
            <a:off x="380607" y="1349800"/>
            <a:ext cx="2743200" cy="2743200"/>
          </a:xfrm>
          <a:prstGeom prst="ellipse">
            <a:avLst/>
          </a:prstGeom>
          <a:ln>
            <a:noFill/>
          </a:ln>
          <a:effectLst>
            <a:softEdge rad="112500"/>
          </a:effectLst>
        </p:spPr>
      </p:pic>
    </p:spTree>
    <p:extLst>
      <p:ext uri="{BB962C8B-B14F-4D97-AF65-F5344CB8AC3E}">
        <p14:creationId xmlns:p14="http://schemas.microsoft.com/office/powerpoint/2010/main" val="149645217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0" y="488975"/>
            <a:ext cx="7895740" cy="480131"/>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lang="sv-SE" sz="2800" b="1" dirty="0">
                <a:solidFill>
                  <a:srgbClr val="F28C11"/>
                </a:solidFill>
                <a:latin typeface="Franklin Gothic Medium" panose="020B0603020102020204"/>
              </a:rPr>
              <a:t>Jason Gardner</a:t>
            </a:r>
            <a:r>
              <a:rPr kumimoji="0" lang="sv-SE" sz="2800" b="1" i="0" u="none" strike="noStrike" kern="1200" cap="none" spc="0" normalizeH="0" baseline="0" noProof="0" dirty="0">
                <a:ln>
                  <a:noFill/>
                </a:ln>
                <a:solidFill>
                  <a:srgbClr val="F28C11"/>
                </a:solidFill>
                <a:effectLst/>
                <a:uLnTx/>
                <a:uFillTx/>
                <a:latin typeface="Franklin Gothic Medium" panose="020B0603020102020204"/>
                <a:ea typeface="+mn-ea"/>
                <a:cs typeface="+mn-cs"/>
              </a:rPr>
              <a:t> </a:t>
            </a:r>
          </a:p>
        </p:txBody>
      </p:sp>
      <p:sp>
        <p:nvSpPr>
          <p:cNvPr id="27" name="Rectangle 26">
            <a:extLst>
              <a:ext uri="{FF2B5EF4-FFF2-40B4-BE49-F238E27FC236}">
                <a16:creationId xmlns:a16="http://schemas.microsoft.com/office/drawing/2014/main" id="{30B86684-560B-4625-9126-37384A52BFC5}"/>
              </a:ext>
            </a:extLst>
          </p:cNvPr>
          <p:cNvSpPr/>
          <p:nvPr/>
        </p:nvSpPr>
        <p:spPr>
          <a:xfrm>
            <a:off x="216197" y="4852293"/>
            <a:ext cx="4389343" cy="196208"/>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Franklin Gothic Book" panose="020B0503020102020204"/>
                <a:ea typeface="+mn-ea"/>
                <a:cs typeface="+mn-cs"/>
              </a:rPr>
              <a:t>CMPP, certified medical publications professional; ISMPP, international society of medical publications professional</a:t>
            </a:r>
            <a:endParaRPr kumimoji="0" lang="en-IN" sz="675" b="0" i="0" u="none" strike="noStrike" kern="1200" cap="none" spc="0" normalizeH="0" baseline="0" noProof="0" dirty="0">
              <a:ln>
                <a:noFill/>
              </a:ln>
              <a:solidFill>
                <a:prstClr val="white"/>
              </a:solidFill>
              <a:effectLst/>
              <a:uLnTx/>
              <a:uFillTx/>
              <a:latin typeface="Franklin Gothic Book" panose="020B0503020102020204"/>
              <a:ea typeface="+mn-ea"/>
              <a:cs typeface="+mn-cs"/>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356674" y="1594559"/>
            <a:ext cx="5163196" cy="1954381"/>
          </a:xfrm>
          <a:prstGeom prst="rect">
            <a:avLst/>
          </a:prstGeom>
          <a:noFill/>
        </p:spPr>
        <p:txBody>
          <a:bodyPr wrap="square">
            <a:spAutoFit/>
          </a:bodyPr>
          <a:lstStyle/>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cs typeface="Times New Roman" panose="02020603050405020304" pitchFamily="18" charset="0"/>
              </a:rPr>
              <a:t>Passionate about bringing clarity to communications – for all audiences</a:t>
            </a: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cs typeface="Times New Roman" panose="02020603050405020304" pitchFamily="18" charset="0"/>
              </a:rPr>
              <a:t>Researcher into optimal readability and format of PLS</a:t>
            </a: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cs typeface="Times New Roman" panose="02020603050405020304" pitchFamily="18" charset="0"/>
              </a:rPr>
              <a:t>Co-lead of the ISMPP PLS Perspectives project, published recently in CMRO</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ea typeface="Times New Roman" panose="02020603050405020304" pitchFamily="18" charset="0"/>
              <a:cs typeface="+mn-cs"/>
            </a:endParaRPr>
          </a:p>
        </p:txBody>
      </p:sp>
      <p:pic>
        <p:nvPicPr>
          <p:cNvPr id="3" name="Picture 2" descr="A person smiling for the camera&#10;&#10;Description automatically generated with medium confidence">
            <a:extLst>
              <a:ext uri="{FF2B5EF4-FFF2-40B4-BE49-F238E27FC236}">
                <a16:creationId xmlns:a16="http://schemas.microsoft.com/office/drawing/2014/main" id="{20BF3EA7-AF66-4CF8-82D4-72B93914BD43}"/>
              </a:ext>
            </a:extLst>
          </p:cNvPr>
          <p:cNvPicPr>
            <a:picLocks noChangeAspect="1"/>
          </p:cNvPicPr>
          <p:nvPr/>
        </p:nvPicPr>
        <p:blipFill>
          <a:blip r:embed="rId2"/>
          <a:stretch>
            <a:fillRect/>
          </a:stretch>
        </p:blipFill>
        <p:spPr>
          <a:xfrm>
            <a:off x="349449" y="1338245"/>
            <a:ext cx="2835865" cy="2834640"/>
          </a:xfrm>
          <a:prstGeom prst="ellipse">
            <a:avLst/>
          </a:prstGeom>
          <a:ln>
            <a:noFill/>
          </a:ln>
          <a:effectLst>
            <a:softEdge rad="112500"/>
          </a:effectLst>
        </p:spPr>
      </p:pic>
    </p:spTree>
    <p:extLst>
      <p:ext uri="{BB962C8B-B14F-4D97-AF65-F5344CB8AC3E}">
        <p14:creationId xmlns:p14="http://schemas.microsoft.com/office/powerpoint/2010/main" val="283484444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0" y="488975"/>
            <a:ext cx="7895740" cy="480131"/>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sz="2800" b="1" dirty="0">
                <a:solidFill>
                  <a:srgbClr val="F28C11"/>
                </a:solidFill>
                <a:latin typeface="Franklin Gothic Medium" panose="020B0603020102020204"/>
              </a:rPr>
              <a:t>Will </a:t>
            </a:r>
            <a:r>
              <a:rPr lang="en-US" sz="2800" b="1" dirty="0" err="1">
                <a:solidFill>
                  <a:srgbClr val="F28C11"/>
                </a:solidFill>
                <a:latin typeface="Franklin Gothic Medium" panose="020B0603020102020204"/>
              </a:rPr>
              <a:t>Gattrell</a:t>
            </a:r>
            <a:r>
              <a:rPr kumimoji="0" lang="en-US" sz="2800" b="1" i="0" u="none" strike="noStrike" kern="1200" cap="none" spc="0" normalizeH="0" baseline="0" noProof="0" dirty="0">
                <a:ln>
                  <a:noFill/>
                </a:ln>
                <a:solidFill>
                  <a:srgbClr val="F28C11"/>
                </a:solidFill>
                <a:effectLst/>
                <a:uLnTx/>
                <a:uFillTx/>
                <a:latin typeface="Franklin Gothic Medium" panose="020B0603020102020204"/>
                <a:ea typeface="+mn-ea"/>
                <a:cs typeface="+mn-cs"/>
              </a:rPr>
              <a:t> </a:t>
            </a:r>
            <a:endParaRPr kumimoji="0" lang="en-US" sz="2800" b="1" i="0" u="none" strike="noStrike" kern="1200" cap="none" spc="0" normalizeH="0" baseline="30000" noProof="0" dirty="0">
              <a:ln>
                <a:noFill/>
              </a:ln>
              <a:solidFill>
                <a:srgbClr val="F28C11"/>
              </a:solidFill>
              <a:effectLst/>
              <a:uLnTx/>
              <a:uFillTx/>
              <a:latin typeface="Franklin Gothic Medium" panose="020B0603020102020204"/>
              <a:ea typeface="+mn-ea"/>
              <a:cs typeface="+mn-cs"/>
            </a:endParaRPr>
          </a:p>
        </p:txBody>
      </p:sp>
      <p:sp>
        <p:nvSpPr>
          <p:cNvPr id="27" name="Rectangle 26">
            <a:extLst>
              <a:ext uri="{FF2B5EF4-FFF2-40B4-BE49-F238E27FC236}">
                <a16:creationId xmlns:a16="http://schemas.microsoft.com/office/drawing/2014/main" id="{30B86684-560B-4625-9126-37384A52BFC5}"/>
              </a:ext>
            </a:extLst>
          </p:cNvPr>
          <p:cNvSpPr/>
          <p:nvPr/>
        </p:nvSpPr>
        <p:spPr>
          <a:xfrm>
            <a:off x="216197" y="4852293"/>
            <a:ext cx="4389343" cy="196208"/>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Franklin Gothic Book" panose="020B0503020102020204"/>
                <a:ea typeface="+mn-ea"/>
                <a:cs typeface="+mn-cs"/>
              </a:rPr>
              <a:t>CMPP, certified medical publications professional; ISMPP, international society of medical publications professional</a:t>
            </a:r>
            <a:endParaRPr kumimoji="0" lang="en-IN" sz="675" b="0" i="0" u="none" strike="noStrike" kern="1200" cap="none" spc="0" normalizeH="0" baseline="0" noProof="0" dirty="0">
              <a:ln>
                <a:noFill/>
              </a:ln>
              <a:solidFill>
                <a:prstClr val="white"/>
              </a:solidFill>
              <a:effectLst/>
              <a:uLnTx/>
              <a:uFillTx/>
              <a:latin typeface="Franklin Gothic Book" panose="020B0503020102020204"/>
              <a:ea typeface="+mn-ea"/>
              <a:cs typeface="+mn-cs"/>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347047" y="1856120"/>
            <a:ext cx="5261217" cy="1754326"/>
          </a:xfrm>
          <a:prstGeom prst="rect">
            <a:avLst/>
          </a:prstGeom>
          <a:noFill/>
        </p:spPr>
        <p:txBody>
          <a:bodyPr wrap="square">
            <a:spAutoFit/>
          </a:bodyPr>
          <a:lstStyle/>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cs typeface="Times New Roman" panose="02020603050405020304" pitchFamily="18" charset="0"/>
              </a:rPr>
              <a:t>Publications geek</a:t>
            </a: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cs typeface="Times New Roman" panose="02020603050405020304" pitchFamily="18" charset="0"/>
              </a:rPr>
              <a:t>Leading on implementing Ipsen’s PLS commitment for all journal publications with human data</a:t>
            </a: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cs typeface="Times New Roman" panose="02020603050405020304" pitchFamily="18" charset="0"/>
              </a:rPr>
              <a:t>Co-author on Open Pharma PLS recommendations</a:t>
            </a:r>
          </a:p>
        </p:txBody>
      </p:sp>
      <p:pic>
        <p:nvPicPr>
          <p:cNvPr id="3" name="Picture 2" descr="A picture containing person, person, indoor, shirt&#10;&#10;Description automatically generated">
            <a:extLst>
              <a:ext uri="{FF2B5EF4-FFF2-40B4-BE49-F238E27FC236}">
                <a16:creationId xmlns:a16="http://schemas.microsoft.com/office/drawing/2014/main" id="{8CF412CC-CC7F-4ED9-B03F-EEF713BD3ABA}"/>
              </a:ext>
            </a:extLst>
          </p:cNvPr>
          <p:cNvPicPr>
            <a:picLocks noChangeAspect="1"/>
          </p:cNvPicPr>
          <p:nvPr/>
        </p:nvPicPr>
        <p:blipFill>
          <a:blip r:embed="rId2"/>
          <a:stretch>
            <a:fillRect/>
          </a:stretch>
        </p:blipFill>
        <p:spPr>
          <a:xfrm>
            <a:off x="331706" y="1315963"/>
            <a:ext cx="2834640" cy="2834640"/>
          </a:xfrm>
          <a:prstGeom prst="ellipse">
            <a:avLst/>
          </a:prstGeom>
          <a:ln>
            <a:noFill/>
          </a:ln>
          <a:effectLst>
            <a:softEdge rad="112500"/>
          </a:effectLst>
        </p:spPr>
      </p:pic>
    </p:spTree>
    <p:extLst>
      <p:ext uri="{BB962C8B-B14F-4D97-AF65-F5344CB8AC3E}">
        <p14:creationId xmlns:p14="http://schemas.microsoft.com/office/powerpoint/2010/main" val="117559026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0" y="488975"/>
            <a:ext cx="7895740" cy="480131"/>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sz="2800" b="1" dirty="0">
                <a:solidFill>
                  <a:srgbClr val="F28C11"/>
                </a:solidFill>
                <a:latin typeface="Franklin Gothic Medium" panose="020B0603020102020204"/>
              </a:rPr>
              <a:t>Caroline Halford</a:t>
            </a:r>
            <a:r>
              <a:rPr kumimoji="0" lang="en-US" sz="2800" b="1" i="0" u="none" strike="noStrike" kern="1200" cap="none" spc="0" normalizeH="0" baseline="0" noProof="0" dirty="0">
                <a:ln>
                  <a:noFill/>
                </a:ln>
                <a:solidFill>
                  <a:srgbClr val="F28C11"/>
                </a:solidFill>
                <a:effectLst/>
                <a:uLnTx/>
                <a:uFillTx/>
                <a:latin typeface="Franklin Gothic Medium" panose="020B0603020102020204"/>
                <a:ea typeface="+mn-ea"/>
                <a:cs typeface="+mn-cs"/>
              </a:rPr>
              <a:t> </a:t>
            </a:r>
            <a:endParaRPr kumimoji="0" lang="en-US" sz="2800" b="1" i="0" u="none" strike="noStrike" kern="1200" cap="none" spc="0" normalizeH="0" baseline="30000" noProof="0" dirty="0">
              <a:ln>
                <a:noFill/>
              </a:ln>
              <a:solidFill>
                <a:srgbClr val="F28C11"/>
              </a:solidFill>
              <a:effectLst/>
              <a:uLnTx/>
              <a:uFillTx/>
              <a:latin typeface="Franklin Gothic Medium" panose="020B0603020102020204"/>
              <a:ea typeface="+mn-ea"/>
              <a:cs typeface="+mn-cs"/>
            </a:endParaRPr>
          </a:p>
        </p:txBody>
      </p:sp>
      <p:sp>
        <p:nvSpPr>
          <p:cNvPr id="27" name="Rectangle 26">
            <a:extLst>
              <a:ext uri="{FF2B5EF4-FFF2-40B4-BE49-F238E27FC236}">
                <a16:creationId xmlns:a16="http://schemas.microsoft.com/office/drawing/2014/main" id="{30B86684-560B-4625-9126-37384A52BFC5}"/>
              </a:ext>
            </a:extLst>
          </p:cNvPr>
          <p:cNvSpPr/>
          <p:nvPr/>
        </p:nvSpPr>
        <p:spPr>
          <a:xfrm>
            <a:off x="216197" y="4852293"/>
            <a:ext cx="4389343" cy="196208"/>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Franklin Gothic Book" panose="020B0503020102020204"/>
                <a:ea typeface="+mn-ea"/>
                <a:cs typeface="+mn-cs"/>
              </a:rPr>
              <a:t>CMPP, certified medical publications professional; ISMPP, international society of medical publications professional</a:t>
            </a:r>
            <a:endParaRPr kumimoji="0" lang="en-IN" sz="675" b="0" i="0" u="none" strike="noStrike" kern="1200" cap="none" spc="0" normalizeH="0" baseline="0" noProof="0" dirty="0">
              <a:ln>
                <a:noFill/>
              </a:ln>
              <a:solidFill>
                <a:prstClr val="white"/>
              </a:solidFill>
              <a:effectLst/>
              <a:uLnTx/>
              <a:uFillTx/>
              <a:latin typeface="Franklin Gothic Book" panose="020B0503020102020204"/>
              <a:ea typeface="+mn-ea"/>
              <a:cs typeface="+mn-cs"/>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120917" y="1879020"/>
            <a:ext cx="5136963" cy="1954381"/>
          </a:xfrm>
          <a:prstGeom prst="rect">
            <a:avLst/>
          </a:prstGeom>
          <a:noFill/>
        </p:spPr>
        <p:txBody>
          <a:bodyPr wrap="square">
            <a:spAutoFit/>
          </a:bodyPr>
          <a:lstStyle/>
          <a:p>
            <a:pPr marL="342900" marR="0" lvl="0" indent="-342900">
              <a:spcBef>
                <a:spcPts val="0"/>
              </a:spcBef>
              <a:spcAft>
                <a:spcPts val="0"/>
              </a:spcAft>
              <a:buFont typeface="Symbol" panose="05050102010706020507" pitchFamily="18" charset="2"/>
              <a:buChar char=""/>
            </a:pPr>
            <a:r>
              <a:rPr lang="en-GB" sz="1800" dirty="0">
                <a:effectLst/>
                <a:ea typeface="Times New Roman" panose="02020603050405020304" pitchFamily="18" charset="0"/>
              </a:rPr>
              <a:t>First publisher to enable PLS publication on PubMed</a:t>
            </a:r>
            <a:endParaRPr lang="en-US" sz="1800" dirty="0">
              <a:effectLst/>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GB" sz="1800" dirty="0">
                <a:effectLst/>
                <a:ea typeface="Times New Roman" panose="02020603050405020304" pitchFamily="18" charset="0"/>
              </a:rPr>
              <a:t>Publishes many patient-focused article types, including ‘Patient Physician Perspectives’</a:t>
            </a:r>
            <a:endParaRPr lang="en-US" sz="1800" dirty="0">
              <a:effectLst/>
              <a:ea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GB" sz="1800" dirty="0">
                <a:effectLst/>
                <a:ea typeface="Times New Roman" panose="02020603050405020304" pitchFamily="18" charset="0"/>
              </a:rPr>
              <a:t>Presented data at ISMPP EU 2022 on PLS metrics </a:t>
            </a:r>
            <a:endParaRPr lang="en-US" sz="1800" dirty="0">
              <a:effectLst/>
              <a:ea typeface="Times New Roman" panose="02020603050405020304" pitchFamily="18"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ea typeface="Times New Roman" panose="02020603050405020304" pitchFamily="18" charset="0"/>
              <a:cs typeface="+mn-cs"/>
            </a:endParaRPr>
          </a:p>
        </p:txBody>
      </p:sp>
      <p:pic>
        <p:nvPicPr>
          <p:cNvPr id="3" name="Picture 2" descr="A person wearing glasses&#10;&#10;Description automatically generated with low confidence">
            <a:extLst>
              <a:ext uri="{FF2B5EF4-FFF2-40B4-BE49-F238E27FC236}">
                <a16:creationId xmlns:a16="http://schemas.microsoft.com/office/drawing/2014/main" id="{34969174-5047-4A6C-ADE0-17AF2A78FDE5}"/>
              </a:ext>
            </a:extLst>
          </p:cNvPr>
          <p:cNvPicPr>
            <a:picLocks noChangeAspect="1"/>
          </p:cNvPicPr>
          <p:nvPr/>
        </p:nvPicPr>
        <p:blipFill>
          <a:blip r:embed="rId2"/>
          <a:stretch>
            <a:fillRect/>
          </a:stretch>
        </p:blipFill>
        <p:spPr>
          <a:xfrm>
            <a:off x="624130" y="1300391"/>
            <a:ext cx="2401318" cy="2834640"/>
          </a:xfrm>
          <a:prstGeom prst="ellipse">
            <a:avLst/>
          </a:prstGeom>
          <a:ln>
            <a:noFill/>
          </a:ln>
          <a:effectLst>
            <a:softEdge rad="112500"/>
          </a:effectLst>
        </p:spPr>
      </p:pic>
    </p:spTree>
    <p:extLst>
      <p:ext uri="{BB962C8B-B14F-4D97-AF65-F5344CB8AC3E}">
        <p14:creationId xmlns:p14="http://schemas.microsoft.com/office/powerpoint/2010/main" val="350307441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0" y="488975"/>
            <a:ext cx="7895740" cy="480131"/>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sz="2800" b="1" dirty="0">
                <a:solidFill>
                  <a:srgbClr val="F28C11"/>
                </a:solidFill>
                <a:latin typeface="Franklin Gothic Medium" panose="020B0603020102020204"/>
              </a:rPr>
              <a:t>Dawn Lobban</a:t>
            </a:r>
            <a:r>
              <a:rPr kumimoji="0" lang="en-US" sz="2800" b="1" i="0" u="none" strike="noStrike" kern="1200" cap="none" spc="0" normalizeH="0" baseline="0" noProof="0" dirty="0">
                <a:ln>
                  <a:noFill/>
                </a:ln>
                <a:solidFill>
                  <a:srgbClr val="F28C11"/>
                </a:solidFill>
                <a:effectLst/>
                <a:uLnTx/>
                <a:uFillTx/>
                <a:latin typeface="Franklin Gothic Medium" panose="020B0603020102020204"/>
                <a:ea typeface="+mn-ea"/>
                <a:cs typeface="+mn-cs"/>
              </a:rPr>
              <a:t>  </a:t>
            </a:r>
            <a:endParaRPr kumimoji="0" lang="en-US" sz="2800" b="1" i="0" u="none" strike="noStrike" kern="1200" cap="none" spc="0" normalizeH="0" baseline="30000" noProof="0" dirty="0">
              <a:ln>
                <a:noFill/>
              </a:ln>
              <a:solidFill>
                <a:srgbClr val="F28C11"/>
              </a:solidFill>
              <a:effectLst/>
              <a:uLnTx/>
              <a:uFillTx/>
              <a:latin typeface="Franklin Gothic Medium" panose="020B0603020102020204"/>
              <a:ea typeface="+mn-ea"/>
              <a:cs typeface="+mn-cs"/>
            </a:endParaRPr>
          </a:p>
        </p:txBody>
      </p:sp>
      <p:sp>
        <p:nvSpPr>
          <p:cNvPr id="27" name="Rectangle 26">
            <a:extLst>
              <a:ext uri="{FF2B5EF4-FFF2-40B4-BE49-F238E27FC236}">
                <a16:creationId xmlns:a16="http://schemas.microsoft.com/office/drawing/2014/main" id="{30B86684-560B-4625-9126-37384A52BFC5}"/>
              </a:ext>
            </a:extLst>
          </p:cNvPr>
          <p:cNvSpPr/>
          <p:nvPr/>
        </p:nvSpPr>
        <p:spPr>
          <a:xfrm>
            <a:off x="216197" y="4852293"/>
            <a:ext cx="4389343" cy="196208"/>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Franklin Gothic Book" panose="020B0503020102020204"/>
                <a:ea typeface="+mn-ea"/>
                <a:cs typeface="+mn-cs"/>
              </a:rPr>
              <a:t>CMPP, certified medical publications professional; ISMPP, international society of medical publications professional</a:t>
            </a:r>
            <a:endParaRPr kumimoji="0" lang="en-IN" sz="675" b="0" i="0" u="none" strike="noStrike" kern="1200" cap="none" spc="0" normalizeH="0" baseline="0" noProof="0" dirty="0">
              <a:ln>
                <a:noFill/>
              </a:ln>
              <a:solidFill>
                <a:prstClr val="white"/>
              </a:solidFill>
              <a:effectLst/>
              <a:uLnTx/>
              <a:uFillTx/>
              <a:latin typeface="Franklin Gothic Book" panose="020B0503020102020204"/>
              <a:ea typeface="+mn-ea"/>
              <a:cs typeface="+mn-cs"/>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313894" y="1579611"/>
            <a:ext cx="5192781" cy="2215991"/>
          </a:xfrm>
          <a:prstGeom prst="rect">
            <a:avLst/>
          </a:prstGeom>
          <a:noFill/>
        </p:spPr>
        <p:txBody>
          <a:bodyPr wrap="square">
            <a:spAutoFit/>
          </a:bodyPr>
          <a:lstStyle/>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cs typeface="Times New Roman" panose="02020603050405020304" pitchFamily="18" charset="0"/>
              </a:rPr>
              <a:t>Expertise in patient engagement across the lifecycle of medicine development </a:t>
            </a: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cs typeface="Times New Roman" panose="02020603050405020304" pitchFamily="18" charset="0"/>
              </a:rPr>
              <a:t>Interest in optimizing plain language summaries of publications </a:t>
            </a: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cs typeface="Times New Roman" panose="02020603050405020304" pitchFamily="18" charset="0"/>
              </a:rPr>
              <a:t>Active participant in key initiatives including ISMPP PLS Perspectives Working Group and PFMD ‘How to’ Guide for PLS</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mn-cs"/>
            </a:endParaRPr>
          </a:p>
        </p:txBody>
      </p:sp>
      <p:pic>
        <p:nvPicPr>
          <p:cNvPr id="4" name="Picture 3" descr="A close-up of a person smiling&#10;&#10;Description automatically generated">
            <a:extLst>
              <a:ext uri="{FF2B5EF4-FFF2-40B4-BE49-F238E27FC236}">
                <a16:creationId xmlns:a16="http://schemas.microsoft.com/office/drawing/2014/main" id="{BA371502-CECB-4F20-BEDD-5F31B9845005}"/>
              </a:ext>
            </a:extLst>
          </p:cNvPr>
          <p:cNvPicPr>
            <a:picLocks noChangeAspect="1"/>
          </p:cNvPicPr>
          <p:nvPr/>
        </p:nvPicPr>
        <p:blipFill>
          <a:blip r:embed="rId2"/>
          <a:stretch>
            <a:fillRect/>
          </a:stretch>
        </p:blipFill>
        <p:spPr>
          <a:xfrm>
            <a:off x="461294" y="1316006"/>
            <a:ext cx="2743200" cy="2743200"/>
          </a:xfrm>
          <a:prstGeom prst="ellipse">
            <a:avLst/>
          </a:prstGeom>
          <a:ln>
            <a:noFill/>
          </a:ln>
          <a:effectLst>
            <a:softEdge rad="112500"/>
          </a:effectLst>
        </p:spPr>
      </p:pic>
    </p:spTree>
    <p:extLst>
      <p:ext uri="{BB962C8B-B14F-4D97-AF65-F5344CB8AC3E}">
        <p14:creationId xmlns:p14="http://schemas.microsoft.com/office/powerpoint/2010/main" val="9207905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1FFB4F5D-2FD5-43FA-B06E-6A6C21C67116}"/>
              </a:ext>
            </a:extLst>
          </p:cNvPr>
          <p:cNvSpPr/>
          <p:nvPr/>
        </p:nvSpPr>
        <p:spPr>
          <a:xfrm>
            <a:off x="0" y="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16" name="Picture 15" descr="Chart, scatter chart&#10;&#10;Description automatically generated">
            <a:extLst>
              <a:ext uri="{FF2B5EF4-FFF2-40B4-BE49-F238E27FC236}">
                <a16:creationId xmlns:a16="http://schemas.microsoft.com/office/drawing/2014/main" id="{379F5D7F-EEC9-4EDD-9242-FF77CFC85392}"/>
              </a:ext>
            </a:extLst>
          </p:cNvPr>
          <p:cNvPicPr>
            <a:picLocks noChangeAspect="1"/>
          </p:cNvPicPr>
          <p:nvPr/>
        </p:nvPicPr>
        <p:blipFill rotWithShape="1">
          <a:blip r:embed="rId2"/>
          <a:srcRect b="69881"/>
          <a:stretch/>
        </p:blipFill>
        <p:spPr>
          <a:xfrm>
            <a:off x="234044" y="179331"/>
            <a:ext cx="3122317" cy="4784834"/>
          </a:xfrm>
          <a:prstGeom prst="rect">
            <a:avLst/>
          </a:prstGeom>
          <a:ln>
            <a:noFill/>
          </a:ln>
          <a:effectLst>
            <a:outerShdw blurRad="292100" dist="139700" dir="2700000" algn="tl" rotWithShape="0">
              <a:srgbClr val="333333">
                <a:alpha val="65000"/>
              </a:srgbClr>
            </a:outerShdw>
          </a:effectLst>
        </p:spPr>
      </p:pic>
      <p:sp>
        <p:nvSpPr>
          <p:cNvPr id="10" name="Rectangle: Rounded Corners 9">
            <a:extLst>
              <a:ext uri="{FF2B5EF4-FFF2-40B4-BE49-F238E27FC236}">
                <a16:creationId xmlns:a16="http://schemas.microsoft.com/office/drawing/2014/main" id="{4C7CF359-54AB-4F07-8C11-C6CBA4172FD7}"/>
              </a:ext>
            </a:extLst>
          </p:cNvPr>
          <p:cNvSpPr/>
          <p:nvPr/>
        </p:nvSpPr>
        <p:spPr>
          <a:xfrm>
            <a:off x="411365" y="3557214"/>
            <a:ext cx="2257964" cy="1406951"/>
          </a:xfrm>
          <a:prstGeom prst="round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nvGrpSpPr>
          <p:cNvPr id="20" name="Group 19">
            <a:extLst>
              <a:ext uri="{FF2B5EF4-FFF2-40B4-BE49-F238E27FC236}">
                <a16:creationId xmlns:a16="http://schemas.microsoft.com/office/drawing/2014/main" id="{B65F2114-AD2E-4E79-9FF2-2DC9A521C346}"/>
              </a:ext>
            </a:extLst>
          </p:cNvPr>
          <p:cNvGrpSpPr/>
          <p:nvPr/>
        </p:nvGrpSpPr>
        <p:grpSpPr>
          <a:xfrm>
            <a:off x="3570890" y="720658"/>
            <a:ext cx="5414113" cy="3702183"/>
            <a:chOff x="4369033" y="2829725"/>
            <a:chExt cx="2257964" cy="1496619"/>
          </a:xfrm>
        </p:grpSpPr>
        <p:sp>
          <p:nvSpPr>
            <p:cNvPr id="19" name="Rectangle: Rounded Corners 18">
              <a:extLst>
                <a:ext uri="{FF2B5EF4-FFF2-40B4-BE49-F238E27FC236}">
                  <a16:creationId xmlns:a16="http://schemas.microsoft.com/office/drawing/2014/main" id="{B57D5B92-4C3A-4BF0-B2BC-EA84D29E557A}"/>
                </a:ext>
              </a:extLst>
            </p:cNvPr>
            <p:cNvSpPr/>
            <p:nvPr/>
          </p:nvSpPr>
          <p:spPr>
            <a:xfrm>
              <a:off x="4369033" y="2829725"/>
              <a:ext cx="2257964" cy="1496619"/>
            </a:xfrm>
            <a:prstGeom prst="roundRect">
              <a:avLst>
                <a:gd name="adj" fmla="val 8434"/>
              </a:avLst>
            </a:prstGeom>
            <a:solidFill>
              <a:schemeClr val="bg1"/>
            </a:solidFill>
            <a:ln w="38100">
              <a:solidFill>
                <a:schemeClr val="accent2"/>
              </a:solidFill>
            </a:ln>
            <a:effectLst>
              <a:outerShdw blurRad="292100" dist="139700" dir="2700000" algn="tl" rotWithShape="0">
                <a:srgbClr val="333333">
                  <a:alpha val="6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18" name="Picture 17">
              <a:extLst>
                <a:ext uri="{FF2B5EF4-FFF2-40B4-BE49-F238E27FC236}">
                  <a16:creationId xmlns:a16="http://schemas.microsoft.com/office/drawing/2014/main" id="{C20C6659-1EEC-4747-9D7F-420F38DFE1B0}"/>
                </a:ext>
              </a:extLst>
            </p:cNvPr>
            <p:cNvPicPr>
              <a:picLocks noChangeAspect="1"/>
            </p:cNvPicPr>
            <p:nvPr/>
          </p:nvPicPr>
          <p:blipFill>
            <a:blip r:embed="rId3"/>
            <a:stretch>
              <a:fillRect/>
            </a:stretch>
          </p:blipFill>
          <p:spPr>
            <a:xfrm>
              <a:off x="4558725" y="2914181"/>
              <a:ext cx="1878580" cy="1327706"/>
            </a:xfrm>
            <a:prstGeom prst="rect">
              <a:avLst/>
            </a:prstGeom>
            <a:ln>
              <a:noFill/>
            </a:ln>
            <a:effectLst/>
          </p:spPr>
        </p:pic>
      </p:grpSp>
      <p:cxnSp>
        <p:nvCxnSpPr>
          <p:cNvPr id="24" name="Straight Connector 23">
            <a:extLst>
              <a:ext uri="{FF2B5EF4-FFF2-40B4-BE49-F238E27FC236}">
                <a16:creationId xmlns:a16="http://schemas.microsoft.com/office/drawing/2014/main" id="{EEEB77F5-0161-420E-AF2F-C719438FAF32}"/>
              </a:ext>
            </a:extLst>
          </p:cNvPr>
          <p:cNvCxnSpPr>
            <a:cxnSpLocks/>
            <a:stCxn id="10" idx="3"/>
            <a:endCxn id="19" idx="1"/>
          </p:cNvCxnSpPr>
          <p:nvPr/>
        </p:nvCxnSpPr>
        <p:spPr>
          <a:xfrm flipV="1">
            <a:off x="2669329" y="2571750"/>
            <a:ext cx="901561" cy="168894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137933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F9B3556-4CA0-41F1-8192-D09E711E3C51}"/>
              </a:ext>
            </a:extLst>
          </p:cNvPr>
          <p:cNvSpPr txBox="1"/>
          <p:nvPr/>
        </p:nvSpPr>
        <p:spPr>
          <a:xfrm>
            <a:off x="624130" y="488975"/>
            <a:ext cx="7895740" cy="480131"/>
          </a:xfrm>
          <a:prstGeom prst="rect">
            <a:avLst/>
          </a:prstGeom>
          <a:noFill/>
        </p:spPr>
        <p:txBody>
          <a:bodyPr wrap="square" rtlCol="0">
            <a:spAutoFit/>
          </a:body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F28C11"/>
                </a:solidFill>
                <a:effectLst/>
                <a:uLnTx/>
                <a:uFillTx/>
                <a:latin typeface="Franklin Gothic Medium" panose="020B0603020102020204"/>
                <a:ea typeface="+mn-ea"/>
                <a:cs typeface="+mn-cs"/>
              </a:rPr>
              <a:t>Angela </a:t>
            </a:r>
            <a:r>
              <a:rPr kumimoji="0" lang="en-US" sz="2800" b="1" i="0" u="none" strike="noStrike" kern="1200" cap="none" spc="0" normalizeH="0" baseline="0" noProof="0" dirty="0" err="1">
                <a:ln>
                  <a:noFill/>
                </a:ln>
                <a:solidFill>
                  <a:srgbClr val="F28C11"/>
                </a:solidFill>
                <a:effectLst/>
                <a:uLnTx/>
                <a:uFillTx/>
                <a:latin typeface="Franklin Gothic Medium" panose="020B0603020102020204"/>
                <a:ea typeface="+mn-ea"/>
                <a:cs typeface="+mn-cs"/>
              </a:rPr>
              <a:t>Syk</a:t>
            </a:r>
            <a:r>
              <a:rPr lang="en-US" sz="2800" b="1" dirty="0">
                <a:solidFill>
                  <a:srgbClr val="F28C11"/>
                </a:solidFill>
                <a:latin typeface="Franklin Gothic Medium" panose="020B0603020102020204"/>
              </a:rPr>
              <a:t>es</a:t>
            </a:r>
            <a:r>
              <a:rPr kumimoji="0" lang="en-US" sz="2800" b="1" i="0" u="none" strike="noStrike" kern="1200" cap="none" spc="0" normalizeH="0" baseline="0" noProof="0" dirty="0">
                <a:ln>
                  <a:noFill/>
                </a:ln>
                <a:solidFill>
                  <a:srgbClr val="F28C11"/>
                </a:solidFill>
                <a:effectLst/>
                <a:uLnTx/>
                <a:uFillTx/>
                <a:latin typeface="Franklin Gothic Medium" panose="020B0603020102020204"/>
                <a:ea typeface="+mn-ea"/>
                <a:cs typeface="+mn-cs"/>
              </a:rPr>
              <a:t> </a:t>
            </a:r>
            <a:endParaRPr kumimoji="0" lang="en-US" sz="2800" b="1" i="0" u="none" strike="noStrike" kern="1200" cap="none" spc="0" normalizeH="0" baseline="30000" noProof="0" dirty="0">
              <a:ln>
                <a:noFill/>
              </a:ln>
              <a:solidFill>
                <a:srgbClr val="F28C11"/>
              </a:solidFill>
              <a:effectLst/>
              <a:uLnTx/>
              <a:uFillTx/>
              <a:latin typeface="Franklin Gothic Medium" panose="020B0603020102020204"/>
              <a:ea typeface="+mn-ea"/>
              <a:cs typeface="+mn-cs"/>
            </a:endParaRPr>
          </a:p>
        </p:txBody>
      </p:sp>
      <p:sp>
        <p:nvSpPr>
          <p:cNvPr id="27" name="Rectangle 26">
            <a:extLst>
              <a:ext uri="{FF2B5EF4-FFF2-40B4-BE49-F238E27FC236}">
                <a16:creationId xmlns:a16="http://schemas.microsoft.com/office/drawing/2014/main" id="{30B86684-560B-4625-9126-37384A52BFC5}"/>
              </a:ext>
            </a:extLst>
          </p:cNvPr>
          <p:cNvSpPr/>
          <p:nvPr/>
        </p:nvSpPr>
        <p:spPr>
          <a:xfrm>
            <a:off x="216197" y="4852293"/>
            <a:ext cx="4389343" cy="196208"/>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0" normalizeH="0" baseline="0" noProof="0" dirty="0">
                <a:ln>
                  <a:noFill/>
                </a:ln>
                <a:solidFill>
                  <a:prstClr val="white"/>
                </a:solidFill>
                <a:effectLst/>
                <a:uLnTx/>
                <a:uFillTx/>
                <a:latin typeface="Franklin Gothic Book" panose="020B0503020102020204"/>
                <a:ea typeface="+mn-ea"/>
                <a:cs typeface="+mn-cs"/>
              </a:rPr>
              <a:t>CMPP, certified medical publications professional; ISMPP, international society of medical publications professional</a:t>
            </a:r>
            <a:endParaRPr kumimoji="0" lang="en-IN" sz="675" b="0" i="0" u="none" strike="noStrike" kern="1200" cap="none" spc="0" normalizeH="0" baseline="0" noProof="0" dirty="0">
              <a:ln>
                <a:noFill/>
              </a:ln>
              <a:solidFill>
                <a:prstClr val="white"/>
              </a:solidFill>
              <a:effectLst/>
              <a:uLnTx/>
              <a:uFillTx/>
              <a:latin typeface="Franklin Gothic Book" panose="020B0503020102020204"/>
              <a:ea typeface="+mn-ea"/>
              <a:cs typeface="+mn-cs"/>
            </a:endParaRPr>
          </a:p>
        </p:txBody>
      </p:sp>
      <p:sp>
        <p:nvSpPr>
          <p:cNvPr id="9" name="TextBox 8">
            <a:extLst>
              <a:ext uri="{FF2B5EF4-FFF2-40B4-BE49-F238E27FC236}">
                <a16:creationId xmlns:a16="http://schemas.microsoft.com/office/drawing/2014/main" id="{37AB2428-127A-4A02-B0AC-8037CBB5D7D8}"/>
              </a:ext>
            </a:extLst>
          </p:cNvPr>
          <p:cNvSpPr txBox="1"/>
          <p:nvPr/>
        </p:nvSpPr>
        <p:spPr>
          <a:xfrm>
            <a:off x="3300026" y="1746119"/>
            <a:ext cx="5118110" cy="1954381"/>
          </a:xfrm>
          <a:prstGeom prst="rect">
            <a:avLst/>
          </a:prstGeom>
          <a:noFill/>
        </p:spPr>
        <p:txBody>
          <a:bodyPr wrap="square">
            <a:spAutoFit/>
          </a:bodyPr>
          <a:lstStyle/>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Developed and implemented enterprise-wide PLS process and requirements  </a:t>
            </a: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Experience with applying health literacy principles to scientific content</a:t>
            </a:r>
          </a:p>
          <a:p>
            <a:pPr marL="342900" marR="0" lvl="0" indent="-342900">
              <a:spcBef>
                <a:spcPts val="0"/>
              </a:spcBef>
              <a:spcAft>
                <a:spcPts val="0"/>
              </a:spcAft>
              <a:buFont typeface="Symbol" panose="05050102010706020507" pitchFamily="18" charset="2"/>
              <a:buChar char=""/>
            </a:pPr>
            <a:r>
              <a:rPr lang="en-US" sz="1800" dirty="0">
                <a:effectLst/>
                <a:ea typeface="Times New Roman" panose="02020603050405020304" pitchFamily="18" charset="0"/>
              </a:rPr>
              <a:t>GPP4 co-author</a:t>
            </a:r>
          </a:p>
          <a:p>
            <a:pPr marL="342900" marR="0" lvl="0" indent="-342900">
              <a:spcBef>
                <a:spcPts val="0"/>
              </a:spcBef>
              <a:spcAft>
                <a:spcPts val="0"/>
              </a:spcAft>
              <a:buFont typeface="Symbol" panose="05050102010706020507" pitchFamily="18" charset="2"/>
              <a:buChar char=""/>
            </a:pPr>
            <a:endParaRPr lang="en-US" sz="1800" dirty="0">
              <a:effectLst/>
              <a:latin typeface="Times New Roman" panose="02020603050405020304" pitchFamily="18" charset="0"/>
              <a:ea typeface="Times New Roman" panose="02020603050405020304" pitchFamily="18"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prstClr val="black"/>
              </a:solidFill>
              <a:effectLst/>
              <a:uLnTx/>
              <a:uFillTx/>
              <a:ea typeface="Times New Roman" panose="02020603050405020304" pitchFamily="18" charset="0"/>
              <a:cs typeface="+mn-cs"/>
            </a:endParaRPr>
          </a:p>
        </p:txBody>
      </p:sp>
      <p:pic>
        <p:nvPicPr>
          <p:cNvPr id="3" name="Picture 2" descr="A person with curly hair&#10;&#10;Description automatically generated with low confidence">
            <a:extLst>
              <a:ext uri="{FF2B5EF4-FFF2-40B4-BE49-F238E27FC236}">
                <a16:creationId xmlns:a16="http://schemas.microsoft.com/office/drawing/2014/main" id="{6E9E5E10-FED6-47CC-8186-B6EB30864E49}"/>
              </a:ext>
            </a:extLst>
          </p:cNvPr>
          <p:cNvPicPr>
            <a:picLocks noChangeAspect="1"/>
          </p:cNvPicPr>
          <p:nvPr/>
        </p:nvPicPr>
        <p:blipFill rotWithShape="1">
          <a:blip r:embed="rId2"/>
          <a:srcRect l="17041" r="23241"/>
          <a:stretch/>
        </p:blipFill>
        <p:spPr>
          <a:xfrm>
            <a:off x="289597" y="1305990"/>
            <a:ext cx="2852171" cy="2834640"/>
          </a:xfrm>
          <a:prstGeom prst="ellipse">
            <a:avLst/>
          </a:prstGeom>
          <a:ln>
            <a:noFill/>
          </a:ln>
          <a:effectLst>
            <a:softEdge rad="112500"/>
          </a:effectLst>
        </p:spPr>
      </p:pic>
    </p:spTree>
    <p:extLst>
      <p:ext uri="{BB962C8B-B14F-4D97-AF65-F5344CB8AC3E}">
        <p14:creationId xmlns:p14="http://schemas.microsoft.com/office/powerpoint/2010/main" val="10565751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1FFB4F5D-2FD5-43FA-B06E-6A6C21C67116}"/>
              </a:ext>
            </a:extLst>
          </p:cNvPr>
          <p:cNvSpPr/>
          <p:nvPr/>
        </p:nvSpPr>
        <p:spPr>
          <a:xfrm>
            <a:off x="0" y="1"/>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3" name="Slide Number Placeholder 2">
            <a:extLst>
              <a:ext uri="{FF2B5EF4-FFF2-40B4-BE49-F238E27FC236}">
                <a16:creationId xmlns:a16="http://schemas.microsoft.com/office/drawing/2014/main" id="{852ADEEA-6197-43AA-B75D-A18CC4F5C4D9}"/>
              </a:ext>
            </a:extLst>
          </p:cNvPr>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2AD0A0E-4515-A647-B2E3-7F1B29FB990E}" type="slidenum">
              <a:rPr kumimoji="0" lang="en-US" sz="900" b="0" i="0" u="none" strike="noStrike" kern="1200" cap="none" spc="0" normalizeH="0" baseline="0" noProof="0" smtClean="0">
                <a:ln>
                  <a:noFill/>
                </a:ln>
                <a:solidFill>
                  <a:prstClr val="black"/>
                </a:solidFill>
                <a:effectLst/>
                <a:uLnTx/>
                <a:uFillTx/>
                <a:latin typeface="Franklin Gothic Book" panose="020B050302010202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prstClr val="black"/>
              </a:solidFill>
              <a:effectLst/>
              <a:uLnTx/>
              <a:uFillTx/>
              <a:latin typeface="Franklin Gothic Book" panose="020B0503020102020204"/>
              <a:ea typeface="+mn-ea"/>
              <a:cs typeface="+mn-cs"/>
            </a:endParaRPr>
          </a:p>
        </p:txBody>
      </p:sp>
      <p:pic>
        <p:nvPicPr>
          <p:cNvPr id="11" name="Picture 10">
            <a:extLst>
              <a:ext uri="{FF2B5EF4-FFF2-40B4-BE49-F238E27FC236}">
                <a16:creationId xmlns:a16="http://schemas.microsoft.com/office/drawing/2014/main" id="{9D133EB8-A312-489C-9ED2-457363335ABE}"/>
              </a:ext>
            </a:extLst>
          </p:cNvPr>
          <p:cNvPicPr>
            <a:picLocks noChangeAspect="1"/>
          </p:cNvPicPr>
          <p:nvPr/>
        </p:nvPicPr>
        <p:blipFill>
          <a:blip r:embed="rId2"/>
          <a:stretch>
            <a:fillRect/>
          </a:stretch>
        </p:blipFill>
        <p:spPr>
          <a:xfrm>
            <a:off x="1530376" y="536201"/>
            <a:ext cx="6083248" cy="4071097"/>
          </a:xfrm>
          <a:prstGeom prst="rect">
            <a:avLst/>
          </a:prstGeom>
          <a:ln>
            <a:noFill/>
          </a:ln>
          <a:effectLst>
            <a:outerShdw blurRad="292100" dist="139700" dir="2700000" algn="tl" rotWithShape="0">
              <a:srgbClr val="333333">
                <a:alpha val="65000"/>
              </a:srgbClr>
            </a:outerShdw>
          </a:effectLst>
        </p:spPr>
      </p:pic>
      <p:sp>
        <p:nvSpPr>
          <p:cNvPr id="13" name="TextBox 12">
            <a:extLst>
              <a:ext uri="{FF2B5EF4-FFF2-40B4-BE49-F238E27FC236}">
                <a16:creationId xmlns:a16="http://schemas.microsoft.com/office/drawing/2014/main" id="{B810C377-B7AA-4C0C-925D-F68C98571333}"/>
              </a:ext>
            </a:extLst>
          </p:cNvPr>
          <p:cNvSpPr txBox="1"/>
          <p:nvPr/>
        </p:nvSpPr>
        <p:spPr>
          <a:xfrm>
            <a:off x="0" y="4889585"/>
            <a:ext cx="6858000" cy="246221"/>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rPr>
              <a:t>Lobban D, Gardner J, Matheis R. </a:t>
            </a:r>
            <a:r>
              <a:rPr kumimoji="0" lang="en-GB" sz="1000" b="0" i="0" u="none" strike="noStrike" kern="1200" cap="none" spc="0" normalizeH="0" baseline="0" noProof="0" dirty="0" err="1">
                <a:ln>
                  <a:noFill/>
                </a:ln>
                <a:solidFill>
                  <a:prstClr val="black"/>
                </a:solidFill>
                <a:effectLst/>
                <a:uLnTx/>
                <a:uFillTx/>
                <a:latin typeface="Franklin Gothic Book" panose="020B0503020102020204"/>
                <a:ea typeface="+mn-ea"/>
                <a:cs typeface="+mn-cs"/>
              </a:rPr>
              <a:t>Curr</a:t>
            </a:r>
            <a:r>
              <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rPr>
              <a:t> Med Res </a:t>
            </a:r>
            <a:r>
              <a:rPr kumimoji="0" lang="en-GB" sz="1000" b="0" i="0" u="none" strike="noStrike" kern="1200" cap="none" spc="0" normalizeH="0" baseline="0" noProof="0" dirty="0" err="1">
                <a:ln>
                  <a:noFill/>
                </a:ln>
                <a:solidFill>
                  <a:prstClr val="black"/>
                </a:solidFill>
                <a:effectLst/>
                <a:uLnTx/>
                <a:uFillTx/>
                <a:latin typeface="Franklin Gothic Book" panose="020B0503020102020204"/>
                <a:ea typeface="+mn-ea"/>
                <a:cs typeface="+mn-cs"/>
              </a:rPr>
              <a:t>Opin</a:t>
            </a:r>
            <a:r>
              <a:rPr kumimoji="0" lang="en-GB" sz="1000" b="0" i="0" u="none" strike="noStrike" kern="1200" cap="none" spc="0" normalizeH="0" baseline="0" noProof="0" dirty="0">
                <a:ln>
                  <a:noFill/>
                </a:ln>
                <a:solidFill>
                  <a:prstClr val="black"/>
                </a:solidFill>
                <a:effectLst/>
                <a:uLnTx/>
                <a:uFillTx/>
                <a:latin typeface="Franklin Gothic Book" panose="020B0503020102020204"/>
                <a:ea typeface="+mn-ea"/>
                <a:cs typeface="+mn-cs"/>
              </a:rPr>
              <a:t>. 2021 Nov 4:1-12</a:t>
            </a:r>
          </a:p>
        </p:txBody>
      </p:sp>
    </p:spTree>
    <p:extLst>
      <p:ext uri="{BB962C8B-B14F-4D97-AF65-F5344CB8AC3E}">
        <p14:creationId xmlns:p14="http://schemas.microsoft.com/office/powerpoint/2010/main" val="34752935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94B8DAAE217E45AC0F6E97E6F6B542" ma:contentTypeVersion="" ma:contentTypeDescription="Create a new document." ma:contentTypeScope="" ma:versionID="6f5cf5feea32b900392d37bed8499158">
  <xsd:schema xmlns:xsd="http://www.w3.org/2001/XMLSchema" xmlns:xs="http://www.w3.org/2001/XMLSchema" xmlns:p="http://schemas.microsoft.com/office/2006/metadata/properties" xmlns:ns2="8b536f62-3d7d-4d8d-91b2-3529adf13c3e" xmlns:ns3="35222ec3-ce27-4deb-9c60-9a43bcd569ff" targetNamespace="http://schemas.microsoft.com/office/2006/metadata/properties" ma:root="true" ma:fieldsID="41e5939b912a7e049c5b44230a000dd3" ns2:_="" ns3:_="">
    <xsd:import namespace="8b536f62-3d7d-4d8d-91b2-3529adf13c3e"/>
    <xsd:import namespace="35222ec3-ce27-4deb-9c60-9a43bcd569ff"/>
    <xsd:element name="properties">
      <xsd:complexType>
        <xsd:sequence>
          <xsd:element name="documentManagement">
            <xsd:complexType>
              <xsd:all>
                <xsd:element ref="ns2:SharedWithUsers" minOccurs="0"/>
                <xsd:element ref="ns2:SharingHintHash"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536f62-3d7d-4d8d-91b2-3529adf13c3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222ec3-ce27-4deb-9c60-9a43bcd569ff"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690C447-928A-421D-80FF-2705C14056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536f62-3d7d-4d8d-91b2-3529adf13c3e"/>
    <ds:schemaRef ds:uri="35222ec3-ce27-4deb-9c60-9a43bcd569f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E7596FC-4B8A-41CE-8871-E1E682A453D8}">
  <ds:schemaRefs>
    <ds:schemaRef ds:uri="http://schemas.microsoft.com/sharepoint/v3/contenttype/forms"/>
  </ds:schemaRefs>
</ds:datastoreItem>
</file>

<file path=customXml/itemProps3.xml><?xml version="1.0" encoding="utf-8"?>
<ds:datastoreItem xmlns:ds="http://schemas.openxmlformats.org/officeDocument/2006/customXml" ds:itemID="{EC767286-1B34-4F5E-A8D3-0EE2A62284B9}">
  <ds:schemaRefs>
    <ds:schemaRef ds:uri="http://www.w3.org/XML/1998/namespace"/>
    <ds:schemaRef ds:uri="http://schemas.microsoft.com/office/2006/metadata/properties"/>
    <ds:schemaRef ds:uri="http://purl.org/dc/elements/1.1/"/>
    <ds:schemaRef ds:uri="http://schemas.microsoft.com/office/infopath/2007/PartnerControls"/>
    <ds:schemaRef ds:uri="http://schemas.microsoft.com/office/2006/documentManagement/types"/>
    <ds:schemaRef ds:uri="http://purl.org/dc/dcmitype/"/>
    <ds:schemaRef ds:uri="http://schemas.openxmlformats.org/package/2006/metadata/core-properties"/>
    <ds:schemaRef ds:uri="35222ec3-ce27-4deb-9c60-9a43bcd569ff"/>
    <ds:schemaRef ds:uri="8b536f62-3d7d-4d8d-91b2-3529adf13c3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129</TotalTime>
  <Words>5522</Words>
  <Application>Microsoft Office PowerPoint</Application>
  <PresentationFormat>On-screen Show (16:9)</PresentationFormat>
  <Paragraphs>913</Paragraphs>
  <Slides>80</Slides>
  <Notes>28</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1</vt:i4>
      </vt:variant>
      <vt:variant>
        <vt:lpstr>Slide Titles</vt:lpstr>
      </vt:variant>
      <vt:variant>
        <vt:i4>80</vt:i4>
      </vt:variant>
    </vt:vector>
  </HeadingPairs>
  <TitlesOfParts>
    <vt:vector size="103" baseType="lpstr">
      <vt:lpstr>.AppleSystemUIFont</vt:lpstr>
      <vt:lpstr>Arial</vt:lpstr>
      <vt:lpstr>Arial Black</vt:lpstr>
      <vt:lpstr>Arial Narrow</vt:lpstr>
      <vt:lpstr>Calibri</vt:lpstr>
      <vt:lpstr>Courier New</vt:lpstr>
      <vt:lpstr>Franklin Gothic Book</vt:lpstr>
      <vt:lpstr>Franklin Gothic Medium</vt:lpstr>
      <vt:lpstr>Helvetica</vt:lpstr>
      <vt:lpstr>Open Sans</vt:lpstr>
      <vt:lpstr>Poppins</vt:lpstr>
      <vt:lpstr>Symbol</vt:lpstr>
      <vt:lpstr>Times New Roman</vt:lpstr>
      <vt:lpstr>Verdana</vt:lpstr>
      <vt:lpstr>Wingdings</vt:lpstr>
      <vt:lpstr>Office Theme</vt:lpstr>
      <vt:lpstr>1_Office Theme</vt:lpstr>
      <vt:lpstr>2_Office Theme</vt:lpstr>
      <vt:lpstr>12_Office Theme</vt:lpstr>
      <vt:lpstr>13_Office Theme</vt:lpstr>
      <vt:lpstr>4_Office Theme</vt:lpstr>
      <vt:lpstr>3_Office Theme</vt:lpstr>
      <vt:lpstr>think-cell Slide</vt:lpstr>
      <vt:lpstr>ISMPP University</vt:lpstr>
      <vt:lpstr>ISMPP Would Like to Thank…</vt:lpstr>
      <vt:lpstr>ISMPP Announcements</vt:lpstr>
      <vt:lpstr>How To Ask Questions</vt:lpstr>
      <vt:lpstr>Plain language summary landscape</vt:lpstr>
      <vt:lpstr>What do we mean by a  plain language summary (P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aculty</vt:lpstr>
      <vt:lpstr>Disclaimer</vt:lpstr>
      <vt:lpstr>Objectives</vt:lpstr>
      <vt:lpstr>What do you want to know about Plain Language Summaries?</vt:lpstr>
      <vt:lpstr>ISMPP PLS Perspectives Study</vt:lpstr>
      <vt:lpstr>What were the objectives of the  ISMPP PLS Perspectives Project?</vt:lpstr>
      <vt:lpstr>Who was involved? </vt:lpstr>
      <vt:lpstr>What did we do?</vt:lpstr>
      <vt:lpstr>What were the top 10 key issues discussed?</vt:lpstr>
      <vt:lpstr>Opportunities to overcome real  or perceived barriers to uptake of PLS </vt:lpstr>
      <vt:lpstr>PowerPoint Presentation</vt:lpstr>
      <vt:lpstr>Open Pharma recommendations &amp; Ipsen commitment on plain language summaries</vt:lpstr>
      <vt:lpstr>Disclosure</vt:lpstr>
      <vt:lpstr>All Ipsen publications are open access from 2019… but is the content accessible?</vt:lpstr>
      <vt:lpstr>Ipsen commitment on PLS</vt:lpstr>
      <vt:lpstr>Open Pharma PLS recommendations</vt:lpstr>
      <vt:lpstr>Publishing a PLS on PubMed</vt:lpstr>
      <vt:lpstr>Feasibility of PLS commitment</vt:lpstr>
      <vt:lpstr>Results</vt:lpstr>
      <vt:lpstr>Of 91 target journals of interest to Ipsen, only 6 have indexed PLSs in PubMed</vt:lpstr>
      <vt:lpstr>Timeline &amp; process</vt:lpstr>
      <vt:lpstr>A Company’s Approach to Implementing a Global Publication Plain Language Summary (PLS) Process</vt:lpstr>
      <vt:lpstr>The Road to Success</vt:lpstr>
      <vt:lpstr>PowerPoint Presentation</vt:lpstr>
      <vt:lpstr>PowerPoint Presentation</vt:lpstr>
      <vt:lpstr>PowerPoint Presentation</vt:lpstr>
      <vt:lpstr>Launch of Pfizer Figshare Portal</vt:lpstr>
      <vt:lpstr>Manuscript PLS Published on Figshare</vt:lpstr>
      <vt:lpstr>Rapid Uptake in PLS Across the Enterprise</vt:lpstr>
      <vt:lpstr>Need For an Enterprise-Wide PLS                   Optimization Solution</vt:lpstr>
      <vt:lpstr>Launched PLS Health Literacy Tool</vt:lpstr>
      <vt:lpstr>Do plain language summaries encourage readers to access your publication? A pilot study</vt:lpstr>
      <vt:lpstr>Objective</vt:lpstr>
      <vt:lpstr>Research design and methods</vt:lpstr>
      <vt:lpstr>Adis article with PLS</vt:lpstr>
      <vt:lpstr>What criteria did we apply to identify a ‘similar’ article?</vt:lpstr>
      <vt:lpstr>Results: tornado plot</vt:lpstr>
      <vt:lpstr>Results: key findings</vt:lpstr>
      <vt:lpstr>Results: by therapy area</vt:lpstr>
      <vt:lpstr>Conclusions</vt:lpstr>
      <vt:lpstr>Post-study reflections: There is a lot of variation in PLS formats</vt:lpstr>
      <vt:lpstr>Faculty Discussion</vt:lpstr>
      <vt:lpstr>Audience Q&amp;A</vt:lpstr>
      <vt:lpstr>What’s your level of PLS adoption?</vt:lpstr>
      <vt:lpstr>PLS Resource Slide</vt:lpstr>
      <vt:lpstr>Upcoming ISMPP U Webinars</vt:lpstr>
      <vt:lpstr>PowerPoint Presentation</vt:lpstr>
      <vt:lpstr>Thank you for attending!</vt:lpstr>
      <vt:lpstr>ISMPP University</vt:lpstr>
      <vt:lpstr>Faculty Bi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uzanne Fraga</cp:lastModifiedBy>
  <cp:revision>136</cp:revision>
  <cp:lastPrinted>2022-02-02T13:59:00Z</cp:lastPrinted>
  <dcterms:created xsi:type="dcterms:W3CDTF">2017-08-02T13:46:59Z</dcterms:created>
  <dcterms:modified xsi:type="dcterms:W3CDTF">2022-02-02T15:33: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94B8DAAE217E45AC0F6E97E6F6B542</vt:lpwstr>
  </property>
</Properties>
</file>